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2" r:id="rId4"/>
    <p:sldMasterId id="2147483684" r:id="rId5"/>
    <p:sldMasterId id="2147483697" r:id="rId6"/>
    <p:sldMasterId id="2147483750" r:id="rId7"/>
    <p:sldMasterId id="2147483763" r:id="rId8"/>
  </p:sldMasterIdLst>
  <p:notesMasterIdLst>
    <p:notesMasterId r:id="rId50"/>
  </p:notesMasterIdLst>
  <p:sldIdLst>
    <p:sldId id="256" r:id="rId9"/>
    <p:sldId id="3043" r:id="rId10"/>
    <p:sldId id="285" r:id="rId11"/>
    <p:sldId id="26210" r:id="rId12"/>
    <p:sldId id="292" r:id="rId13"/>
    <p:sldId id="300" r:id="rId14"/>
    <p:sldId id="26188" r:id="rId15"/>
    <p:sldId id="462" r:id="rId16"/>
    <p:sldId id="19340" r:id="rId17"/>
    <p:sldId id="463" r:id="rId18"/>
    <p:sldId id="2141411813" r:id="rId19"/>
    <p:sldId id="2141411814" r:id="rId20"/>
    <p:sldId id="26183" r:id="rId21"/>
    <p:sldId id="425" r:id="rId22"/>
    <p:sldId id="429" r:id="rId23"/>
    <p:sldId id="26184" r:id="rId24"/>
    <p:sldId id="26185" r:id="rId25"/>
    <p:sldId id="370" r:id="rId26"/>
    <p:sldId id="432" r:id="rId27"/>
    <p:sldId id="442" r:id="rId28"/>
    <p:sldId id="439" r:id="rId29"/>
    <p:sldId id="26187" r:id="rId30"/>
    <p:sldId id="288" r:id="rId31"/>
    <p:sldId id="26211" r:id="rId32"/>
    <p:sldId id="26190" r:id="rId33"/>
    <p:sldId id="26200" r:id="rId34"/>
    <p:sldId id="26201" r:id="rId35"/>
    <p:sldId id="26202" r:id="rId36"/>
    <p:sldId id="26204" r:id="rId37"/>
    <p:sldId id="26207" r:id="rId38"/>
    <p:sldId id="405" r:id="rId39"/>
    <p:sldId id="406" r:id="rId40"/>
    <p:sldId id="1906" r:id="rId41"/>
    <p:sldId id="407" r:id="rId42"/>
    <p:sldId id="1907" r:id="rId43"/>
    <p:sldId id="1908" r:id="rId44"/>
    <p:sldId id="391" r:id="rId45"/>
    <p:sldId id="408" r:id="rId46"/>
    <p:sldId id="1910" r:id="rId47"/>
    <p:sldId id="459" r:id="rId48"/>
    <p:sldId id="443"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4EB783CD-FE7D-4BE4-856F-15B20A8DB75E}">
          <p14:sldIdLst>
            <p14:sldId id="256"/>
            <p14:sldId id="3043"/>
            <p14:sldId id="285"/>
            <p14:sldId id="26210"/>
            <p14:sldId id="292"/>
            <p14:sldId id="300"/>
            <p14:sldId id="26188"/>
          </p14:sldIdLst>
        </p14:section>
        <p14:section name="What is an Epic?" id="{515D3664-96B7-4AA6-AAA9-4F8F5CC97B1A}">
          <p14:sldIdLst>
            <p14:sldId id="462"/>
            <p14:sldId id="19340"/>
          </p14:sldIdLst>
        </p14:section>
        <p14:section name="What is a User Story?" id="{981A6ECA-EF40-471D-9B80-D671976993C8}">
          <p14:sldIdLst>
            <p14:sldId id="463"/>
            <p14:sldId id="2141411813"/>
            <p14:sldId id="2141411814"/>
            <p14:sldId id="26183"/>
            <p14:sldId id="425"/>
            <p14:sldId id="429"/>
            <p14:sldId id="26184"/>
            <p14:sldId id="26185"/>
          </p14:sldIdLst>
        </p14:section>
        <p14:section name="Acceptance Criteria" id="{DCEC0D44-00AD-4268-9395-709CB87F685B}">
          <p14:sldIdLst>
            <p14:sldId id="370"/>
            <p14:sldId id="432"/>
            <p14:sldId id="442"/>
            <p14:sldId id="439"/>
            <p14:sldId id="26187"/>
          </p14:sldIdLst>
        </p14:section>
        <p14:section name="What is a Tech Story?" id="{7B8A064F-463A-423F-A830-AF24662A58C4}">
          <p14:sldIdLst>
            <p14:sldId id="288"/>
          </p14:sldIdLst>
        </p14:section>
        <p14:section name="What is an Spike" id="{B2737A59-E38D-4999-8F96-49552978B4AB}">
          <p14:sldIdLst>
            <p14:sldId id="26211"/>
            <p14:sldId id="26190"/>
            <p14:sldId id="26200"/>
            <p14:sldId id="26201"/>
            <p14:sldId id="26202"/>
            <p14:sldId id="26204"/>
            <p14:sldId id="26207"/>
            <p14:sldId id="405"/>
            <p14:sldId id="406"/>
            <p14:sldId id="1906"/>
            <p14:sldId id="407"/>
            <p14:sldId id="1907"/>
            <p14:sldId id="1908"/>
            <p14:sldId id="391"/>
            <p14:sldId id="408"/>
            <p14:sldId id="1910"/>
          </p14:sldIdLst>
        </p14:section>
        <p14:section name="Q&amp;A" id="{34B46430-0290-45B8-BA6A-71BF9D5A7349}">
          <p14:sldIdLst>
            <p14:sldId id="459"/>
            <p14:sldId id="443"/>
          </p14:sldIdLst>
        </p14:section>
      </p14:sectionLst>
    </p:ext>
    <p:ext uri="{EFAFB233-063F-42B5-8137-9DF3F51BA10A}">
      <p15:sldGuideLst xmlns:p15="http://schemas.microsoft.com/office/powerpoint/2012/main">
        <p15:guide id="1" orient="horz" pos="1224" userDrawn="1">
          <p15:clr>
            <a:srgbClr val="A4A3A4"/>
          </p15:clr>
        </p15:guide>
        <p15:guide id="2" pos="4296" userDrawn="1">
          <p15:clr>
            <a:srgbClr val="A4A3A4"/>
          </p15:clr>
        </p15:guide>
        <p15:guide id="3" pos="6936" userDrawn="1">
          <p15:clr>
            <a:srgbClr val="A4A3A4"/>
          </p15:clr>
        </p15:guide>
        <p15:guide id="4" orient="horz" pos="340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lliveau, Michelle" initials="BM" lastIdx="7" clrIdx="0">
    <p:extLst>
      <p:ext uri="{19B8F6BF-5375-455C-9EA6-DF929625EA0E}">
        <p15:presenceInfo xmlns:p15="http://schemas.microsoft.com/office/powerpoint/2012/main" userId="S::michelle.belliveau@scotiabank.com::dcd3bc93-51d8-43fa-ada0-2b3a3a721d1c" providerId="AD"/>
      </p:ext>
    </p:extLst>
  </p:cmAuthor>
  <p:cmAuthor id="2" name="De Paolis, Eric" initials="DPE" lastIdx="3" clrIdx="1">
    <p:extLst>
      <p:ext uri="{19B8F6BF-5375-455C-9EA6-DF929625EA0E}">
        <p15:presenceInfo xmlns:p15="http://schemas.microsoft.com/office/powerpoint/2012/main" userId="S::eric.depaolis@scotiabank.com::d8ee0493-6f16-4509-95c4-2d0e42f96ff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49B8"/>
    <a:srgbClr val="2144D7"/>
    <a:srgbClr val="D2D2D2"/>
    <a:srgbClr val="4D4D4E"/>
    <a:srgbClr val="009DD6"/>
    <a:srgbClr val="4D4D4D"/>
    <a:srgbClr val="999999"/>
    <a:srgbClr val="FFEAA5"/>
    <a:srgbClr val="FFBA8E"/>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944804-4159-0DAF-3B92-0297C636EDA1}" v="235" dt="2025-02-25T16:07:45.803"/>
    <p1510:client id="{CD74F07E-DC41-4449-9747-78A6B9268CAE}" v="159" dt="2025-02-25T19:13:29.279"/>
    <p1510:client id="{D42057F1-D29D-D480-EE43-7B95B67B46F0}" v="66" dt="2025-02-26T00:31:43.003"/>
    <p1510:client id="{FF57FECB-7D9A-3988-F58F-3C05DD9150C6}" v="224" dt="2025-02-25T17:05:51.4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224"/>
        <p:guide pos="4296"/>
        <p:guide pos="6936"/>
        <p:guide orient="horz" pos="3408"/>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DBB67B-66DE-B049-900E-8059E87A6E6D}" type="datetimeFigureOut">
              <a:rPr lang="en-US" smtClean="0"/>
              <a:t>2/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2F72F-8E37-904D-8F87-C4C23F3C3937}" type="slidenum">
              <a:rPr lang="en-US" smtClean="0"/>
              <a:t>‹#›</a:t>
            </a:fld>
            <a:endParaRPr lang="en-US"/>
          </a:p>
        </p:txBody>
      </p:sp>
    </p:spTree>
    <p:extLst>
      <p:ext uri="{BB962C8B-B14F-4D97-AF65-F5344CB8AC3E}">
        <p14:creationId xmlns:p14="http://schemas.microsoft.com/office/powerpoint/2010/main" val="174871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CO"/>
              <a:t>Entren por favor a este link para poder ir creando su usuario y tener acceso a la plataforma de JIRA: https://www.atlassian.com/software/jira/service-management</a:t>
            </a:r>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1</a:t>
            </a:fld>
            <a:endParaRPr lang="en-US"/>
          </a:p>
        </p:txBody>
      </p:sp>
    </p:spTree>
    <p:extLst>
      <p:ext uri="{BB962C8B-B14F-4D97-AF65-F5344CB8AC3E}">
        <p14:creationId xmlns:p14="http://schemas.microsoft.com/office/powerpoint/2010/main" val="1073554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10</a:t>
            </a:fld>
            <a:endParaRPr lang="en-US"/>
          </a:p>
        </p:txBody>
      </p:sp>
    </p:spTree>
    <p:extLst>
      <p:ext uri="{BB962C8B-B14F-4D97-AF65-F5344CB8AC3E}">
        <p14:creationId xmlns:p14="http://schemas.microsoft.com/office/powerpoint/2010/main" val="7696896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153988" y="447675"/>
            <a:ext cx="6386512" cy="3592513"/>
          </a:xfrm>
        </p:spPr>
      </p:sp>
      <p:sp>
        <p:nvSpPr>
          <p:cNvPr id="7" name="Notes Placeholder 6"/>
          <p:cNvSpPr>
            <a:spLocks noGrp="1"/>
          </p:cNvSpPr>
          <p:nvPr>
            <p:ph type="body" idx="1"/>
          </p:nvPr>
        </p:nvSpPr>
        <p:spPr>
          <a:xfrm>
            <a:off x="979843" y="4328924"/>
            <a:ext cx="4734277" cy="5262979"/>
          </a:xfrm>
        </p:spPr>
        <p:txBody>
          <a:bodyPr>
            <a:spAutoFit/>
          </a:bodyPr>
          <a:lstStyle/>
          <a:p>
            <a:pPr marL="285750" indent="-285750">
              <a:buFont typeface="Arial" panose="020F0302020204030204"/>
              <a:buChar char="•"/>
            </a:pPr>
            <a:r>
              <a:rPr lang="en-CA"/>
              <a:t>Una US es </a:t>
            </a:r>
            <a:r>
              <a:rPr lang="en-CA" err="1"/>
              <a:t>una</a:t>
            </a:r>
            <a:r>
              <a:rPr lang="en-CA"/>
              <a:t> </a:t>
            </a:r>
            <a:r>
              <a:rPr lang="en-CA" err="1"/>
              <a:t>práctica</a:t>
            </a:r>
            <a:r>
              <a:rPr lang="en-CA"/>
              <a:t> que </a:t>
            </a:r>
            <a:r>
              <a:rPr lang="en-CA" err="1"/>
              <a:t>nos</a:t>
            </a:r>
            <a:r>
              <a:rPr lang="en-CA"/>
              <a:t> </a:t>
            </a:r>
            <a:r>
              <a:rPr lang="en-CA" err="1"/>
              <a:t>ayuda</a:t>
            </a:r>
            <a:r>
              <a:rPr lang="en-CA"/>
              <a:t> a </a:t>
            </a:r>
            <a:r>
              <a:rPr lang="en-CA" err="1"/>
              <a:t>mantener</a:t>
            </a:r>
            <a:r>
              <a:rPr lang="en-CA"/>
              <a:t> la </a:t>
            </a:r>
            <a:r>
              <a:rPr lang="en-CA" err="1"/>
              <a:t>simplicidad</a:t>
            </a:r>
            <a:r>
              <a:rPr lang="en-CA"/>
              <a:t> en </a:t>
            </a:r>
            <a:r>
              <a:rPr lang="en-CA" err="1"/>
              <a:t>nuestra</a:t>
            </a:r>
            <a:r>
              <a:rPr lang="en-CA"/>
              <a:t> forma de </a:t>
            </a:r>
            <a:r>
              <a:rPr lang="en-CA" err="1"/>
              <a:t>trabajar</a:t>
            </a:r>
            <a:r>
              <a:rPr lang="en-CA"/>
              <a:t> </a:t>
            </a:r>
            <a:r>
              <a:rPr lang="en-CA" err="1"/>
              <a:t>siguiendo</a:t>
            </a:r>
            <a:r>
              <a:rPr lang="en-CA"/>
              <a:t> uno de </a:t>
            </a:r>
            <a:r>
              <a:rPr lang="en-CA" err="1"/>
              <a:t>los</a:t>
            </a:r>
            <a:r>
              <a:rPr lang="en-CA"/>
              <a:t> 12 </a:t>
            </a:r>
            <a:r>
              <a:rPr lang="en-CA" err="1"/>
              <a:t>principios</a:t>
            </a:r>
            <a:r>
              <a:rPr lang="en-CA"/>
              <a:t> de la Agilidad </a:t>
            </a:r>
            <a:endParaRPr lang="en-US"/>
          </a:p>
          <a:p>
            <a:pPr marL="285750" indent="-285750">
              <a:buFont typeface="Arial" panose="020F0302020204030204"/>
              <a:buChar char="•"/>
            </a:pPr>
            <a:endParaRPr lang="en-CA"/>
          </a:p>
          <a:p>
            <a:pPr marL="457200" indent="-457200" algn="just">
              <a:buFont typeface="Arial,Sans-Serif" panose="020F0302020204030204"/>
              <a:buChar char="•"/>
            </a:pPr>
            <a:r>
              <a:rPr lang="es-ES" b="1"/>
              <a:t>Una historia de usuario es la unidad de trabajo más pequeña en Agile.</a:t>
            </a:r>
            <a:endParaRPr lang="en-US" b="1"/>
          </a:p>
          <a:p>
            <a:pPr marL="457200" indent="-457200" algn="just">
              <a:buFont typeface="Arial,Sans-Serif" panose="020F0302020204030204"/>
              <a:buChar char="•"/>
            </a:pPr>
            <a:endParaRPr lang="es-ES"/>
          </a:p>
          <a:p>
            <a:pPr marL="457200" indent="-457200" algn="just">
              <a:buFont typeface="Arial,Sans-Serif" panose="020F0302020204030204"/>
              <a:buChar char="•"/>
            </a:pPr>
            <a:r>
              <a:rPr lang="es-ES" b="1"/>
              <a:t>Una historia de usuario </a:t>
            </a:r>
            <a:r>
              <a:rPr lang="es-ES" b="1" i="0">
                <a:effectLst/>
              </a:rPr>
              <a:t>es una herramienta </a:t>
            </a:r>
            <a:r>
              <a:rPr lang="es-ES" b="1"/>
              <a:t>utilizada en el desarrollo de software ágil </a:t>
            </a:r>
            <a:r>
              <a:rPr lang="es-ES" b="1" i="0">
                <a:effectLst/>
              </a:rPr>
              <a:t>para </a:t>
            </a:r>
            <a:r>
              <a:rPr lang="es-ES" b="1"/>
              <a:t>capturar una descripción </a:t>
            </a:r>
            <a:r>
              <a:rPr lang="es-ES" b="1" i="0">
                <a:effectLst/>
              </a:rPr>
              <a:t>de </a:t>
            </a:r>
            <a:r>
              <a:rPr lang="es-ES" b="1"/>
              <a:t>una característica del software desde la perspectiva del usuario final</a:t>
            </a:r>
            <a:r>
              <a:rPr lang="es-ES" b="1" i="0">
                <a:effectLst/>
              </a:rPr>
              <a:t>.</a:t>
            </a:r>
            <a:endParaRPr lang="en-US" b="1" i="0">
              <a:effectLst/>
            </a:endParaRPr>
          </a:p>
          <a:p>
            <a:pPr marL="457200" indent="-457200" algn="just">
              <a:buFont typeface="Arial,Sans-Serif" panose="020F0302020204030204"/>
              <a:buChar char="•"/>
            </a:pPr>
            <a:endParaRPr lang="es-ES" b="0" i="0">
              <a:effectLst/>
            </a:endParaRPr>
          </a:p>
          <a:p>
            <a:pPr marL="457200" indent="-457200" algn="just">
              <a:buFont typeface="Arial,Sans-Serif" panose="020F0302020204030204"/>
              <a:buChar char="•"/>
            </a:pPr>
            <a:r>
              <a:rPr lang="es-ES" b="1"/>
              <a:t>Una historia de usuario describe el tipo </a:t>
            </a:r>
            <a:r>
              <a:rPr lang="es-ES" b="1" i="0">
                <a:effectLst/>
              </a:rPr>
              <a:t>de </a:t>
            </a:r>
            <a:r>
              <a:rPr lang="es-ES" b="1"/>
              <a:t>usuario, lo que quiere </a:t>
            </a:r>
            <a:r>
              <a:rPr lang="es-ES" b="1" i="0">
                <a:effectLst/>
              </a:rPr>
              <a:t>y </a:t>
            </a:r>
            <a:r>
              <a:rPr lang="es-ES" b="1"/>
              <a:t>por qué</a:t>
            </a:r>
            <a:r>
              <a:rPr lang="es-ES" b="1" i="0">
                <a:effectLst/>
              </a:rPr>
              <a:t>.</a:t>
            </a:r>
            <a:endParaRPr lang="en-US" b="1" i="0">
              <a:effectLst/>
            </a:endParaRPr>
          </a:p>
          <a:p>
            <a:pPr marL="457200" indent="-457200" algn="just">
              <a:buFont typeface="Arial,Sans-Serif" panose="020F0302020204030204"/>
              <a:buChar char="•"/>
            </a:pPr>
            <a:endParaRPr lang="es-ES" b="0" i="0">
              <a:effectLst/>
            </a:endParaRPr>
          </a:p>
          <a:p>
            <a:pPr marL="457200" indent="-457200" algn="just">
              <a:buFont typeface="Arial,Sans-Serif" panose="020F0302020204030204"/>
              <a:buChar char="•"/>
            </a:pPr>
            <a:r>
              <a:rPr lang="es-ES" b="1"/>
              <a:t>Una historia de usuario ayuda a crear una descripción simplificada de un requisito</a:t>
            </a:r>
            <a:r>
              <a:rPr lang="es-ES" b="1" i="0">
                <a:effectLst/>
              </a:rPr>
              <a:t>.</a:t>
            </a:r>
            <a:endParaRPr lang="es-ES" b="1"/>
          </a:p>
          <a:p>
            <a:pPr marL="457200" indent="-457200" algn="just">
              <a:buFont typeface="Arial,Sans-Serif" panose="020F0302020204030204"/>
              <a:buChar char="•"/>
            </a:pPr>
            <a:endParaRPr lang="es-ES" b="1">
              <a:ea typeface="Calibri" panose="020F0502020204030204"/>
              <a:cs typeface="Calibri" panose="020F0502020204030204"/>
            </a:endParaRPr>
          </a:p>
          <a:p>
            <a:pPr marL="171450" indent="-171450" algn="just">
              <a:buFont typeface="Arial" panose="020F0302020204030204"/>
              <a:buChar char="•"/>
            </a:pPr>
            <a:r>
              <a:rPr lang="es-ES" b="1"/>
              <a:t>Una historia de usuario es un método ligero para capturar rápidamente el “Quién", el “Qué" y el “Por qué" de los requisitos/ necesidades de un producto.</a:t>
            </a:r>
            <a:endParaRPr lang="en-US"/>
          </a:p>
          <a:p>
            <a:pPr marL="171450" indent="-171450" algn="just">
              <a:buFont typeface="Arial" panose="020F0302020204030204"/>
              <a:buChar char="•"/>
            </a:pPr>
            <a:endParaRPr lang="es-ES"/>
          </a:p>
          <a:p>
            <a:pPr marL="171450" indent="-171450" algn="just">
              <a:buFont typeface="Arial" panose="020F0302020204030204"/>
              <a:buChar char="•"/>
            </a:pPr>
            <a:r>
              <a:rPr lang="es-ES" b="1"/>
              <a:t>En términos simples, las historias de usuarios son ideas expresadas de requisitos que expresan lo que los usuarios necesitan.</a:t>
            </a:r>
            <a:endParaRPr lang="es-ES"/>
          </a:p>
          <a:p>
            <a:pPr marL="171450" indent="-171450" algn="just">
              <a:buFont typeface="Arial" panose="020F0302020204030204"/>
              <a:buChar char="•"/>
            </a:pPr>
            <a:endParaRPr lang="es-ES"/>
          </a:p>
          <a:p>
            <a:pPr marL="171450" indent="-171450" algn="just">
              <a:buFont typeface="Arial" panose="020F0302020204030204"/>
              <a:buChar char="•"/>
            </a:pPr>
            <a:r>
              <a:rPr lang="es-ES" b="1"/>
              <a:t>Las historias de usuario son breves y cada elemento suele contener menos de 10 o 15 palabras cada uno.</a:t>
            </a:r>
            <a:endParaRPr lang="es-MX"/>
          </a:p>
          <a:p>
            <a:pPr marL="457200" indent="-457200" algn="just">
              <a:buFont typeface="Arial,Sans-Serif" panose="020F0302020204030204"/>
              <a:buChar char="•"/>
            </a:pPr>
            <a:endParaRPr lang="es-ES" b="1">
              <a:ea typeface="Calibri" panose="020F0502020204030204"/>
              <a:cs typeface="Calibri" panose="020F0502020204030204"/>
            </a:endParaRPr>
          </a:p>
          <a:p>
            <a:endParaRPr lang="en-US">
              <a:ea typeface="Calibri" panose="020F0502020204030204"/>
              <a:cs typeface="Calibri" panose="020F0502020204030204"/>
            </a:endParaRPr>
          </a:p>
        </p:txBody>
      </p:sp>
      <p:sp>
        <p:nvSpPr>
          <p:cNvPr id="8" name="Slide Number Placeholder 3"/>
          <p:cNvSpPr>
            <a:spLocks noGrp="1"/>
          </p:cNvSpPr>
          <p:nvPr>
            <p:ph type="sldNum" sz="quarter" idx="5"/>
          </p:nvPr>
        </p:nvSpPr>
        <p:spPr>
          <a:xfrm>
            <a:off x="3318126" y="8792735"/>
            <a:ext cx="57708" cy="138499"/>
          </a:xfrm>
          <a:prstGeom prst="rect">
            <a:avLst/>
          </a:prstGeom>
        </p:spPr>
        <p:txBody>
          <a:bodyPr vert="horz" wrap="none" lIns="0" tIns="0" rIns="0" bIns="0" rtlCol="0" anchor="t" anchorCtr="1">
            <a:spAutoFit/>
          </a:bodyPr>
          <a:lstStyle>
            <a:lvl1pPr algn="ctr">
              <a:lnSpc>
                <a:spcPct val="100000"/>
              </a:lnSpc>
              <a:spcBef>
                <a:spcPct val="0"/>
              </a:spcBef>
              <a:spcAft>
                <a:spcPct val="0"/>
              </a:spcAft>
              <a:defRPr sz="900" b="0">
                <a:latin typeface="Times New Roman"/>
              </a:defRPr>
            </a:lvl1pPr>
          </a:lstStyle>
          <a:p>
            <a:fld id="{5DFCC2C8-0134-4696-A061-F3D597DAC29C}" type="slidenum">
              <a:rPr lang="en-US" smtClean="0"/>
              <a:pPr/>
              <a:t>11</a:t>
            </a:fld>
            <a:endParaRPr lang="en-US"/>
          </a:p>
        </p:txBody>
      </p:sp>
    </p:spTree>
    <p:extLst>
      <p:ext uri="{BB962C8B-B14F-4D97-AF65-F5344CB8AC3E}">
        <p14:creationId xmlns:p14="http://schemas.microsoft.com/office/powerpoint/2010/main" val="62340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721BD-8E96-8CEB-C4F6-C5867AF67D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0DE8D7-AC40-8E93-5E83-B3E91F49AB41}"/>
              </a:ext>
            </a:extLst>
          </p:cNvPr>
          <p:cNvSpPr>
            <a:spLocks noGrp="1" noRot="1" noChangeAspect="1"/>
          </p:cNvSpPr>
          <p:nvPr>
            <p:ph type="sldImg"/>
          </p:nvPr>
        </p:nvSpPr>
        <p:spPr>
          <a:xfrm>
            <a:off x="403225" y="695325"/>
            <a:ext cx="6178550" cy="3476625"/>
          </a:xfrm>
        </p:spPr>
      </p:sp>
      <p:sp>
        <p:nvSpPr>
          <p:cNvPr id="3" name="Notes Placeholder 2">
            <a:extLst>
              <a:ext uri="{FF2B5EF4-FFF2-40B4-BE49-F238E27FC236}">
                <a16:creationId xmlns:a16="http://schemas.microsoft.com/office/drawing/2014/main" id="{014EC20D-EC75-F3D1-866B-9C701D4D8654}"/>
              </a:ext>
            </a:extLst>
          </p:cNvPr>
          <p:cNvSpPr>
            <a:spLocks noGrp="1"/>
          </p:cNvSpPr>
          <p:nvPr>
            <p:ph type="body" idx="1"/>
          </p:nvPr>
        </p:nvSpPr>
        <p:spPr/>
        <p:txBody>
          <a:bodyPr/>
          <a:lstStyle/>
          <a:p>
            <a:pPr marL="174150" indent="-174150">
              <a:buFont typeface="Arial" pitchFamily="34" charset="0"/>
              <a:buChar char="•"/>
            </a:pPr>
            <a:r>
              <a:rPr lang="es-CO" b="1"/>
              <a:t>PBL(Pila de producto):</a:t>
            </a:r>
            <a:r>
              <a:rPr lang="es-CO"/>
              <a:t>Pertenece al propietario del producto, quien priorizará o "preparará" el trabajo pendiente en función del valor al negocio.</a:t>
            </a:r>
            <a:endParaRPr lang="en-US"/>
          </a:p>
          <a:p>
            <a:pPr marL="174150" indent="-174150">
              <a:buFont typeface="Arial" pitchFamily="34" charset="0"/>
              <a:buChar char="•"/>
            </a:pPr>
            <a:r>
              <a:rPr lang="en-US"/>
              <a:t>Los items de mayor </a:t>
            </a:r>
            <a:r>
              <a:rPr lang="en-US" err="1"/>
              <a:t>prioridad</a:t>
            </a:r>
            <a:r>
              <a:rPr lang="en-US"/>
              <a:t> se </a:t>
            </a:r>
            <a:r>
              <a:rPr lang="en-US" err="1"/>
              <a:t>definen</a:t>
            </a:r>
            <a:r>
              <a:rPr lang="en-US"/>
              <a:t> en </a:t>
            </a:r>
            <a:r>
              <a:rPr lang="en-US" err="1"/>
              <a:t>detalle</a:t>
            </a:r>
            <a:r>
              <a:rPr lang="en-US"/>
              <a:t> </a:t>
            </a:r>
            <a:r>
              <a:rPr lang="en-US" err="1"/>
              <a:t>como</a:t>
            </a:r>
            <a:r>
              <a:rPr lang="en-US"/>
              <a:t> </a:t>
            </a:r>
            <a:r>
              <a:rPr lang="en-US" err="1"/>
              <a:t>Historias</a:t>
            </a:r>
            <a:r>
              <a:rPr lang="en-US"/>
              <a:t> de </a:t>
            </a:r>
            <a:r>
              <a:rPr lang="en-US" err="1"/>
              <a:t>Usiario</a:t>
            </a:r>
            <a:r>
              <a:rPr lang="en-US"/>
              <a:t>, una </a:t>
            </a:r>
            <a:r>
              <a:rPr lang="en-US" err="1"/>
              <a:t>vez</a:t>
            </a:r>
            <a:r>
              <a:rPr lang="en-US"/>
              <a:t> </a:t>
            </a:r>
            <a:r>
              <a:rPr lang="en-US" err="1"/>
              <a:t>listas</a:t>
            </a:r>
            <a:r>
              <a:rPr lang="en-US"/>
              <a:t>, son </a:t>
            </a:r>
            <a:r>
              <a:rPr lang="en-US" err="1"/>
              <a:t>agregadas</a:t>
            </a:r>
            <a:r>
              <a:rPr lang="en-US"/>
              <a:t> al Sprint Backlog.</a:t>
            </a:r>
          </a:p>
          <a:p>
            <a:pPr marL="174150" indent="-174150">
              <a:buFont typeface="Arial" pitchFamily="34" charset="0"/>
              <a:buChar char="•"/>
            </a:pPr>
            <a:r>
              <a:rPr lang="en-US"/>
              <a:t>Las </a:t>
            </a:r>
            <a:r>
              <a:rPr lang="en-US" err="1"/>
              <a:t>historias</a:t>
            </a:r>
            <a:r>
              <a:rPr lang="en-US"/>
              <a:t> son </a:t>
            </a:r>
            <a:r>
              <a:rPr lang="en-US" err="1"/>
              <a:t>agregada</a:t>
            </a:r>
            <a:r>
              <a:rPr lang="en-US"/>
              <a:t>, </a:t>
            </a:r>
            <a:r>
              <a:rPr lang="en-US" err="1"/>
              <a:t>modificadas</a:t>
            </a:r>
            <a:r>
              <a:rPr lang="en-US"/>
              <a:t> y </a:t>
            </a:r>
            <a:r>
              <a:rPr lang="en-US" err="1"/>
              <a:t>divididas</a:t>
            </a:r>
            <a:r>
              <a:rPr lang="en-US"/>
              <a:t> en </a:t>
            </a:r>
            <a:r>
              <a:rPr lang="en-US" err="1"/>
              <a:t>pequeñas</a:t>
            </a:r>
            <a:r>
              <a:rPr lang="en-US"/>
              <a:t> </a:t>
            </a:r>
            <a:r>
              <a:rPr lang="en-US" err="1"/>
              <a:t>todo</a:t>
            </a:r>
            <a:r>
              <a:rPr lang="en-US"/>
              <a:t> el </a:t>
            </a:r>
            <a:r>
              <a:rPr lang="en-US" err="1"/>
              <a:t>tiempo</a:t>
            </a:r>
            <a:r>
              <a:rPr lang="en-US"/>
              <a:t>. </a:t>
            </a:r>
          </a:p>
          <a:p>
            <a:pPr marL="174150" indent="-174150">
              <a:buFont typeface="Arial" pitchFamily="34" charset="0"/>
              <a:buChar char="•"/>
            </a:pPr>
            <a:r>
              <a:rPr lang="en-US"/>
              <a:t>The backlog es </a:t>
            </a:r>
            <a:r>
              <a:rPr lang="en-US" err="1"/>
              <a:t>generado</a:t>
            </a:r>
            <a:r>
              <a:rPr lang="en-US"/>
              <a:t> </a:t>
            </a:r>
            <a:r>
              <a:rPr lang="en-US" err="1"/>
              <a:t>desde</a:t>
            </a:r>
            <a:r>
              <a:rPr lang="en-US"/>
              <a:t> el </a:t>
            </a:r>
            <a:r>
              <a:rPr lang="en-US" err="1"/>
              <a:t>inicio</a:t>
            </a:r>
            <a:r>
              <a:rPr lang="en-US"/>
              <a:t> del Proyecto; A </a:t>
            </a:r>
            <a:r>
              <a:rPr lang="en-US" err="1"/>
              <a:t>partir</a:t>
            </a:r>
            <a:r>
              <a:rPr lang="en-US"/>
              <a:t> de </a:t>
            </a:r>
            <a:r>
              <a:rPr lang="en-US" err="1"/>
              <a:t>dicho</a:t>
            </a:r>
            <a:r>
              <a:rPr lang="en-US"/>
              <a:t> </a:t>
            </a:r>
            <a:r>
              <a:rPr lang="en-US" err="1"/>
              <a:t>momento</a:t>
            </a:r>
            <a:r>
              <a:rPr lang="en-US"/>
              <a:t>, </a:t>
            </a:r>
            <a:r>
              <a:rPr lang="en-US" err="1"/>
              <a:t>crece</a:t>
            </a:r>
            <a:r>
              <a:rPr lang="en-US"/>
              <a:t> y se </a:t>
            </a:r>
            <a:r>
              <a:rPr lang="en-US" err="1"/>
              <a:t>refina</a:t>
            </a:r>
            <a:r>
              <a:rPr lang="en-US"/>
              <a:t> </a:t>
            </a:r>
            <a:r>
              <a:rPr lang="en-US" err="1"/>
              <a:t>según</a:t>
            </a:r>
            <a:r>
              <a:rPr lang="en-US"/>
              <a:t> sea </a:t>
            </a:r>
            <a:r>
              <a:rPr lang="en-US" err="1"/>
              <a:t>necesario</a:t>
            </a:r>
            <a:r>
              <a:rPr lang="en-US"/>
              <a:t>. </a:t>
            </a:r>
          </a:p>
          <a:p>
            <a:r>
              <a:rPr lang="en-US"/>
              <a:t>*</a:t>
            </a:r>
            <a:r>
              <a:rPr lang="en-US" sz="1100"/>
              <a:t>Business value/Valor del </a:t>
            </a:r>
            <a:r>
              <a:rPr lang="en-US" sz="1100" err="1"/>
              <a:t>negocio</a:t>
            </a:r>
            <a:r>
              <a:rPr lang="en-US" sz="1100"/>
              <a:t> </a:t>
            </a:r>
            <a:r>
              <a:rPr lang="en-US" sz="1100" err="1"/>
              <a:t>considera</a:t>
            </a:r>
            <a:r>
              <a:rPr lang="en-US" sz="1100"/>
              <a:t> la </a:t>
            </a:r>
            <a:r>
              <a:rPr lang="en-US" sz="1100" err="1"/>
              <a:t>conveniencia</a:t>
            </a:r>
            <a:r>
              <a:rPr lang="en-US" sz="1100"/>
              <a:t> </a:t>
            </a:r>
            <a:r>
              <a:rPr lang="en-US" sz="1100" err="1"/>
              <a:t>relativa</a:t>
            </a:r>
            <a:r>
              <a:rPr lang="en-US" sz="1100"/>
              <a:t> del </a:t>
            </a:r>
            <a:r>
              <a:rPr lang="en-US" sz="1100" err="1"/>
              <a:t>costo</a:t>
            </a:r>
            <a:r>
              <a:rPr lang="en-US" sz="1100"/>
              <a:t>.</a:t>
            </a:r>
          </a:p>
          <a:p>
            <a:endParaRPr lang="en-US" sz="1100"/>
          </a:p>
          <a:p>
            <a:r>
              <a:rPr lang="en-US"/>
              <a:t>“</a:t>
            </a:r>
            <a:r>
              <a:rPr lang="es-CO"/>
              <a:t>“La idea detrás del Backlog es que debería tener todo lo que podría incluirse en el producto. En realidad, nunca va a construirlo todo, pero desea una lista de todo lo que podría incluirse en la visión de ese producto ". Jeff Sutherland</a:t>
            </a:r>
            <a:endParaRPr lang="en-US"/>
          </a:p>
        </p:txBody>
      </p:sp>
      <p:sp>
        <p:nvSpPr>
          <p:cNvPr id="4" name="Slide Number Placeholder 3">
            <a:extLst>
              <a:ext uri="{FF2B5EF4-FFF2-40B4-BE49-F238E27FC236}">
                <a16:creationId xmlns:a16="http://schemas.microsoft.com/office/drawing/2014/main" id="{57BC0489-5052-A837-4383-DDD23E82754D}"/>
              </a:ext>
            </a:extLst>
          </p:cNvPr>
          <p:cNvSpPr>
            <a:spLocks noGrp="1"/>
          </p:cNvSpPr>
          <p:nvPr>
            <p:ph type="sldNum" sz="quarter" idx="10"/>
          </p:nvPr>
        </p:nvSpPr>
        <p:spPr/>
        <p:txBody>
          <a:bodyPr/>
          <a:lstStyle/>
          <a:p>
            <a:fld id="{72043D23-1355-46AB-94C3-369BB5E64DD0}" type="slidenum">
              <a:rPr lang="en-US" smtClean="0"/>
              <a:t>12</a:t>
            </a:fld>
            <a:endParaRPr lang="en-US"/>
          </a:p>
        </p:txBody>
      </p:sp>
    </p:spTree>
    <p:extLst>
      <p:ext uri="{BB962C8B-B14F-4D97-AF65-F5344CB8AC3E}">
        <p14:creationId xmlns:p14="http://schemas.microsoft.com/office/powerpoint/2010/main" val="2910172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a:p>
          <a:p>
            <a:endParaRPr lang="es-MX"/>
          </a:p>
          <a:p>
            <a:endParaRPr lang="en-CA"/>
          </a:p>
        </p:txBody>
      </p:sp>
      <p:sp>
        <p:nvSpPr>
          <p:cNvPr id="4" name="Marcador de número de diapositiva 3"/>
          <p:cNvSpPr>
            <a:spLocks noGrp="1"/>
          </p:cNvSpPr>
          <p:nvPr>
            <p:ph type="sldNum" sz="quarter" idx="5"/>
          </p:nvPr>
        </p:nvSpPr>
        <p:spPr/>
        <p:txBody>
          <a:bodyPr/>
          <a:lstStyle/>
          <a:p>
            <a:fld id="{A682F72F-8E37-904D-8F87-C4C23F3C3937}" type="slidenum">
              <a:rPr lang="en-US" smtClean="0"/>
              <a:t>13</a:t>
            </a:fld>
            <a:endParaRPr lang="en-US"/>
          </a:p>
        </p:txBody>
      </p:sp>
    </p:spTree>
    <p:extLst>
      <p:ext uri="{BB962C8B-B14F-4D97-AF65-F5344CB8AC3E}">
        <p14:creationId xmlns:p14="http://schemas.microsoft.com/office/powerpoint/2010/main" val="663293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b="0" i="0">
                <a:solidFill>
                  <a:srgbClr val="737C85"/>
                </a:solidFill>
                <a:effectLst/>
                <a:latin typeface="Open Sans" panose="020B0606030504020204" pitchFamily="34" charset="0"/>
              </a:rPr>
              <a:t>El acrónimo INVEST ayuda a recordar un conjunto de criterios o lista de verificación ampliamente aceptados para evaluar la calidad de una historia de usuario.</a:t>
            </a:r>
          </a:p>
          <a:p>
            <a:endParaRPr lang="es-ES" b="0" i="0">
              <a:solidFill>
                <a:srgbClr val="737C85"/>
              </a:solidFill>
              <a:effectLst/>
              <a:latin typeface="Open Sans" panose="020B0606030504020204" pitchFamily="34" charset="0"/>
            </a:endParaRPr>
          </a:p>
          <a:p>
            <a:r>
              <a:rPr lang="es-ES" b="0" i="0">
                <a:solidFill>
                  <a:srgbClr val="737C85"/>
                </a:solidFill>
                <a:effectLst/>
                <a:latin typeface="Open Sans" panose="020B0606030504020204" pitchFamily="34" charset="0"/>
              </a:rPr>
              <a:t>Si la historia no cumple con uno de estos criterios, es posible que el equipo quiera reformularla o incluso considerar reescribirla (lo que a menudo se traduce en romper físicamente la tarjeta de la historia anterior y escribir una nueva).</a:t>
            </a:r>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14</a:t>
            </a:fld>
            <a:endParaRPr lang="en-US"/>
          </a:p>
        </p:txBody>
      </p:sp>
    </p:spTree>
    <p:extLst>
      <p:ext uri="{BB962C8B-B14F-4D97-AF65-F5344CB8AC3E}">
        <p14:creationId xmlns:p14="http://schemas.microsoft.com/office/powerpoint/2010/main" val="4035840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b="0" i="0">
                <a:solidFill>
                  <a:srgbClr val="676767"/>
                </a:solidFill>
                <a:effectLst/>
                <a:latin typeface="Open Sans" panose="020B0606030504020204" pitchFamily="34" charset="0"/>
              </a:rPr>
              <a:t>Las historias de usuarios siguen una plantilla sencilla. El formato de historia de usuario elegido describirá el "quién", el "qué" y el "por qué" de un requisito en particular.</a:t>
            </a:r>
            <a:endParaRPr lang="en-CA"/>
          </a:p>
        </p:txBody>
      </p:sp>
      <p:sp>
        <p:nvSpPr>
          <p:cNvPr id="4" name="Slide Number Placeholder 3"/>
          <p:cNvSpPr>
            <a:spLocks noGrp="1"/>
          </p:cNvSpPr>
          <p:nvPr>
            <p:ph type="sldNum" sz="quarter" idx="10"/>
          </p:nvPr>
        </p:nvSpPr>
        <p:spPr/>
        <p:txBody>
          <a:bodyPr/>
          <a:lstStyle/>
          <a:p>
            <a:fld id="{A682F72F-8E37-904D-8F87-C4C23F3C3937}" type="slidenum">
              <a:rPr lang="en-US" smtClean="0"/>
              <a:t>15</a:t>
            </a:fld>
            <a:endParaRPr lang="en-US"/>
          </a:p>
        </p:txBody>
      </p:sp>
    </p:spTree>
    <p:extLst>
      <p:ext uri="{BB962C8B-B14F-4D97-AF65-F5344CB8AC3E}">
        <p14:creationId xmlns:p14="http://schemas.microsoft.com/office/powerpoint/2010/main" val="2166428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0" i="0">
                <a:solidFill>
                  <a:srgbClr val="676767"/>
                </a:solidFill>
                <a:effectLst/>
                <a:latin typeface="Open Sans" panose="020B0606030504020204" pitchFamily="34" charset="0"/>
              </a:rPr>
              <a:t>Las historias de usuarios siguen una plantilla sencilla. El formato de historia de usuario elegido describirá el "quién", el "qué" y el "por qué" de un requisito en particular.</a:t>
            </a:r>
            <a:endParaRPr lang="en-CA"/>
          </a:p>
          <a:p>
            <a:pPr algn="l"/>
            <a:endParaRPr lang="es-ES" b="1" i="0">
              <a:solidFill>
                <a:srgbClr val="737C85"/>
              </a:solidFill>
              <a:effectLst/>
              <a:latin typeface="Open Sans" panose="020B0606030504020204" pitchFamily="34" charset="0"/>
            </a:endParaRPr>
          </a:p>
          <a:p>
            <a:pPr algn="l"/>
            <a:r>
              <a:rPr lang="es-ES" b="1" i="0">
                <a:solidFill>
                  <a:srgbClr val="737C85"/>
                </a:solidFill>
                <a:effectLst/>
                <a:latin typeface="Open Sans" panose="020B0606030504020204" pitchFamily="34" charset="0"/>
              </a:rPr>
              <a:t>Rol: el usuario debe ser un ser humano real que interactúa con el sistema.</a:t>
            </a:r>
          </a:p>
          <a:p>
            <a:pPr algn="l"/>
            <a:r>
              <a:rPr lang="es-ES" b="1" i="0">
                <a:solidFill>
                  <a:srgbClr val="737C85"/>
                </a:solidFill>
                <a:effectLst/>
                <a:latin typeface="Open Sans" panose="020B0606030504020204" pitchFamily="34" charset="0"/>
              </a:rPr>
              <a:t>Sea lo más específico posible</a:t>
            </a:r>
          </a:p>
          <a:p>
            <a:pPr algn="l"/>
            <a:r>
              <a:rPr lang="es-ES" b="1" i="0">
                <a:solidFill>
                  <a:srgbClr val="737C85"/>
                </a:solidFill>
                <a:effectLst/>
                <a:latin typeface="Open Sans" panose="020B0606030504020204" pitchFamily="34" charset="0"/>
              </a:rPr>
              <a:t>El equipo de desarrollo NO es un usuario.</a:t>
            </a:r>
          </a:p>
          <a:p>
            <a:pPr algn="l"/>
            <a:endParaRPr lang="es-ES" b="1" i="0">
              <a:solidFill>
                <a:srgbClr val="737C85"/>
              </a:solidFill>
              <a:effectLst/>
              <a:latin typeface="Open Sans" panose="020B0606030504020204" pitchFamily="34" charset="0"/>
            </a:endParaRPr>
          </a:p>
          <a:p>
            <a:pPr algn="l"/>
            <a:r>
              <a:rPr lang="es-ES" b="1" i="0">
                <a:solidFill>
                  <a:srgbClr val="737C85"/>
                </a:solidFill>
                <a:effectLst/>
                <a:latin typeface="Open Sans" panose="020B0606030504020204" pitchFamily="34" charset="0"/>
              </a:rPr>
              <a:t>Acción: el comportamiento del sistema debe escribirse como una acción.</a:t>
            </a:r>
          </a:p>
          <a:p>
            <a:pPr algn="l"/>
            <a:r>
              <a:rPr lang="es-ES" b="1" i="0">
                <a:solidFill>
                  <a:srgbClr val="737C85"/>
                </a:solidFill>
                <a:effectLst/>
                <a:latin typeface="Open Sans" panose="020B0606030504020204" pitchFamily="34" charset="0"/>
              </a:rPr>
              <a:t>Generalmente único para cada historia de usuario</a:t>
            </a:r>
          </a:p>
          <a:p>
            <a:pPr algn="l"/>
            <a:r>
              <a:rPr lang="es-ES" b="1" i="0">
                <a:solidFill>
                  <a:srgbClr val="737C85"/>
                </a:solidFill>
                <a:effectLst/>
                <a:latin typeface="Open Sans" panose="020B0606030504020204" pitchFamily="34" charset="0"/>
              </a:rPr>
              <a:t>El "sistema" está implícito y no queda escrito en la historia.</a:t>
            </a:r>
          </a:p>
          <a:p>
            <a:pPr algn="l"/>
            <a:r>
              <a:rPr lang="es-ES" b="1" i="0">
                <a:solidFill>
                  <a:srgbClr val="737C85"/>
                </a:solidFill>
                <a:effectLst/>
                <a:latin typeface="Open Sans" panose="020B0606030504020204" pitchFamily="34" charset="0"/>
              </a:rPr>
              <a:t>Voz activa, no voz pasiva ("Me pueden notificar")</a:t>
            </a:r>
          </a:p>
          <a:p>
            <a:pPr algn="l"/>
            <a:endParaRPr lang="es-ES" b="1" i="0">
              <a:solidFill>
                <a:srgbClr val="737C85"/>
              </a:solidFill>
              <a:effectLst/>
              <a:latin typeface="Open Sans" panose="020B0606030504020204" pitchFamily="34" charset="0"/>
            </a:endParaRPr>
          </a:p>
          <a:p>
            <a:pPr algn="l"/>
            <a:r>
              <a:rPr lang="es-ES" b="1" i="0">
                <a:solidFill>
                  <a:srgbClr val="737C85"/>
                </a:solidFill>
                <a:effectLst/>
                <a:latin typeface="Open Sans" panose="020B0606030504020204" pitchFamily="34" charset="0"/>
              </a:rPr>
              <a:t>Beneficios: el beneficio debe ser un resultado del mundo real que no sea funcional o externo al sistema.</a:t>
            </a:r>
          </a:p>
          <a:p>
            <a:pPr algn="l"/>
            <a:r>
              <a:rPr lang="es-ES" b="1" i="0">
                <a:solidFill>
                  <a:srgbClr val="737C85"/>
                </a:solidFill>
                <a:effectLst/>
                <a:latin typeface="Open Sans" panose="020B0606030504020204" pitchFamily="34" charset="0"/>
              </a:rPr>
              <a:t>Muchas historias pueden compartir la misma declaración de beneficios.</a:t>
            </a:r>
          </a:p>
          <a:p>
            <a:pPr algn="l"/>
            <a:r>
              <a:rPr lang="es-ES" b="1" i="0">
                <a:solidFill>
                  <a:srgbClr val="737C85"/>
                </a:solidFill>
                <a:effectLst/>
                <a:latin typeface="Open Sans" panose="020B0606030504020204" pitchFamily="34" charset="0"/>
              </a:rPr>
              <a:t>El beneficio puede ser para otros usuarios o clientes, no sólo para el usuario de la historia.</a:t>
            </a:r>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16</a:t>
            </a:fld>
            <a:endParaRPr lang="en-US"/>
          </a:p>
        </p:txBody>
      </p:sp>
    </p:spTree>
    <p:extLst>
      <p:ext uri="{BB962C8B-B14F-4D97-AF65-F5344CB8AC3E}">
        <p14:creationId xmlns:p14="http://schemas.microsoft.com/office/powerpoint/2010/main" val="30534399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682F72F-8E37-904D-8F87-C4C23F3C3937}" type="slidenum">
              <a:rPr lang="en-US" smtClean="0"/>
              <a:t>17</a:t>
            </a:fld>
            <a:endParaRPr lang="en-US"/>
          </a:p>
        </p:txBody>
      </p:sp>
    </p:spTree>
    <p:extLst>
      <p:ext uri="{BB962C8B-B14F-4D97-AF65-F5344CB8AC3E}">
        <p14:creationId xmlns:p14="http://schemas.microsoft.com/office/powerpoint/2010/main" val="4630789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18</a:t>
            </a:fld>
            <a:endParaRPr lang="en-US"/>
          </a:p>
        </p:txBody>
      </p:sp>
    </p:spTree>
    <p:extLst>
      <p:ext uri="{BB962C8B-B14F-4D97-AF65-F5344CB8AC3E}">
        <p14:creationId xmlns:p14="http://schemas.microsoft.com/office/powerpoint/2010/main" val="2493349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r>
              <a:rPr lang="es-ES" sz="1200" b="1">
                <a:solidFill>
                  <a:schemeClr val="bg1">
                    <a:lumMod val="50000"/>
                  </a:schemeClr>
                </a:solidFill>
                <a:latin typeface="Scotia Headline" panose="020B0503020203020204" pitchFamily="34" charset="0"/>
              </a:rPr>
              <a:t>Definen los límites de una historia de usuario y ayudan al equipo a comprender qué debe ofrecer la solución para ofrecer valor a las partes interesadas.</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200" b="1">
              <a:solidFill>
                <a:schemeClr val="bg1">
                  <a:lumMod val="50000"/>
                </a:schemeClr>
              </a:solidFill>
              <a:latin typeface="Scotia Headline" panose="020B0503020203020204" pitchFamily="34" charset="0"/>
            </a:endParaRP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r>
              <a:rPr lang="es-ES" sz="1200" b="1">
                <a:solidFill>
                  <a:schemeClr val="bg1">
                    <a:lumMod val="50000"/>
                  </a:schemeClr>
                </a:solidFill>
                <a:latin typeface="Scotia Headline" panose="020B0503020203020204" pitchFamily="34" charset="0"/>
              </a:rPr>
              <a:t>Son los criterios con los que se acepta o rechaza la historia, es con el que se construyen las pruebas.</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200" b="1">
              <a:solidFill>
                <a:schemeClr val="bg1">
                  <a:lumMod val="50000"/>
                </a:schemeClr>
              </a:solidFill>
              <a:latin typeface="Scotia Headline" panose="020B0503020203020204" pitchFamily="34" charset="0"/>
            </a:endParaRP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r>
              <a:rPr lang="es-ES" sz="1200" b="1">
                <a:solidFill>
                  <a:schemeClr val="bg1">
                    <a:lumMod val="50000"/>
                  </a:schemeClr>
                </a:solidFill>
                <a:latin typeface="Scotia Headline" panose="020B0503020203020204" pitchFamily="34" charset="0"/>
              </a:rPr>
              <a:t>Expresan el comportamiento del sistema según Ejemplos o Escenarios que reflejan la interacción (o diálogo) entre éste y el Usuario.</a:t>
            </a:r>
            <a:endParaRPr lang="es-MX" sz="1200" b="1">
              <a:solidFill>
                <a:schemeClr val="bg1">
                  <a:lumMod val="50000"/>
                </a:schemeClr>
              </a:solidFill>
              <a:latin typeface="Scotia Headline" panose="020B0503020203020204" pitchFamily="34" charset="0"/>
            </a:endParaRPr>
          </a:p>
          <a:p>
            <a:endParaRPr lang="en-CA"/>
          </a:p>
        </p:txBody>
      </p:sp>
      <p:sp>
        <p:nvSpPr>
          <p:cNvPr id="4" name="Slide Number Placeholder 3"/>
          <p:cNvSpPr>
            <a:spLocks noGrp="1"/>
          </p:cNvSpPr>
          <p:nvPr>
            <p:ph type="sldNum" sz="quarter" idx="10"/>
          </p:nvPr>
        </p:nvSpPr>
        <p:spPr/>
        <p:txBody>
          <a:bodyPr/>
          <a:lstStyle/>
          <a:p>
            <a:fld id="{A682F72F-8E37-904D-8F87-C4C23F3C3937}" type="slidenum">
              <a:rPr lang="en-US" smtClean="0"/>
              <a:t>19</a:t>
            </a:fld>
            <a:endParaRPr lang="en-US"/>
          </a:p>
        </p:txBody>
      </p:sp>
    </p:spTree>
    <p:extLst>
      <p:ext uri="{BB962C8B-B14F-4D97-AF65-F5344CB8AC3E}">
        <p14:creationId xmlns:p14="http://schemas.microsoft.com/office/powerpoint/2010/main" val="1190664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lang="en-US"/>
              <a:t>Close apps, put phone away</a:t>
            </a:r>
          </a:p>
          <a:p>
            <a:pPr marL="0" marR="0" lvl="0" indent="0" algn="l" defTabSz="1828709" rtl="0" eaLnBrk="1" fontAlgn="auto" latinLnBrk="0" hangingPunct="1">
              <a:lnSpc>
                <a:spcPct val="100000"/>
              </a:lnSpc>
              <a:spcBef>
                <a:spcPts val="0"/>
              </a:spcBef>
              <a:spcAft>
                <a:spcPts val="0"/>
              </a:spcAft>
              <a:buClrTx/>
              <a:buSzTx/>
              <a:buFontTx/>
              <a:buNone/>
              <a:tabLst/>
              <a:defRPr/>
            </a:pPr>
            <a:r>
              <a:rPr lang="en-US"/>
              <a:t>Raise hand, use chat or unmute if you have questions</a:t>
            </a:r>
          </a:p>
          <a:p>
            <a:pPr marL="0" marR="0" lvl="0" indent="0" algn="l" defTabSz="1828709" rtl="0" eaLnBrk="1" fontAlgn="auto" latinLnBrk="0" hangingPunct="1">
              <a:lnSpc>
                <a:spcPct val="100000"/>
              </a:lnSpc>
              <a:spcBef>
                <a:spcPts val="0"/>
              </a:spcBef>
              <a:spcAft>
                <a:spcPts val="0"/>
              </a:spcAft>
              <a:buClrTx/>
              <a:buSzTx/>
              <a:buFontTx/>
              <a:buNone/>
              <a:tabLst/>
              <a:defRPr/>
            </a:pPr>
            <a:r>
              <a:rPr lang="en-US"/>
              <a:t>Turn camera on </a:t>
            </a:r>
          </a:p>
          <a:p>
            <a:pPr marL="0" marR="0" lvl="0" indent="0" algn="l" defTabSz="1828709" rtl="0" eaLnBrk="1" fontAlgn="auto" latinLnBrk="0" hangingPunct="1">
              <a:lnSpc>
                <a:spcPct val="100000"/>
              </a:lnSpc>
              <a:spcBef>
                <a:spcPts val="0"/>
              </a:spcBef>
              <a:spcAft>
                <a:spcPts val="0"/>
              </a:spcAft>
              <a:buClrTx/>
              <a:buSzTx/>
              <a:buFontTx/>
              <a:buNone/>
              <a:tabLst/>
              <a:defRPr/>
            </a:pPr>
            <a:r>
              <a:rPr lang="en-US"/>
              <a:t>Use reactions</a:t>
            </a:r>
          </a:p>
          <a:p>
            <a:pPr marL="0" marR="0" lvl="0" indent="0" algn="l" defTabSz="1828709" rtl="0" eaLnBrk="1" fontAlgn="auto" latinLnBrk="0" hangingPunct="1">
              <a:lnSpc>
                <a:spcPct val="100000"/>
              </a:lnSpc>
              <a:spcBef>
                <a:spcPts val="0"/>
              </a:spcBef>
              <a:spcAft>
                <a:spcPts val="0"/>
              </a:spcAft>
              <a:buClrTx/>
              <a:buSzTx/>
              <a:buFontTx/>
              <a:buNone/>
              <a:tabLst/>
              <a:defRPr/>
            </a:pPr>
            <a:r>
              <a:rPr lang="en-US"/>
              <a:t>Sharing the deck with all link and references used</a:t>
            </a:r>
          </a:p>
          <a:p>
            <a:endParaRPr lang="en-US"/>
          </a:p>
        </p:txBody>
      </p:sp>
      <p:sp>
        <p:nvSpPr>
          <p:cNvPr id="4" name="Slide Number Placeholder 3"/>
          <p:cNvSpPr>
            <a:spLocks noGrp="1"/>
          </p:cNvSpPr>
          <p:nvPr>
            <p:ph type="sldNum" sz="quarter" idx="5"/>
          </p:nvPr>
        </p:nvSpPr>
        <p:spPr/>
        <p:txBody>
          <a:bodyPr/>
          <a:lstStyle/>
          <a:p>
            <a:pPr marL="0" marR="0" lvl="0" indent="0" algn="r" defTabSz="1828709" rtl="0" eaLnBrk="1" fontAlgn="auto" latinLnBrk="0" hangingPunct="1">
              <a:lnSpc>
                <a:spcPct val="100000"/>
              </a:lnSpc>
              <a:spcBef>
                <a:spcPts val="0"/>
              </a:spcBef>
              <a:spcAft>
                <a:spcPts val="0"/>
              </a:spcAft>
              <a:buClrTx/>
              <a:buSzTx/>
              <a:buFontTx/>
              <a:buNone/>
              <a:tabLst/>
              <a:defRPr/>
            </a:pPr>
            <a:fld id="{A682F72F-8E37-904D-8F87-C4C23F3C39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709"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97042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1200" b="0">
                <a:solidFill>
                  <a:schemeClr val="tx1">
                    <a:lumMod val="50000"/>
                  </a:schemeClr>
                </a:solidFill>
                <a:latin typeface="Scotia Headline" panose="020B0503020203020204" pitchFamily="34" charset="0"/>
              </a:rPr>
              <a:t>Verificables: Deben estar escritos en forma de pruebas de aceptación, para que puedan ser calificados.</a:t>
            </a: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1200" b="0">
                <a:solidFill>
                  <a:schemeClr val="tx1">
                    <a:lumMod val="50000"/>
                  </a:schemeClr>
                </a:solidFill>
                <a:latin typeface="Scotia Headline" panose="020B0503020203020204" pitchFamily="34" charset="0"/>
              </a:rPr>
              <a:t>Atómico: Deben ser detallados, por lo que solo se deben evaluar como aprobados o no aprobados.</a:t>
            </a: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1200" b="0">
                <a:solidFill>
                  <a:schemeClr val="tx1">
                    <a:lumMod val="50000"/>
                  </a:schemeClr>
                </a:solidFill>
                <a:latin typeface="Scotia Headline" panose="020B0503020203020204" pitchFamily="34" charset="0"/>
              </a:rPr>
              <a:t>Específicos: No deben ser ambiguos, es decir, deben ser interpretados de la misma manera por cualquiera que los lea.</a:t>
            </a: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1200" b="0">
                <a:solidFill>
                  <a:schemeClr val="tx1">
                    <a:lumMod val="50000"/>
                  </a:schemeClr>
                </a:solidFill>
                <a:latin typeface="Scotia Headline" panose="020B0503020203020204" pitchFamily="34" charset="0"/>
              </a:rPr>
              <a:t>Completo: La suma de todos los criterios de aceptación debe dar el total de condiciones a evaluar para considerar una historia de usuario satisfecha.</a:t>
            </a: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endParaRPr lang="es-ES" sz="1200" b="0">
              <a:solidFill>
                <a:schemeClr val="tx1">
                  <a:lumMod val="50000"/>
                </a:schemeClr>
              </a:solidFill>
              <a:latin typeface="Scotia Headline" panose="020B0503020203020204" pitchFamily="34" charset="0"/>
            </a:endParaRPr>
          </a:p>
          <a:p>
            <a:pPr algn="just">
              <a:defRPr sz="3000">
                <a:solidFill>
                  <a:srgbClr val="FFFFFF"/>
                </a:solidFill>
                <a:latin typeface="Gilroy ExtraBold"/>
                <a:ea typeface="Gilroy ExtraBold"/>
                <a:cs typeface="Gilroy ExtraBold"/>
                <a:sym typeface="Gilroy ExtraBold"/>
              </a:defRPr>
            </a:pPr>
            <a:r>
              <a:rPr lang="es-ES" sz="1200" b="0">
                <a:solidFill>
                  <a:schemeClr val="bg1">
                    <a:lumMod val="50000"/>
                  </a:schemeClr>
                </a:solidFill>
                <a:latin typeface="Scotia Headline" panose="020B0503020203020204" pitchFamily="34" charset="0"/>
              </a:rPr>
              <a:t>En conclusión…</a:t>
            </a:r>
            <a:r>
              <a:rPr lang="es-ES" sz="1200" b="0">
                <a:solidFill>
                  <a:schemeClr val="bg1">
                    <a:lumMod val="50000"/>
                  </a:schemeClr>
                </a:solidFill>
                <a:latin typeface="Scotia" panose="020B0503020203020204" pitchFamily="34" charset="0"/>
                <a:ea typeface="Scotia" panose="020B0503020203020204" pitchFamily="34" charset="0"/>
              </a:rPr>
              <a:t>Los Criterios de Aceptación deben expresarse claramente, en un lenguaje sencillo que el cliente usaría, al igual que la Historia de Usuario, sin ambigüedad en cuanto a cuál es el resultado esperado: qué es aceptable y qué no es aceptable.</a:t>
            </a:r>
          </a:p>
          <a:p>
            <a:pPr algn="just">
              <a:defRPr sz="3000">
                <a:solidFill>
                  <a:srgbClr val="FFFFFF"/>
                </a:solidFill>
                <a:latin typeface="Gilroy ExtraBold"/>
                <a:ea typeface="Gilroy ExtraBold"/>
                <a:cs typeface="Gilroy ExtraBold"/>
                <a:sym typeface="Gilroy ExtraBold"/>
              </a:defRPr>
            </a:pPr>
            <a:endParaRPr lang="es-ES" sz="1200" b="0">
              <a:solidFill>
                <a:schemeClr val="bg1">
                  <a:lumMod val="50000"/>
                </a:schemeClr>
              </a:solidFill>
              <a:latin typeface="Scotia" panose="020B0503020203020204" pitchFamily="34" charset="0"/>
              <a:ea typeface="Scotia" panose="020B0503020203020204" pitchFamily="34" charset="0"/>
            </a:endParaRPr>
          </a:p>
          <a:p>
            <a:pPr algn="just">
              <a:defRPr sz="3000">
                <a:solidFill>
                  <a:srgbClr val="FFFFFF"/>
                </a:solidFill>
                <a:latin typeface="Gilroy ExtraBold"/>
                <a:ea typeface="Gilroy ExtraBold"/>
                <a:cs typeface="Gilroy ExtraBold"/>
                <a:sym typeface="Gilroy ExtraBold"/>
              </a:defRPr>
            </a:pPr>
            <a:r>
              <a:rPr lang="es-ES" sz="1200" b="0">
                <a:solidFill>
                  <a:schemeClr val="bg1">
                    <a:lumMod val="50000"/>
                  </a:schemeClr>
                </a:solidFill>
                <a:latin typeface="Scotia" panose="020B0503020203020204" pitchFamily="34" charset="0"/>
                <a:ea typeface="Scotia" panose="020B0503020203020204" pitchFamily="34" charset="0"/>
              </a:rPr>
              <a:t>Deben ser comprobables: traducirse fácilmente en uno o más casos de prueba manuales/automatizados.</a:t>
            </a:r>
            <a:endParaRPr lang="es-MX" sz="1100" b="0">
              <a:solidFill>
                <a:schemeClr val="bg1">
                  <a:lumMod val="50000"/>
                </a:schemeClr>
              </a:solidFill>
              <a:latin typeface="Scotia" panose="020B0503020203020204" pitchFamily="34" charset="0"/>
              <a:ea typeface="Scotia" panose="020B0503020203020204" pitchFamily="34" charset="0"/>
            </a:endParaRP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endParaRPr lang="es-MX" sz="1200" b="0">
              <a:solidFill>
                <a:schemeClr val="bg1">
                  <a:lumMod val="50000"/>
                </a:schemeClr>
              </a:solidFill>
              <a:latin typeface="Scotia" panose="020B0503020203020204" pitchFamily="34" charset="0"/>
              <a:ea typeface="Scotia" panose="020B0503020203020204" pitchFamily="34" charset="0"/>
            </a:endParaRPr>
          </a:p>
          <a:p>
            <a:endParaRPr lang="en-CA"/>
          </a:p>
        </p:txBody>
      </p:sp>
      <p:sp>
        <p:nvSpPr>
          <p:cNvPr id="4" name="Slide Number Placeholder 3"/>
          <p:cNvSpPr>
            <a:spLocks noGrp="1"/>
          </p:cNvSpPr>
          <p:nvPr>
            <p:ph type="sldNum" sz="quarter" idx="10"/>
          </p:nvPr>
        </p:nvSpPr>
        <p:spPr/>
        <p:txBody>
          <a:bodyPr/>
          <a:lstStyle/>
          <a:p>
            <a:fld id="{A682F72F-8E37-904D-8F87-C4C23F3C3937}" type="slidenum">
              <a:rPr lang="en-US" smtClean="0"/>
              <a:t>20</a:t>
            </a:fld>
            <a:endParaRPr lang="en-US"/>
          </a:p>
        </p:txBody>
      </p:sp>
    </p:spTree>
    <p:extLst>
      <p:ext uri="{BB962C8B-B14F-4D97-AF65-F5344CB8AC3E}">
        <p14:creationId xmlns:p14="http://schemas.microsoft.com/office/powerpoint/2010/main" val="21057635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682F72F-8E37-904D-8F87-C4C23F3C3937}" type="slidenum">
              <a:rPr lang="en-US" smtClean="0"/>
              <a:t>21</a:t>
            </a:fld>
            <a:endParaRPr lang="en-US"/>
          </a:p>
        </p:txBody>
      </p:sp>
    </p:spTree>
    <p:extLst>
      <p:ext uri="{BB962C8B-B14F-4D97-AF65-F5344CB8AC3E}">
        <p14:creationId xmlns:p14="http://schemas.microsoft.com/office/powerpoint/2010/main" val="2586867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682F72F-8E37-904D-8F87-C4C23F3C3937}" type="slidenum">
              <a:rPr lang="en-US" smtClean="0"/>
              <a:t>22</a:t>
            </a:fld>
            <a:endParaRPr lang="en-US"/>
          </a:p>
        </p:txBody>
      </p:sp>
    </p:spTree>
    <p:extLst>
      <p:ext uri="{BB962C8B-B14F-4D97-AF65-F5344CB8AC3E}">
        <p14:creationId xmlns:p14="http://schemas.microsoft.com/office/powerpoint/2010/main" val="22062895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225" y="695325"/>
            <a:ext cx="6178550" cy="3476625"/>
          </a:xfrm>
        </p:spPr>
      </p:sp>
      <p:sp>
        <p:nvSpPr>
          <p:cNvPr id="3" name="Notes Placeholder 2"/>
          <p:cNvSpPr>
            <a:spLocks noGrp="1"/>
          </p:cNvSpPr>
          <p:nvPr>
            <p:ph type="body" idx="1"/>
          </p:nvPr>
        </p:nvSpPr>
        <p:spPr/>
        <p:txBody>
          <a:bodyPr/>
          <a:lstStyle/>
          <a:p>
            <a:pPr marL="174150" indent="-174150">
              <a:buFont typeface="Arial" pitchFamily="34" charset="0"/>
              <a:buChar char="•"/>
            </a:pPr>
            <a:r>
              <a:rPr lang="es-CO" b="1"/>
              <a:t>PBL(Pila de producto):</a:t>
            </a:r>
            <a:r>
              <a:rPr lang="es-CO"/>
              <a:t>Pertenece al propietario del producto, quien priorizará o "preparará" el trabajo pendiente en función del valor al negocio.</a:t>
            </a:r>
            <a:endParaRPr lang="en-US"/>
          </a:p>
          <a:p>
            <a:pPr marL="174150" indent="-174150">
              <a:buFont typeface="Arial" pitchFamily="34" charset="0"/>
              <a:buChar char="•"/>
            </a:pPr>
            <a:r>
              <a:rPr lang="en-US"/>
              <a:t>Los items de mayor </a:t>
            </a:r>
            <a:r>
              <a:rPr lang="en-US" err="1"/>
              <a:t>prioridad</a:t>
            </a:r>
            <a:r>
              <a:rPr lang="en-US"/>
              <a:t> se </a:t>
            </a:r>
            <a:r>
              <a:rPr lang="en-US" err="1"/>
              <a:t>definen</a:t>
            </a:r>
            <a:r>
              <a:rPr lang="en-US"/>
              <a:t> en </a:t>
            </a:r>
            <a:r>
              <a:rPr lang="en-US" err="1"/>
              <a:t>detalle</a:t>
            </a:r>
            <a:r>
              <a:rPr lang="en-US"/>
              <a:t> </a:t>
            </a:r>
            <a:r>
              <a:rPr lang="en-US" err="1"/>
              <a:t>como</a:t>
            </a:r>
            <a:r>
              <a:rPr lang="en-US"/>
              <a:t> </a:t>
            </a:r>
            <a:r>
              <a:rPr lang="en-US" err="1"/>
              <a:t>Historias</a:t>
            </a:r>
            <a:r>
              <a:rPr lang="en-US"/>
              <a:t> de </a:t>
            </a:r>
            <a:r>
              <a:rPr lang="en-US" err="1"/>
              <a:t>Usiario</a:t>
            </a:r>
            <a:r>
              <a:rPr lang="en-US"/>
              <a:t>, una </a:t>
            </a:r>
            <a:r>
              <a:rPr lang="en-US" err="1"/>
              <a:t>vez</a:t>
            </a:r>
            <a:r>
              <a:rPr lang="en-US"/>
              <a:t> </a:t>
            </a:r>
            <a:r>
              <a:rPr lang="en-US" err="1"/>
              <a:t>listas</a:t>
            </a:r>
            <a:r>
              <a:rPr lang="en-US"/>
              <a:t>, son </a:t>
            </a:r>
            <a:r>
              <a:rPr lang="en-US" err="1"/>
              <a:t>agregadas</a:t>
            </a:r>
            <a:r>
              <a:rPr lang="en-US"/>
              <a:t> al Sprint Backlog.</a:t>
            </a:r>
          </a:p>
          <a:p>
            <a:pPr marL="174150" indent="-174150">
              <a:buFont typeface="Arial" pitchFamily="34" charset="0"/>
              <a:buChar char="•"/>
            </a:pPr>
            <a:r>
              <a:rPr lang="en-US"/>
              <a:t>Las </a:t>
            </a:r>
            <a:r>
              <a:rPr lang="en-US" err="1"/>
              <a:t>historias</a:t>
            </a:r>
            <a:r>
              <a:rPr lang="en-US"/>
              <a:t> son </a:t>
            </a:r>
            <a:r>
              <a:rPr lang="en-US" err="1"/>
              <a:t>agregada</a:t>
            </a:r>
            <a:r>
              <a:rPr lang="en-US"/>
              <a:t>, </a:t>
            </a:r>
            <a:r>
              <a:rPr lang="en-US" err="1"/>
              <a:t>modificadas</a:t>
            </a:r>
            <a:r>
              <a:rPr lang="en-US"/>
              <a:t> y </a:t>
            </a:r>
            <a:r>
              <a:rPr lang="en-US" err="1"/>
              <a:t>divididas</a:t>
            </a:r>
            <a:r>
              <a:rPr lang="en-US"/>
              <a:t> en </a:t>
            </a:r>
            <a:r>
              <a:rPr lang="en-US" err="1"/>
              <a:t>pequeñas</a:t>
            </a:r>
            <a:r>
              <a:rPr lang="en-US"/>
              <a:t> </a:t>
            </a:r>
            <a:r>
              <a:rPr lang="en-US" err="1"/>
              <a:t>todo</a:t>
            </a:r>
            <a:r>
              <a:rPr lang="en-US"/>
              <a:t> el </a:t>
            </a:r>
            <a:r>
              <a:rPr lang="en-US" err="1"/>
              <a:t>tiempo</a:t>
            </a:r>
            <a:r>
              <a:rPr lang="en-US"/>
              <a:t>. </a:t>
            </a:r>
          </a:p>
          <a:p>
            <a:pPr marL="174150" indent="-174150">
              <a:buFont typeface="Arial" pitchFamily="34" charset="0"/>
              <a:buChar char="•"/>
            </a:pPr>
            <a:r>
              <a:rPr lang="en-US"/>
              <a:t>The backlog es </a:t>
            </a:r>
            <a:r>
              <a:rPr lang="en-US" err="1"/>
              <a:t>generado</a:t>
            </a:r>
            <a:r>
              <a:rPr lang="en-US"/>
              <a:t> </a:t>
            </a:r>
            <a:r>
              <a:rPr lang="en-US" err="1"/>
              <a:t>desde</a:t>
            </a:r>
            <a:r>
              <a:rPr lang="en-US"/>
              <a:t> el </a:t>
            </a:r>
            <a:r>
              <a:rPr lang="en-US" err="1"/>
              <a:t>inicio</a:t>
            </a:r>
            <a:r>
              <a:rPr lang="en-US"/>
              <a:t> del Proyecto; A </a:t>
            </a:r>
            <a:r>
              <a:rPr lang="en-US" err="1"/>
              <a:t>partir</a:t>
            </a:r>
            <a:r>
              <a:rPr lang="en-US"/>
              <a:t> de </a:t>
            </a:r>
            <a:r>
              <a:rPr lang="en-US" err="1"/>
              <a:t>dicho</a:t>
            </a:r>
            <a:r>
              <a:rPr lang="en-US"/>
              <a:t> </a:t>
            </a:r>
            <a:r>
              <a:rPr lang="en-US" err="1"/>
              <a:t>momento</a:t>
            </a:r>
            <a:r>
              <a:rPr lang="en-US"/>
              <a:t>, </a:t>
            </a:r>
            <a:r>
              <a:rPr lang="en-US" err="1"/>
              <a:t>crece</a:t>
            </a:r>
            <a:r>
              <a:rPr lang="en-US"/>
              <a:t> y se </a:t>
            </a:r>
            <a:r>
              <a:rPr lang="en-US" err="1"/>
              <a:t>refina</a:t>
            </a:r>
            <a:r>
              <a:rPr lang="en-US"/>
              <a:t> </a:t>
            </a:r>
            <a:r>
              <a:rPr lang="en-US" err="1"/>
              <a:t>según</a:t>
            </a:r>
            <a:r>
              <a:rPr lang="en-US"/>
              <a:t> sea </a:t>
            </a:r>
            <a:r>
              <a:rPr lang="en-US" err="1"/>
              <a:t>necesario</a:t>
            </a:r>
            <a:r>
              <a:rPr lang="en-US"/>
              <a:t>. </a:t>
            </a:r>
          </a:p>
          <a:p>
            <a:r>
              <a:rPr lang="en-US"/>
              <a:t>*</a:t>
            </a:r>
            <a:r>
              <a:rPr lang="en-US" sz="1100"/>
              <a:t>Business value/Valor del </a:t>
            </a:r>
            <a:r>
              <a:rPr lang="en-US" sz="1100" err="1"/>
              <a:t>negocio</a:t>
            </a:r>
            <a:r>
              <a:rPr lang="en-US" sz="1100"/>
              <a:t> </a:t>
            </a:r>
            <a:r>
              <a:rPr lang="en-US" sz="1100" err="1"/>
              <a:t>considera</a:t>
            </a:r>
            <a:r>
              <a:rPr lang="en-US" sz="1100"/>
              <a:t> la </a:t>
            </a:r>
            <a:r>
              <a:rPr lang="en-US" sz="1100" err="1"/>
              <a:t>conveniencia</a:t>
            </a:r>
            <a:r>
              <a:rPr lang="en-US" sz="1100"/>
              <a:t> </a:t>
            </a:r>
            <a:r>
              <a:rPr lang="en-US" sz="1100" err="1"/>
              <a:t>relativa</a:t>
            </a:r>
            <a:r>
              <a:rPr lang="en-US" sz="1100"/>
              <a:t> del </a:t>
            </a:r>
            <a:r>
              <a:rPr lang="en-US" sz="1100" err="1"/>
              <a:t>costo</a:t>
            </a:r>
            <a:r>
              <a:rPr lang="en-US" sz="1100"/>
              <a:t>.</a:t>
            </a:r>
          </a:p>
          <a:p>
            <a:endParaRPr lang="en-US" sz="1100"/>
          </a:p>
          <a:p>
            <a:r>
              <a:rPr lang="en-US"/>
              <a:t>“</a:t>
            </a:r>
            <a:r>
              <a:rPr lang="es-CO"/>
              <a:t>“La idea detrás del Backlog es que debería tener todo lo que podría incluirse en el producto. En realidad, nunca va a construirlo todo, pero desea una lista de todo lo que podría incluirse en la visión de ese producto ". Jeff Sutherland</a:t>
            </a:r>
            <a:endParaRPr lang="en-US"/>
          </a:p>
        </p:txBody>
      </p:sp>
      <p:sp>
        <p:nvSpPr>
          <p:cNvPr id="4" name="Slide Number Placeholder 3"/>
          <p:cNvSpPr>
            <a:spLocks noGrp="1"/>
          </p:cNvSpPr>
          <p:nvPr>
            <p:ph type="sldNum" sz="quarter" idx="10"/>
          </p:nvPr>
        </p:nvSpPr>
        <p:spPr/>
        <p:txBody>
          <a:bodyPr/>
          <a:lstStyle/>
          <a:p>
            <a:fld id="{72043D23-1355-46AB-94C3-369BB5E64DD0}" type="slidenum">
              <a:rPr lang="en-US" smtClean="0"/>
              <a:t>23</a:t>
            </a:fld>
            <a:endParaRPr lang="en-US"/>
          </a:p>
        </p:txBody>
      </p:sp>
    </p:spTree>
    <p:extLst>
      <p:ext uri="{BB962C8B-B14F-4D97-AF65-F5344CB8AC3E}">
        <p14:creationId xmlns:p14="http://schemas.microsoft.com/office/powerpoint/2010/main" val="2439228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82F72F-8E37-904D-8F87-C4C23F3C39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17925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s-ES" b="1" i="0">
                <a:solidFill>
                  <a:srgbClr val="242424"/>
                </a:solidFill>
                <a:effectLst/>
                <a:latin typeface="Segoe UI" panose="020B0502040204020203" pitchFamily="34" charset="0"/>
              </a:rPr>
              <a:t>Definición de Listo (</a:t>
            </a:r>
            <a:r>
              <a:rPr lang="es-ES" b="1" i="0" err="1">
                <a:solidFill>
                  <a:srgbClr val="242424"/>
                </a:solidFill>
                <a:effectLst/>
                <a:latin typeface="Segoe UI" panose="020B0502040204020203" pitchFamily="34" charset="0"/>
              </a:rPr>
              <a:t>DoR</a:t>
            </a:r>
            <a:r>
              <a:rPr lang="es-ES" b="1" i="0">
                <a:solidFill>
                  <a:srgbClr val="242424"/>
                </a:solidFill>
                <a:effectLst/>
                <a:latin typeface="Segoe UI" panose="020B0502040204020203" pitchFamily="34" charset="0"/>
              </a:rPr>
              <a:t>):</a:t>
            </a:r>
            <a:endParaRPr lang="es-ES" b="0" i="0">
              <a:solidFill>
                <a:srgbClr val="242424"/>
              </a:solidFill>
              <a:effectLst/>
              <a:latin typeface="Segoe UI" panose="020B0502040204020203" pitchFamily="34" charset="0"/>
            </a:endParaRP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Propósito:</a:t>
            </a:r>
            <a:r>
              <a:rPr lang="es-ES" b="0" i="0">
                <a:solidFill>
                  <a:srgbClr val="242424"/>
                </a:solidFill>
                <a:effectLst/>
                <a:latin typeface="Segoe UI" panose="020B0502040204020203" pitchFamily="34" charset="0"/>
              </a:rPr>
              <a:t> Evaluar el trabajo antes de comenzar para asegurar que las tareas sean accionables y clara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Importancia:</a:t>
            </a:r>
            <a:r>
              <a:rPr lang="es-ES" b="0" i="0">
                <a:solidFill>
                  <a:srgbClr val="242424"/>
                </a:solidFill>
                <a:effectLst/>
                <a:latin typeface="Segoe UI" panose="020B0502040204020203" pitchFamily="34" charset="0"/>
              </a:rPr>
              <a:t> Mejora la comunicación, eficiencia, y reduce errore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Componentes Clave:</a:t>
            </a:r>
            <a:r>
              <a:rPr lang="es-ES" b="0" i="0">
                <a:solidFill>
                  <a:srgbClr val="242424"/>
                </a:solidFill>
                <a:effectLst/>
                <a:latin typeface="Segoe UI" panose="020B0502040204020203" pitchFamily="34" charset="0"/>
              </a:rPr>
              <a:t> Independiente, negociable, valiosa, estimable, pequeña, comprobable.</a:t>
            </a:r>
          </a:p>
          <a:p>
            <a:pPr algn="l">
              <a:buFont typeface="Arial" panose="020B0604020202020204" pitchFamily="34" charset="0"/>
              <a:buChar char="•"/>
            </a:pPr>
            <a:r>
              <a:rPr lang="es-ES" b="1" i="0">
                <a:solidFill>
                  <a:srgbClr val="242424"/>
                </a:solidFill>
                <a:effectLst/>
                <a:latin typeface="Segoe UI" panose="020B0502040204020203" pitchFamily="34" charset="0"/>
              </a:rPr>
              <a:t>Definición de Hecho (</a:t>
            </a:r>
            <a:r>
              <a:rPr lang="es-ES" b="1" i="0" err="1">
                <a:solidFill>
                  <a:srgbClr val="242424"/>
                </a:solidFill>
                <a:effectLst/>
                <a:latin typeface="Segoe UI" panose="020B0502040204020203" pitchFamily="34" charset="0"/>
              </a:rPr>
              <a:t>DoD</a:t>
            </a:r>
            <a:r>
              <a:rPr lang="es-ES" b="1" i="0">
                <a:solidFill>
                  <a:srgbClr val="242424"/>
                </a:solidFill>
                <a:effectLst/>
                <a:latin typeface="Segoe UI" panose="020B0502040204020203" pitchFamily="34" charset="0"/>
              </a:rPr>
              <a:t>):</a:t>
            </a:r>
            <a:endParaRPr lang="es-ES" b="0" i="0">
              <a:solidFill>
                <a:srgbClr val="242424"/>
              </a:solidFill>
              <a:effectLst/>
              <a:latin typeface="Segoe UI" panose="020B0502040204020203" pitchFamily="34" charset="0"/>
            </a:endParaRP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Propósito:</a:t>
            </a:r>
            <a:r>
              <a:rPr lang="es-ES" b="0" i="0">
                <a:solidFill>
                  <a:srgbClr val="242424"/>
                </a:solidFill>
                <a:effectLst/>
                <a:latin typeface="Segoe UI" panose="020B0502040204020203" pitchFamily="34" charset="0"/>
              </a:rPr>
              <a:t> Determinar cuándo un incremento de producto está completo y listo para los cliente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Importancia:</a:t>
            </a:r>
            <a:r>
              <a:rPr lang="es-ES" b="0" i="0">
                <a:solidFill>
                  <a:srgbClr val="242424"/>
                </a:solidFill>
                <a:effectLst/>
                <a:latin typeface="Segoe UI" panose="020B0502040204020203" pitchFamily="34" charset="0"/>
              </a:rPr>
              <a:t> Asegura la calidad y consistencia del entregable.</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Componentes Clave:</a:t>
            </a:r>
            <a:r>
              <a:rPr lang="es-ES" b="0" i="0">
                <a:solidFill>
                  <a:srgbClr val="242424"/>
                </a:solidFill>
                <a:effectLst/>
                <a:latin typeface="Segoe UI" panose="020B0502040204020203" pitchFamily="34" charset="0"/>
              </a:rPr>
              <a:t> Pruebas completas, despliegue en entorno de pruebas, documentación completa.</a:t>
            </a:r>
          </a:p>
          <a:p>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25</a:t>
            </a:fld>
            <a:endParaRPr lang="en-US"/>
          </a:p>
        </p:txBody>
      </p:sp>
    </p:spTree>
    <p:extLst>
      <p:ext uri="{BB962C8B-B14F-4D97-AF65-F5344CB8AC3E}">
        <p14:creationId xmlns:p14="http://schemas.microsoft.com/office/powerpoint/2010/main" val="36390725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5B5742A-FCC9-A9EF-90D1-089E76613547}"/>
              </a:ext>
            </a:extLst>
          </p:cNvPr>
          <p:cNvSpPr>
            <a:spLocks noGrp="1"/>
          </p:cNvSpPr>
          <p:nvPr>
            <p:ph type="body" idx="1"/>
          </p:nvPr>
        </p:nvSpPr>
        <p:spPr/>
        <p:txBody>
          <a:bodyPr/>
          <a:lstStyle/>
          <a:p>
            <a:pPr algn="l">
              <a:buFont typeface="Arial" panose="020B0604020202020204" pitchFamily="34" charset="0"/>
              <a:buChar char="•"/>
            </a:pPr>
            <a:r>
              <a:rPr lang="es-ES" b="1" i="0">
                <a:solidFill>
                  <a:srgbClr val="242424"/>
                </a:solidFill>
                <a:effectLst/>
                <a:latin typeface="Segoe UI" panose="020B0502040204020203" pitchFamily="34" charset="0"/>
              </a:rPr>
              <a:t>Método INVEST:</a:t>
            </a:r>
            <a:endParaRPr lang="es-ES" b="0" i="0">
              <a:solidFill>
                <a:srgbClr val="242424"/>
              </a:solidFill>
              <a:effectLst/>
              <a:latin typeface="Segoe UI" panose="020B0502040204020203" pitchFamily="34" charset="0"/>
            </a:endParaRP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Independiente:</a:t>
            </a:r>
            <a:r>
              <a:rPr lang="es-ES" b="0" i="0">
                <a:solidFill>
                  <a:srgbClr val="242424"/>
                </a:solidFill>
                <a:effectLst/>
                <a:latin typeface="Segoe UI" panose="020B0502040204020203" pitchFamily="34" charset="0"/>
              </a:rPr>
              <a:t> Las tareas deben ser autónomas y no depender de otras tarea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Negociable:</a:t>
            </a:r>
            <a:r>
              <a:rPr lang="es-ES" b="0" i="0">
                <a:solidFill>
                  <a:srgbClr val="242424"/>
                </a:solidFill>
                <a:effectLst/>
                <a:latin typeface="Segoe UI" panose="020B0502040204020203" pitchFamily="34" charset="0"/>
              </a:rPr>
              <a:t> Las tareas deben ser flexibles y abiertas a opciones del equipo.</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Valiosa:</a:t>
            </a:r>
            <a:r>
              <a:rPr lang="es-ES" b="0" i="0">
                <a:solidFill>
                  <a:srgbClr val="242424"/>
                </a:solidFill>
                <a:effectLst/>
                <a:latin typeface="Segoe UI" panose="020B0502040204020203" pitchFamily="34" charset="0"/>
              </a:rPr>
              <a:t> Las tareas deben agregar valor al producto, al cliente y al negocio.</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Estimable:</a:t>
            </a:r>
            <a:r>
              <a:rPr lang="es-ES" b="0" i="0">
                <a:solidFill>
                  <a:srgbClr val="242424"/>
                </a:solidFill>
                <a:effectLst/>
                <a:latin typeface="Segoe UI" panose="020B0502040204020203" pitchFamily="34" charset="0"/>
              </a:rPr>
              <a:t> Las tareas deben ser factibles, alcanzables y medible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Pequeña:</a:t>
            </a:r>
            <a:r>
              <a:rPr lang="es-ES" b="0" i="0">
                <a:solidFill>
                  <a:srgbClr val="242424"/>
                </a:solidFill>
                <a:effectLst/>
                <a:latin typeface="Segoe UI" panose="020B0502040204020203" pitchFamily="34" charset="0"/>
              </a:rPr>
              <a:t> Las tareas deben ser manejables y desglosables en elementos más pequeños y accionable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Comprobable:</a:t>
            </a:r>
            <a:r>
              <a:rPr lang="es-ES" b="0" i="0">
                <a:solidFill>
                  <a:srgbClr val="242424"/>
                </a:solidFill>
                <a:effectLst/>
                <a:latin typeface="Segoe UI" panose="020B0502040204020203" pitchFamily="34" charset="0"/>
              </a:rPr>
              <a:t> Deben especificarse criterios claros de éxito y finalización.</a:t>
            </a:r>
          </a:p>
          <a:p>
            <a:pPr algn="l">
              <a:buFont typeface="Arial" panose="020B0604020202020204" pitchFamily="34" charset="0"/>
              <a:buChar char="•"/>
            </a:pPr>
            <a:r>
              <a:rPr lang="es-ES" b="1" i="0">
                <a:solidFill>
                  <a:srgbClr val="242424"/>
                </a:solidFill>
                <a:effectLst/>
                <a:latin typeface="Segoe UI" panose="020B0502040204020203" pitchFamily="34" charset="0"/>
              </a:rPr>
              <a:t>Consideraciones Adicionales:</a:t>
            </a:r>
            <a:endParaRPr lang="es-ES" b="0" i="0">
              <a:solidFill>
                <a:srgbClr val="242424"/>
              </a:solidFill>
              <a:effectLst/>
              <a:latin typeface="Segoe UI" panose="020B0502040204020203" pitchFamily="34" charset="0"/>
            </a:endParaRP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Requisitos Técnicos:</a:t>
            </a:r>
            <a:r>
              <a:rPr lang="es-ES" b="0" i="0">
                <a:solidFill>
                  <a:srgbClr val="242424"/>
                </a:solidFill>
                <a:effectLst/>
                <a:latin typeface="Segoe UI" panose="020B0502040204020203" pitchFamily="34" charset="0"/>
              </a:rPr>
              <a:t> Asegurar los recursos necesarios y los enfoques técnicos comprendido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Estimaciones de Tiempo:</a:t>
            </a:r>
            <a:r>
              <a:rPr lang="es-ES" b="0" i="0">
                <a:solidFill>
                  <a:srgbClr val="242424"/>
                </a:solidFill>
                <a:effectLst/>
                <a:latin typeface="Segoe UI" panose="020B0502040204020203" pitchFamily="34" charset="0"/>
              </a:rPr>
              <a:t> Acordar cronogramas y fechas de finalización con los interesado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Definición de Hecho (</a:t>
            </a:r>
            <a:r>
              <a:rPr lang="es-ES" b="1" i="0" err="1">
                <a:solidFill>
                  <a:srgbClr val="242424"/>
                </a:solidFill>
                <a:effectLst/>
                <a:latin typeface="Segoe UI" panose="020B0502040204020203" pitchFamily="34" charset="0"/>
              </a:rPr>
              <a:t>DoD</a:t>
            </a:r>
            <a:r>
              <a:rPr lang="es-ES" b="1" i="0">
                <a:solidFill>
                  <a:srgbClr val="242424"/>
                </a:solidFill>
                <a:effectLst/>
                <a:latin typeface="Segoe UI" panose="020B0502040204020203" pitchFamily="34" charset="0"/>
              </a:rPr>
              <a:t>):</a:t>
            </a:r>
            <a:r>
              <a:rPr lang="es-ES" b="0" i="0">
                <a:solidFill>
                  <a:srgbClr val="242424"/>
                </a:solidFill>
                <a:effectLst/>
                <a:latin typeface="Segoe UI" panose="020B0502040204020203" pitchFamily="34" charset="0"/>
              </a:rPr>
              <a:t> Establecer qué significa la finalización y cómo se medirá el éxito.</a:t>
            </a:r>
          </a:p>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5B5742A-FCC9-A9EF-90D1-089E76613547}"/>
              </a:ext>
            </a:extLst>
          </p:cNvPr>
          <p:cNvSpPr>
            <a:spLocks noGrp="1"/>
          </p:cNvSpPr>
          <p:nvPr>
            <p:ph type="body" idx="1"/>
          </p:nvPr>
        </p:nvSpPr>
        <p:spPr/>
        <p:txBody>
          <a:bodyPr/>
          <a:lstStyle/>
          <a:p>
            <a:pPr algn="l">
              <a:buFont typeface="Arial" panose="020B0604020202020204" pitchFamily="34" charset="0"/>
              <a:buChar char="•"/>
            </a:pPr>
            <a:r>
              <a:rPr lang="es-ES" b="1" i="0">
                <a:solidFill>
                  <a:srgbClr val="242424"/>
                </a:solidFill>
                <a:effectLst/>
                <a:latin typeface="Segoe UI" panose="020B0502040204020203" pitchFamily="34" charset="0"/>
              </a:rPr>
              <a:t>Criterios de Calidad:</a:t>
            </a:r>
            <a:endParaRPr lang="es-ES" b="0" i="0">
              <a:solidFill>
                <a:srgbClr val="242424"/>
              </a:solidFill>
              <a:effectLst/>
              <a:latin typeface="Segoe UI" panose="020B0502040204020203" pitchFamily="34" charset="0"/>
            </a:endParaRP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Pruebas Completas:</a:t>
            </a:r>
            <a:r>
              <a:rPr lang="es-ES" b="0" i="0">
                <a:solidFill>
                  <a:srgbClr val="242424"/>
                </a:solidFill>
                <a:effectLst/>
                <a:latin typeface="Segoe UI" panose="020B0502040204020203" pitchFamily="34" charset="0"/>
              </a:rPr>
              <a:t> Todo el código debe ser probado a fondo mediante pruebas unitarias, de integración y de extremo a extremo.</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Despliegue en Entorno de Pruebas:</a:t>
            </a:r>
            <a:r>
              <a:rPr lang="es-ES" b="0" i="0">
                <a:solidFill>
                  <a:srgbClr val="242424"/>
                </a:solidFill>
                <a:effectLst/>
                <a:latin typeface="Segoe UI" panose="020B0502040204020203" pitchFamily="34" charset="0"/>
              </a:rPr>
              <a:t> El incremento de producto debe ser desplegado en un entorno de pruebas y probado por el equipo.</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Documentación Completa:</a:t>
            </a:r>
            <a:r>
              <a:rPr lang="es-ES" b="0" i="0">
                <a:solidFill>
                  <a:srgbClr val="242424"/>
                </a:solidFill>
                <a:effectLst/>
                <a:latin typeface="Segoe UI" panose="020B0502040204020203" pitchFamily="34" charset="0"/>
              </a:rPr>
              <a:t> Toda la documentación debe estar escrita y editada.</a:t>
            </a:r>
          </a:p>
          <a:p>
            <a:pPr algn="l">
              <a:buFont typeface="Arial" panose="020B0604020202020204" pitchFamily="34" charset="0"/>
              <a:buChar char="•"/>
            </a:pPr>
            <a:r>
              <a:rPr lang="es-ES" b="1" i="0">
                <a:solidFill>
                  <a:srgbClr val="242424"/>
                </a:solidFill>
                <a:effectLst/>
                <a:latin typeface="Segoe UI" panose="020B0502040204020203" pitchFamily="34" charset="0"/>
              </a:rPr>
              <a:t>Beneficios:</a:t>
            </a:r>
            <a:endParaRPr lang="es-ES" b="0" i="0">
              <a:solidFill>
                <a:srgbClr val="242424"/>
              </a:solidFill>
              <a:effectLst/>
              <a:latin typeface="Segoe UI" panose="020B0502040204020203" pitchFamily="34" charset="0"/>
            </a:endParaRP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Mejora la Calidad:</a:t>
            </a:r>
            <a:r>
              <a:rPr lang="es-ES" b="0" i="0">
                <a:solidFill>
                  <a:srgbClr val="242424"/>
                </a:solidFill>
                <a:effectLst/>
                <a:latin typeface="Segoe UI" panose="020B0502040204020203" pitchFamily="34" charset="0"/>
              </a:rPr>
              <a:t> Asegura que los equipos ágiles mantengan los objetivos de calidad durante el desarrollo del producto.</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Minimiza Riesgos:</a:t>
            </a:r>
            <a:r>
              <a:rPr lang="es-ES" b="0" i="0">
                <a:solidFill>
                  <a:srgbClr val="242424"/>
                </a:solidFill>
                <a:effectLst/>
                <a:latin typeface="Segoe UI" panose="020B0502040204020203" pitchFamily="34" charset="0"/>
              </a:rPr>
              <a:t> Reduce la necesidad de retrabajo y los retrasos resultante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Alineación del Equipo:</a:t>
            </a:r>
            <a:r>
              <a:rPr lang="es-ES" b="0" i="0">
                <a:solidFill>
                  <a:srgbClr val="242424"/>
                </a:solidFill>
                <a:effectLst/>
                <a:latin typeface="Segoe UI" panose="020B0502040204020203" pitchFamily="34" charset="0"/>
              </a:rPr>
              <a:t> Fomenta un entendimiento compartido de lo que significa "hecho" en el contexto del proyecto.</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Medición del Progreso:</a:t>
            </a:r>
            <a:r>
              <a:rPr lang="es-ES" b="0" i="0">
                <a:solidFill>
                  <a:srgbClr val="242424"/>
                </a:solidFill>
                <a:effectLst/>
                <a:latin typeface="Segoe UI" panose="020B0502040204020203" pitchFamily="34" charset="0"/>
              </a:rPr>
              <a:t> Permite rastrear el número de incrementos de producto que cumplen con los criterios de "hecho".</a:t>
            </a:r>
          </a:p>
          <a:p>
            <a:endParaRPr lang="en-US"/>
          </a:p>
        </p:txBody>
      </p:sp>
    </p:spTree>
    <p:extLst>
      <p:ext uri="{BB962C8B-B14F-4D97-AF65-F5344CB8AC3E}">
        <p14:creationId xmlns:p14="http://schemas.microsoft.com/office/powerpoint/2010/main" val="17432723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s-ES" b="1" i="0">
                <a:solidFill>
                  <a:srgbClr val="242424"/>
                </a:solidFill>
                <a:effectLst/>
                <a:latin typeface="Segoe UI" panose="020B0502040204020203" pitchFamily="34" charset="0"/>
              </a:rPr>
              <a:t>Pasos para Crear </a:t>
            </a:r>
            <a:r>
              <a:rPr lang="es-ES" b="1" i="0" err="1">
                <a:solidFill>
                  <a:srgbClr val="242424"/>
                </a:solidFill>
                <a:effectLst/>
                <a:latin typeface="Segoe UI" panose="020B0502040204020203" pitchFamily="34" charset="0"/>
              </a:rPr>
              <a:t>DoR</a:t>
            </a:r>
            <a:r>
              <a:rPr lang="es-ES" b="1" i="0">
                <a:solidFill>
                  <a:srgbClr val="242424"/>
                </a:solidFill>
                <a:effectLst/>
                <a:latin typeface="Segoe UI" panose="020B0502040204020203" pitchFamily="34" charset="0"/>
              </a:rPr>
              <a:t>:</a:t>
            </a:r>
            <a:endParaRPr lang="es-ES" b="0" i="0">
              <a:solidFill>
                <a:srgbClr val="242424"/>
              </a:solidFill>
              <a:effectLst/>
              <a:latin typeface="Segoe UI" panose="020B0502040204020203" pitchFamily="34" charset="0"/>
            </a:endParaRP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Definir Responsabilidades:</a:t>
            </a:r>
            <a:r>
              <a:rPr lang="es-ES" b="0" i="0">
                <a:solidFill>
                  <a:srgbClr val="242424"/>
                </a:solidFill>
                <a:effectLst/>
                <a:latin typeface="Segoe UI" panose="020B0502040204020203" pitchFamily="34" charset="0"/>
              </a:rPr>
              <a:t> Asegurar que cada miembro del equipo conozca su rol y responsabilidade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Involucrar a los Interesados:</a:t>
            </a:r>
            <a:r>
              <a:rPr lang="es-ES" b="0" i="0">
                <a:solidFill>
                  <a:srgbClr val="242424"/>
                </a:solidFill>
                <a:effectLst/>
                <a:latin typeface="Segoe UI" panose="020B0502040204020203" pitchFamily="34" charset="0"/>
              </a:rPr>
              <a:t> Obtener la opinión y el apoyo de los interesados clave para evitar el aumento del alcance.</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Especificar la Estructura y el Formato de </a:t>
            </a:r>
            <a:r>
              <a:rPr lang="es-ES" b="1" i="0" err="1">
                <a:solidFill>
                  <a:srgbClr val="242424"/>
                </a:solidFill>
                <a:effectLst/>
                <a:latin typeface="Segoe UI" panose="020B0502040204020203" pitchFamily="34" charset="0"/>
              </a:rPr>
              <a:t>DoR</a:t>
            </a:r>
            <a:r>
              <a:rPr lang="es-ES" b="1" i="0">
                <a:solidFill>
                  <a:srgbClr val="242424"/>
                </a:solidFill>
                <a:effectLst/>
                <a:latin typeface="Segoe UI" panose="020B0502040204020203" pitchFamily="34" charset="0"/>
              </a:rPr>
              <a:t>:</a:t>
            </a:r>
            <a:r>
              <a:rPr lang="es-ES" b="0" i="0">
                <a:solidFill>
                  <a:srgbClr val="242424"/>
                </a:solidFill>
                <a:effectLst/>
                <a:latin typeface="Segoe UI" panose="020B0502040204020203" pitchFamily="34" charset="0"/>
              </a:rPr>
              <a:t> Definir qué constituye un trabajo listo y cómo se determina la preparación.</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Mantener el Backlog Ordenado:</a:t>
            </a:r>
            <a:r>
              <a:rPr lang="es-ES" b="0" i="0">
                <a:solidFill>
                  <a:srgbClr val="242424"/>
                </a:solidFill>
                <a:effectLst/>
                <a:latin typeface="Segoe UI" panose="020B0502040204020203" pitchFamily="34" charset="0"/>
              </a:rPr>
              <a:t> Revisar y actualizar regularmente el backlog para asegurar su relevancia y alineación con la hoja de ruta del producto.</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Asegurar el Cumplimiento de INVEST:</a:t>
            </a:r>
            <a:r>
              <a:rPr lang="es-ES" b="0" i="0">
                <a:solidFill>
                  <a:srgbClr val="242424"/>
                </a:solidFill>
                <a:effectLst/>
                <a:latin typeface="Segoe UI" panose="020B0502040204020203" pitchFamily="34" charset="0"/>
              </a:rPr>
              <a:t> Verificar si las tareas son independientes, negociables, valiosas, estimables, pequeñas y comprobable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Revisar Regularmente:</a:t>
            </a:r>
            <a:r>
              <a:rPr lang="es-ES" b="0" i="0">
                <a:solidFill>
                  <a:srgbClr val="242424"/>
                </a:solidFill>
                <a:effectLst/>
                <a:latin typeface="Segoe UI" panose="020B0502040204020203" pitchFamily="34" charset="0"/>
              </a:rPr>
              <a:t> Actualizar el </a:t>
            </a:r>
            <a:r>
              <a:rPr lang="es-ES" b="0" i="0" err="1">
                <a:solidFill>
                  <a:srgbClr val="242424"/>
                </a:solidFill>
                <a:effectLst/>
                <a:latin typeface="Segoe UI" panose="020B0502040204020203" pitchFamily="34" charset="0"/>
              </a:rPr>
              <a:t>DoR</a:t>
            </a:r>
            <a:r>
              <a:rPr lang="es-ES" b="0" i="0">
                <a:solidFill>
                  <a:srgbClr val="242424"/>
                </a:solidFill>
                <a:effectLst/>
                <a:latin typeface="Segoe UI" panose="020B0502040204020203" pitchFamily="34" charset="0"/>
              </a:rPr>
              <a:t> para reflejar las prioridades cambiantes y asegurar la eficiencia continua.</a:t>
            </a:r>
          </a:p>
          <a:p>
            <a:pPr algn="l">
              <a:buFont typeface="Arial" panose="020B0604020202020204" pitchFamily="34" charset="0"/>
              <a:buChar char="•"/>
            </a:pPr>
            <a:r>
              <a:rPr lang="es-ES" b="1" i="0">
                <a:solidFill>
                  <a:srgbClr val="242424"/>
                </a:solidFill>
                <a:effectLst/>
                <a:latin typeface="Segoe UI" panose="020B0502040204020203" pitchFamily="34" charset="0"/>
              </a:rPr>
              <a:t>Pasos para Crear </a:t>
            </a:r>
            <a:r>
              <a:rPr lang="es-ES" b="1" i="0" err="1">
                <a:solidFill>
                  <a:srgbClr val="242424"/>
                </a:solidFill>
                <a:effectLst/>
                <a:latin typeface="Segoe UI" panose="020B0502040204020203" pitchFamily="34" charset="0"/>
              </a:rPr>
              <a:t>DoD</a:t>
            </a:r>
            <a:r>
              <a:rPr lang="es-ES" b="1" i="0">
                <a:solidFill>
                  <a:srgbClr val="242424"/>
                </a:solidFill>
                <a:effectLst/>
                <a:latin typeface="Segoe UI" panose="020B0502040204020203" pitchFamily="34" charset="0"/>
              </a:rPr>
              <a:t>:</a:t>
            </a:r>
            <a:endParaRPr lang="es-ES" b="0" i="0">
              <a:solidFill>
                <a:srgbClr val="242424"/>
              </a:solidFill>
              <a:effectLst/>
              <a:latin typeface="Segoe UI" panose="020B0502040204020203" pitchFamily="34" charset="0"/>
            </a:endParaRP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Trabajar con el Equipo Adecuado:</a:t>
            </a:r>
            <a:r>
              <a:rPr lang="es-ES" b="0" i="0">
                <a:solidFill>
                  <a:srgbClr val="242424"/>
                </a:solidFill>
                <a:effectLst/>
                <a:latin typeface="Segoe UI" panose="020B0502040204020203" pitchFamily="34" charset="0"/>
              </a:rPr>
              <a:t> Incluir a todos los miembros relevantes del equipo para definir "hecho".</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Establecer Criterios Específicos y Medibles:</a:t>
            </a:r>
            <a:r>
              <a:rPr lang="es-ES" b="0" i="0">
                <a:solidFill>
                  <a:srgbClr val="242424"/>
                </a:solidFill>
                <a:effectLst/>
                <a:latin typeface="Segoe UI" panose="020B0502040204020203" pitchFamily="34" charset="0"/>
              </a:rPr>
              <a:t> Definir condiciones claras y específicas para cada componente del proyecto.</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Construir una Lista de Verificación de Finalización:</a:t>
            </a:r>
            <a:r>
              <a:rPr lang="es-ES" b="0" i="0">
                <a:solidFill>
                  <a:srgbClr val="242424"/>
                </a:solidFill>
                <a:effectLst/>
                <a:latin typeface="Segoe UI" panose="020B0502040204020203" pitchFamily="34" charset="0"/>
              </a:rPr>
              <a:t> Asegurar que cada tarea o problema tenga una lista de verificación para garantizar la calidad.</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Asignar Criterios de Aceptación a las Historias de Usuario:</a:t>
            </a:r>
            <a:r>
              <a:rPr lang="es-ES" b="0" i="0">
                <a:solidFill>
                  <a:srgbClr val="242424"/>
                </a:solidFill>
                <a:effectLst/>
                <a:latin typeface="Segoe UI" panose="020B0502040204020203" pitchFamily="34" charset="0"/>
              </a:rPr>
              <a:t> Definir condiciones que las historias de usuario deben cumplir para ser aceptables para los clientes.</a:t>
            </a:r>
          </a:p>
          <a:p>
            <a:pPr marL="742950" lvl="1" indent="-285750" algn="l">
              <a:buFont typeface="Arial" panose="020B0604020202020204" pitchFamily="34" charset="0"/>
              <a:buChar char="•"/>
            </a:pPr>
            <a:r>
              <a:rPr lang="es-ES" b="1" i="0">
                <a:solidFill>
                  <a:srgbClr val="242424"/>
                </a:solidFill>
                <a:effectLst/>
                <a:latin typeface="Segoe UI" panose="020B0502040204020203" pitchFamily="34" charset="0"/>
              </a:rPr>
              <a:t>Revisar y Actualizar Regularmente:</a:t>
            </a:r>
            <a:r>
              <a:rPr lang="es-ES" b="0" i="0">
                <a:solidFill>
                  <a:srgbClr val="242424"/>
                </a:solidFill>
                <a:effectLst/>
                <a:latin typeface="Segoe UI" panose="020B0502040204020203" pitchFamily="34" charset="0"/>
              </a:rPr>
              <a:t> Mantener el </a:t>
            </a:r>
            <a:r>
              <a:rPr lang="es-ES" b="0" i="0" err="1">
                <a:solidFill>
                  <a:srgbClr val="242424"/>
                </a:solidFill>
                <a:effectLst/>
                <a:latin typeface="Segoe UI" panose="020B0502040204020203" pitchFamily="34" charset="0"/>
              </a:rPr>
              <a:t>DoD</a:t>
            </a:r>
            <a:r>
              <a:rPr lang="es-ES" b="0" i="0">
                <a:solidFill>
                  <a:srgbClr val="242424"/>
                </a:solidFill>
                <a:effectLst/>
                <a:latin typeface="Segoe UI" panose="020B0502040204020203" pitchFamily="34" charset="0"/>
              </a:rPr>
              <a:t> actualizado para reflejar los aprendizajes y cambios en el proyecto.</a:t>
            </a:r>
          </a:p>
          <a:p>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28</a:t>
            </a:fld>
            <a:endParaRPr lang="en-US"/>
          </a:p>
        </p:txBody>
      </p:sp>
    </p:spTree>
    <p:extLst>
      <p:ext uri="{BB962C8B-B14F-4D97-AF65-F5344CB8AC3E}">
        <p14:creationId xmlns:p14="http://schemas.microsoft.com/office/powerpoint/2010/main" val="34559070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s-ES" b="1" i="0">
                <a:solidFill>
                  <a:srgbClr val="242424"/>
                </a:solidFill>
                <a:effectLst/>
                <a:latin typeface="Segoe UI" panose="020B0502040204020203" pitchFamily="34" charset="0"/>
              </a:rPr>
              <a:t>Comparación:</a:t>
            </a:r>
            <a:endParaRPr lang="es-ES" b="0" i="0">
              <a:solidFill>
                <a:srgbClr val="242424"/>
              </a:solidFill>
              <a:effectLst/>
              <a:latin typeface="Segoe UI" panose="020B0502040204020203" pitchFamily="34" charset="0"/>
            </a:endParaRPr>
          </a:p>
          <a:p>
            <a:pPr marL="742950" lvl="1" indent="-285750" algn="l">
              <a:buFont typeface="Arial" panose="020B0604020202020204" pitchFamily="34" charset="0"/>
              <a:buChar char="•"/>
            </a:pPr>
            <a:r>
              <a:rPr lang="es-ES" b="1" i="0" err="1">
                <a:solidFill>
                  <a:srgbClr val="242424"/>
                </a:solidFill>
                <a:effectLst/>
                <a:latin typeface="Segoe UI" panose="020B0502040204020203" pitchFamily="34" charset="0"/>
              </a:rPr>
              <a:t>DoR</a:t>
            </a:r>
            <a:r>
              <a:rPr lang="es-ES" b="1" i="0">
                <a:solidFill>
                  <a:srgbClr val="242424"/>
                </a:solidFill>
                <a:effectLst/>
                <a:latin typeface="Segoe UI" panose="020B0502040204020203" pitchFamily="34" charset="0"/>
              </a:rPr>
              <a:t>:</a:t>
            </a:r>
            <a:r>
              <a:rPr lang="es-ES" b="0" i="0">
                <a:solidFill>
                  <a:srgbClr val="242424"/>
                </a:solidFill>
                <a:effectLst/>
                <a:latin typeface="Segoe UI" panose="020B0502040204020203" pitchFamily="34" charset="0"/>
              </a:rPr>
              <a:t> Criterios para comenzar el trabajo.</a:t>
            </a:r>
          </a:p>
          <a:p>
            <a:pPr marL="742950" lvl="1" indent="-285750" algn="l">
              <a:buFont typeface="Arial" panose="020B0604020202020204" pitchFamily="34" charset="0"/>
              <a:buChar char="•"/>
            </a:pPr>
            <a:r>
              <a:rPr lang="es-ES" b="1" i="0" err="1">
                <a:solidFill>
                  <a:srgbClr val="242424"/>
                </a:solidFill>
                <a:effectLst/>
                <a:latin typeface="Segoe UI" panose="020B0502040204020203" pitchFamily="34" charset="0"/>
              </a:rPr>
              <a:t>DoD</a:t>
            </a:r>
            <a:r>
              <a:rPr lang="es-ES" b="1" i="0">
                <a:solidFill>
                  <a:srgbClr val="242424"/>
                </a:solidFill>
                <a:effectLst/>
                <a:latin typeface="Segoe UI" panose="020B0502040204020203" pitchFamily="34" charset="0"/>
              </a:rPr>
              <a:t>:</a:t>
            </a:r>
            <a:r>
              <a:rPr lang="es-ES" b="0" i="0">
                <a:solidFill>
                  <a:srgbClr val="242424"/>
                </a:solidFill>
                <a:effectLst/>
                <a:latin typeface="Segoe UI" panose="020B0502040204020203" pitchFamily="34" charset="0"/>
              </a:rPr>
              <a:t> Criterios para finalizar el trabajo.</a:t>
            </a:r>
          </a:p>
          <a:p>
            <a:pPr marL="742950" lvl="1" indent="-285750" algn="l">
              <a:buFont typeface="Arial" panose="020B0604020202020204" pitchFamily="34" charset="0"/>
              <a:buChar char="•"/>
            </a:pPr>
            <a:endParaRPr lang="es-ES" b="0" i="0">
              <a:solidFill>
                <a:srgbClr val="242424"/>
              </a:solidFill>
              <a:effectLst/>
              <a:latin typeface="Segoe UI" panose="020B0502040204020203" pitchFamily="34" charset="0"/>
            </a:endParaRPr>
          </a:p>
          <a:p>
            <a:pPr marL="0" lvl="0" indent="0" algn="l">
              <a:buFont typeface="Arial" panose="020B0604020202020204" pitchFamily="34" charset="0"/>
              <a:buNone/>
            </a:pPr>
            <a:r>
              <a:rPr lang="es-ES" b="1" i="0">
                <a:solidFill>
                  <a:srgbClr val="242424"/>
                </a:solidFill>
                <a:effectLst/>
                <a:latin typeface="Segoe UI" panose="020B0502040204020203" pitchFamily="34" charset="0"/>
              </a:rPr>
              <a:t>Uso en el Proceso Ágil:</a:t>
            </a:r>
            <a:endParaRPr lang="es-ES" b="0" i="0">
              <a:solidFill>
                <a:srgbClr val="242424"/>
              </a:solidFill>
              <a:effectLst/>
              <a:latin typeface="Segoe UI" panose="020B0502040204020203" pitchFamily="34" charset="0"/>
            </a:endParaRPr>
          </a:p>
          <a:p>
            <a:pPr marL="685800" lvl="1" indent="-228600" algn="l">
              <a:buFont typeface="Arial" panose="020B0604020202020204" pitchFamily="34" charset="0"/>
              <a:buChar char="•"/>
            </a:pPr>
            <a:r>
              <a:rPr lang="es-ES" b="1" i="0" err="1">
                <a:solidFill>
                  <a:srgbClr val="242424"/>
                </a:solidFill>
                <a:effectLst/>
                <a:latin typeface="Segoe UI" panose="020B0502040204020203" pitchFamily="34" charset="0"/>
              </a:rPr>
              <a:t>DoR</a:t>
            </a:r>
            <a:r>
              <a:rPr lang="es-ES" b="1" i="0">
                <a:solidFill>
                  <a:srgbClr val="242424"/>
                </a:solidFill>
                <a:effectLst/>
                <a:latin typeface="Segoe UI" panose="020B0502040204020203" pitchFamily="34" charset="0"/>
              </a:rPr>
              <a:t>:</a:t>
            </a:r>
            <a:r>
              <a:rPr lang="es-ES" b="0" i="0">
                <a:solidFill>
                  <a:srgbClr val="242424"/>
                </a:solidFill>
                <a:effectLst/>
                <a:latin typeface="Segoe UI" panose="020B0502040204020203" pitchFamily="34" charset="0"/>
              </a:rPr>
              <a:t> Refinamiento del backlog y planificación del trabajo/iteración.</a:t>
            </a:r>
          </a:p>
          <a:p>
            <a:pPr marL="685800" lvl="1" indent="-228600" algn="l">
              <a:buFont typeface="Arial" panose="020B0604020202020204" pitchFamily="34" charset="0"/>
              <a:buChar char="•"/>
            </a:pPr>
            <a:r>
              <a:rPr lang="es-ES" b="1" i="0" err="1">
                <a:solidFill>
                  <a:srgbClr val="242424"/>
                </a:solidFill>
                <a:effectLst/>
                <a:latin typeface="Segoe UI" panose="020B0502040204020203" pitchFamily="34" charset="0"/>
              </a:rPr>
              <a:t>DoD</a:t>
            </a:r>
            <a:r>
              <a:rPr lang="es-ES" b="1" i="0">
                <a:solidFill>
                  <a:srgbClr val="242424"/>
                </a:solidFill>
                <a:effectLst/>
                <a:latin typeface="Segoe UI" panose="020B0502040204020203" pitchFamily="34" charset="0"/>
              </a:rPr>
              <a:t>:</a:t>
            </a:r>
            <a:r>
              <a:rPr lang="es-ES" b="0" i="0">
                <a:solidFill>
                  <a:srgbClr val="242424"/>
                </a:solidFill>
                <a:effectLst/>
                <a:latin typeface="Segoe UI" panose="020B0502040204020203" pitchFamily="34" charset="0"/>
              </a:rPr>
              <a:t> Revisión de la calidad al final del flujo de valor o al final de la iteración.</a:t>
            </a:r>
          </a:p>
          <a:p>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29</a:t>
            </a:fld>
            <a:endParaRPr lang="en-US"/>
          </a:p>
        </p:txBody>
      </p:sp>
    </p:spTree>
    <p:extLst>
      <p:ext uri="{BB962C8B-B14F-4D97-AF65-F5344CB8AC3E}">
        <p14:creationId xmlns:p14="http://schemas.microsoft.com/office/powerpoint/2010/main" val="172070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682F72F-8E37-904D-8F87-C4C23F3C3937}" type="slidenum">
              <a:rPr lang="en-US" smtClean="0"/>
              <a:t>3</a:t>
            </a:fld>
            <a:endParaRPr lang="en-US"/>
          </a:p>
        </p:txBody>
      </p:sp>
    </p:spTree>
    <p:extLst>
      <p:ext uri="{BB962C8B-B14F-4D97-AF65-F5344CB8AC3E}">
        <p14:creationId xmlns:p14="http://schemas.microsoft.com/office/powerpoint/2010/main" val="22276621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82F72F-8E37-904D-8F87-C4C23F3C39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66728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31</a:t>
            </a:fld>
            <a:endParaRPr lang="en-US"/>
          </a:p>
        </p:txBody>
      </p:sp>
    </p:spTree>
    <p:extLst>
      <p:ext uri="{BB962C8B-B14F-4D97-AF65-F5344CB8AC3E}">
        <p14:creationId xmlns:p14="http://schemas.microsoft.com/office/powerpoint/2010/main" val="13273090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115" indent="-285115">
              <a:buFont typeface="Arial"/>
              <a:buChar char="•"/>
            </a:pPr>
            <a:r>
              <a:rPr lang="es-CO" err="1"/>
              <a:t>Menu</a:t>
            </a:r>
            <a:r>
              <a:rPr lang="es-CO"/>
              <a:t> Principal Identificar actividades, tareas y subtareas.</a:t>
            </a:r>
            <a:endParaRPr lang="en-US"/>
          </a:p>
          <a:p>
            <a:pPr marL="285115" indent="-285115">
              <a:buFont typeface="Arial"/>
              <a:buChar char="•"/>
            </a:pPr>
            <a:r>
              <a:rPr lang="es-CO"/>
              <a:t>Crear Backlog priorizado.</a:t>
            </a:r>
            <a:endParaRPr lang="en-US"/>
          </a:p>
          <a:p>
            <a:pPr marL="285115" indent="-285115">
              <a:buFont typeface="Arial"/>
              <a:buChar char="•"/>
            </a:pPr>
            <a:r>
              <a:rPr lang="es-CO"/>
              <a:t>Establecer fechas de vencimiento.</a:t>
            </a:r>
            <a:endParaRPr lang="en-US"/>
          </a:p>
          <a:p>
            <a:pPr marL="285115" indent="-285115">
              <a:buFont typeface="Arial"/>
              <a:buChar char="•"/>
            </a:pPr>
            <a:r>
              <a:rPr lang="es-CO"/>
              <a:t>Agrupar elementos en épicas.</a:t>
            </a:r>
            <a:endParaRPr lang="en-US"/>
          </a:p>
          <a:p>
            <a:pPr marL="285115" indent="-285115">
              <a:buFont typeface="Arial"/>
              <a:buChar char="•"/>
            </a:pPr>
            <a:r>
              <a:rPr lang="es-CO"/>
              <a:t>Definir el alcance de los </a:t>
            </a:r>
            <a:r>
              <a:rPr lang="es-CO" err="1"/>
              <a:t>releases</a:t>
            </a:r>
            <a:r>
              <a:rPr lang="es-CO"/>
              <a:t> y establecer hitos.</a:t>
            </a:r>
            <a:endParaRPr lang="en-US"/>
          </a:p>
          <a:p>
            <a:pPr marL="285115" indent="-285115">
              <a:buFont typeface="Arial"/>
              <a:buChar char="•"/>
            </a:pPr>
            <a:r>
              <a:rPr lang="es-CO"/>
              <a:t>Asignar a un período de tiempo específico (Sprint/Iteraciones).</a:t>
            </a:r>
            <a:endParaRPr lang="en-US"/>
          </a:p>
          <a:p>
            <a:pPr marL="285115" indent="-285115">
              <a:buFont typeface="Arial"/>
              <a:buChar char="•"/>
            </a:pPr>
            <a:r>
              <a:rPr lang="es-CO"/>
              <a:t>Asignar a una persona específica.</a:t>
            </a:r>
            <a:endParaRPr lang="en-US"/>
          </a:p>
          <a:p>
            <a:pPr marL="285115" indent="-285115">
              <a:buFont typeface="Arial"/>
              <a:buChar char="•"/>
            </a:pPr>
            <a:r>
              <a:rPr lang="es-CO"/>
              <a:t>Estimar esfuerzo.</a:t>
            </a:r>
            <a:endParaRPr lang="en-US"/>
          </a:p>
          <a:p>
            <a:pPr marL="285115" indent="-285115">
              <a:buFont typeface="Arial"/>
              <a:buChar char="•"/>
            </a:pPr>
            <a:r>
              <a:rPr lang="es-CO"/>
              <a:t>Enlace a artefactos.</a:t>
            </a:r>
            <a:endParaRPr lang="en-US"/>
          </a:p>
          <a:p>
            <a:pPr marL="285115" indent="-285115">
              <a:buFont typeface="Arial"/>
              <a:buChar char="•"/>
            </a:pPr>
            <a:r>
              <a:rPr lang="es-CO"/>
              <a:t>Dejar comentarios.</a:t>
            </a:r>
          </a:p>
        </p:txBody>
      </p:sp>
      <p:sp>
        <p:nvSpPr>
          <p:cNvPr id="4" name="Slide Number Placeholder 3"/>
          <p:cNvSpPr>
            <a:spLocks noGrp="1"/>
          </p:cNvSpPr>
          <p:nvPr>
            <p:ph type="sldNum" sz="quarter" idx="5"/>
          </p:nvPr>
        </p:nvSpPr>
        <p:spPr/>
        <p:txBody>
          <a:bodyPr/>
          <a:lstStyle/>
          <a:p>
            <a:fld id="{6BCB5711-DA30-9A41-8B82-7B31DCE5A286}" type="slidenum">
              <a:rPr lang="en-US" smtClean="0"/>
              <a:t>33</a:t>
            </a:fld>
            <a:endParaRPr lang="en-US"/>
          </a:p>
        </p:txBody>
      </p:sp>
    </p:spTree>
    <p:extLst>
      <p:ext uri="{BB962C8B-B14F-4D97-AF65-F5344CB8AC3E}">
        <p14:creationId xmlns:p14="http://schemas.microsoft.com/office/powerpoint/2010/main" val="2507862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115" indent="-285115">
              <a:buFont typeface="Arial"/>
              <a:buChar char="•"/>
            </a:pPr>
            <a:r>
              <a:rPr lang="es-CO"/>
              <a:t>Vea lo que se le asigna en su panel de control personal.</a:t>
            </a:r>
            <a:endParaRPr lang="en-US"/>
          </a:p>
          <a:p>
            <a:pPr marL="285115" indent="-285115">
              <a:buFont typeface="Arial"/>
              <a:buChar char="•"/>
            </a:pPr>
            <a:r>
              <a:rPr lang="es-CO"/>
              <a:t>Asignar actividades a otras personas.</a:t>
            </a:r>
            <a:endParaRPr lang="en-US"/>
          </a:p>
          <a:p>
            <a:pPr marL="285115" indent="-285115">
              <a:buFont typeface="Arial"/>
              <a:buChar char="•"/>
            </a:pPr>
            <a:r>
              <a:rPr lang="es-CO"/>
              <a:t>Vea lo que se necesita hacer, en progreso y completado.</a:t>
            </a:r>
            <a:endParaRPr lang="en-US"/>
          </a:p>
          <a:p>
            <a:pPr marL="285115" indent="-285115">
              <a:buFont typeface="Arial"/>
              <a:buChar char="•"/>
            </a:pPr>
            <a:r>
              <a:rPr lang="es-CO"/>
              <a:t>Adjunte cualquier artefacto aplicable y trabaje con ellos.</a:t>
            </a:r>
            <a:endParaRPr lang="en-US"/>
          </a:p>
          <a:p>
            <a:pPr marL="285115" indent="-285115">
              <a:buFont typeface="Arial"/>
              <a:buChar char="•"/>
            </a:pPr>
            <a:r>
              <a:rPr lang="es-CO"/>
              <a:t>Hacer comentarios.</a:t>
            </a:r>
            <a:endParaRPr lang="en-US"/>
          </a:p>
          <a:p>
            <a:pPr marL="285115" indent="-285115">
              <a:buFont typeface="Arial"/>
              <a:buChar char="•"/>
            </a:pPr>
            <a:r>
              <a:rPr lang="es-CO"/>
              <a:t>Seguimiento de las dependencias e impedimentos.</a:t>
            </a:r>
            <a:endParaRPr lang="en-US"/>
          </a:p>
          <a:p>
            <a:pPr marL="285115" indent="-285115">
              <a:buFont typeface="Arial"/>
              <a:buChar char="•"/>
            </a:pPr>
            <a:r>
              <a:rPr lang="es-CO"/>
              <a:t>Ver si alguna tarea o actividad está atrasada.</a:t>
            </a:r>
            <a:endParaRPr lang="en-US"/>
          </a:p>
          <a:p>
            <a:pPr marL="285115" indent="-285115">
              <a:buFont typeface="Arial"/>
              <a:buChar char="•"/>
            </a:pPr>
            <a:r>
              <a:rPr lang="es-CO"/>
              <a:t>Notificar a otros usuarios sobre actualizaciones y / o asignaciones.</a:t>
            </a:r>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35</a:t>
            </a:fld>
            <a:endParaRPr lang="en-US"/>
          </a:p>
        </p:txBody>
      </p:sp>
    </p:spTree>
    <p:extLst>
      <p:ext uri="{BB962C8B-B14F-4D97-AF65-F5344CB8AC3E}">
        <p14:creationId xmlns:p14="http://schemas.microsoft.com/office/powerpoint/2010/main" val="10555412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CB5711-DA30-9A41-8B82-7B31DCE5A286}" type="slidenum">
              <a:rPr lang="en-US" smtClean="0"/>
              <a:t>37</a:t>
            </a:fld>
            <a:endParaRPr lang="en-US"/>
          </a:p>
        </p:txBody>
      </p:sp>
    </p:spTree>
    <p:extLst>
      <p:ext uri="{BB962C8B-B14F-4D97-AF65-F5344CB8AC3E}">
        <p14:creationId xmlns:p14="http://schemas.microsoft.com/office/powerpoint/2010/main" val="10981563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115" indent="-285115">
              <a:buFont typeface="Arial"/>
              <a:buChar char="•"/>
            </a:pPr>
            <a:r>
              <a:rPr lang="es-CO"/>
              <a:t>Acceso las 24 horas, los 7 días de la semana a todos los informes a través de tableros Scrum / Kanban.</a:t>
            </a:r>
            <a:endParaRPr lang="en-US"/>
          </a:p>
          <a:p>
            <a:pPr marL="285115" indent="-285115">
              <a:buFont typeface="Arial"/>
              <a:buChar char="•"/>
            </a:pPr>
            <a:r>
              <a:rPr lang="es-CO"/>
              <a:t>Datos en tiempo real que se actualizan a medida que se realiza el trabajo real</a:t>
            </a:r>
            <a:endParaRPr lang="en-US"/>
          </a:p>
          <a:p>
            <a:pPr marL="285115" indent="-285115">
              <a:buFont typeface="Arial"/>
              <a:buChar char="•"/>
            </a:pPr>
            <a:r>
              <a:rPr lang="es-CO"/>
              <a:t>Paneles de control personalizables para diferentes tipos de usuarios</a:t>
            </a:r>
            <a:endParaRPr lang="en-US"/>
          </a:p>
          <a:p>
            <a:pPr marL="285115" indent="-285115">
              <a:buFont typeface="Arial"/>
              <a:buChar char="•"/>
            </a:pPr>
            <a:r>
              <a:rPr lang="es-CO"/>
              <a:t>Cuadros de mando individuales para gestionar el trabajo diario</a:t>
            </a:r>
            <a:endParaRPr lang="en-US"/>
          </a:p>
          <a:p>
            <a:pPr marL="285115" indent="-285115">
              <a:buFont typeface="Arial"/>
              <a:buChar char="•"/>
            </a:pPr>
            <a:r>
              <a:rPr lang="es-CO"/>
              <a:t>Acceso a toda la información detallada y los artefactos directamente desde los paneles a través de enlaces web.</a:t>
            </a:r>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39</a:t>
            </a:fld>
            <a:endParaRPr lang="en-US"/>
          </a:p>
        </p:txBody>
      </p:sp>
    </p:spTree>
    <p:extLst>
      <p:ext uri="{BB962C8B-B14F-4D97-AF65-F5344CB8AC3E}">
        <p14:creationId xmlns:p14="http://schemas.microsoft.com/office/powerpoint/2010/main" val="8938980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682F72F-8E37-904D-8F87-C4C23F3C3937}" type="slidenum">
              <a:rPr lang="en-US" smtClean="0"/>
              <a:t>40</a:t>
            </a:fld>
            <a:endParaRPr lang="en-US"/>
          </a:p>
        </p:txBody>
      </p:sp>
    </p:spTree>
    <p:extLst>
      <p:ext uri="{BB962C8B-B14F-4D97-AF65-F5344CB8AC3E}">
        <p14:creationId xmlns:p14="http://schemas.microsoft.com/office/powerpoint/2010/main" val="8006307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682F72F-8E37-904D-8F87-C4C23F3C3937}" type="slidenum">
              <a:rPr lang="en-US" smtClean="0"/>
              <a:t>41</a:t>
            </a:fld>
            <a:endParaRPr lang="en-US"/>
          </a:p>
        </p:txBody>
      </p:sp>
    </p:spTree>
    <p:extLst>
      <p:ext uri="{BB962C8B-B14F-4D97-AF65-F5344CB8AC3E}">
        <p14:creationId xmlns:p14="http://schemas.microsoft.com/office/powerpoint/2010/main" val="3913449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Hablemos de las raíces del árbol de la agilidad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s-CO" sz="1200" b="1">
              <a:solidFill>
                <a:schemeClr val="bg1">
                  <a:lumMod val="50000"/>
                </a:schemeClr>
              </a:solidFill>
              <a:latin typeface="Scotia Headline" panose="020B0503020203020204" pitchFamily="34" charset="0"/>
              <a:cs typeface="Arial" panose="020B0604020202020204" pitchFamily="34" charset="0"/>
              <a:sym typeface="Gilroy ExtraBold"/>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s-CO" sz="1200" b="1">
                <a:solidFill>
                  <a:schemeClr val="bg1">
                    <a:lumMod val="50000"/>
                  </a:schemeClr>
                </a:solidFill>
                <a:latin typeface="Scotia Headline" panose="020B0503020203020204" pitchFamily="34" charset="0"/>
                <a:cs typeface="Arial" panose="020B0604020202020204" pitchFamily="34" charset="0"/>
                <a:sym typeface="Gilroy ExtraBold"/>
              </a:rPr>
              <a:t>VALORES</a:t>
            </a:r>
          </a:p>
          <a:p>
            <a:pPr lvl="1"/>
            <a:r>
              <a:rPr lang="es-CO" sz="1200" b="0" i="0" kern="1200">
                <a:solidFill>
                  <a:schemeClr val="tx1"/>
                </a:solidFill>
                <a:effectLst/>
                <a:latin typeface="+mn-lt"/>
                <a:ea typeface="+mn-ea"/>
                <a:cs typeface="+mn-cs"/>
              </a:rPr>
              <a:t>Individuos e interacciones sobre procesos y herramientas. </a:t>
            </a:r>
          </a:p>
          <a:p>
            <a:pPr lvl="1"/>
            <a:r>
              <a:rPr lang="es-CO" sz="1200" b="0" i="0" kern="1200">
                <a:solidFill>
                  <a:schemeClr val="tx1"/>
                </a:solidFill>
                <a:effectLst/>
                <a:latin typeface="+mn-lt"/>
                <a:ea typeface="+mn-ea"/>
                <a:cs typeface="+mn-cs"/>
              </a:rPr>
              <a:t>Software funcionando sobre documentación extensiva.</a:t>
            </a:r>
          </a:p>
          <a:p>
            <a:pPr lvl="1"/>
            <a:r>
              <a:rPr lang="es-CO" sz="1200" b="0" i="0" kern="1200">
                <a:solidFill>
                  <a:schemeClr val="tx1"/>
                </a:solidFill>
                <a:effectLst/>
                <a:latin typeface="+mn-lt"/>
                <a:ea typeface="+mn-ea"/>
                <a:cs typeface="+mn-cs"/>
              </a:rPr>
              <a:t>Colaboración con el cliente sobre negociación contractual.</a:t>
            </a:r>
          </a:p>
          <a:p>
            <a:pPr lvl="1"/>
            <a:r>
              <a:rPr lang="es-CO" sz="1200" b="0" i="0" kern="1200">
                <a:solidFill>
                  <a:schemeClr val="tx1"/>
                </a:solidFill>
                <a:effectLst/>
                <a:latin typeface="+mn-lt"/>
                <a:ea typeface="+mn-ea"/>
                <a:cs typeface="+mn-cs"/>
              </a:rPr>
              <a:t>Respuesta ante el cambio sobre seguir un plan.</a:t>
            </a:r>
          </a:p>
          <a:p>
            <a:pPr marL="0" indent="0">
              <a:buFont typeface="Arial,Sans-Serif"/>
              <a:buNone/>
            </a:pPr>
            <a:endParaRPr lang="en-US"/>
          </a:p>
          <a:p>
            <a:pPr marL="0" indent="0">
              <a:buFont typeface="Arial,Sans-Serif"/>
              <a:buNone/>
            </a:pPr>
            <a:r>
              <a:rPr lang="en-US" err="1"/>
              <a:t>Ahora</a:t>
            </a:r>
            <a:r>
              <a:rPr lang="en-US"/>
              <a:t> </a:t>
            </a:r>
            <a:r>
              <a:rPr lang="en-US" err="1"/>
              <a:t>hablemos</a:t>
            </a:r>
            <a:r>
              <a:rPr lang="en-US"/>
              <a:t> del </a:t>
            </a:r>
            <a:r>
              <a:rPr lang="en-US" err="1"/>
              <a:t>tronco</a:t>
            </a:r>
            <a:r>
              <a:rPr lang="en-US"/>
              <a:t> del tree of agility</a:t>
            </a:r>
          </a:p>
          <a:p>
            <a:pPr marL="0" indent="0">
              <a:buFont typeface="Arial,Sans-Serif"/>
              <a:buNone/>
            </a:pPr>
            <a:endParaRPr lang="en-US"/>
          </a:p>
          <a:p>
            <a:pPr marL="171450" indent="-171450">
              <a:buFont typeface="Arial,Sans-Serif"/>
              <a:buChar char="•"/>
            </a:pPr>
            <a:r>
              <a:rPr lang="en-US"/>
              <a:t>El </a:t>
            </a:r>
            <a:r>
              <a:rPr lang="en-US" err="1"/>
              <a:t>manifiesto</a:t>
            </a:r>
            <a:r>
              <a:rPr lang="en-US"/>
              <a:t> </a:t>
            </a:r>
            <a:r>
              <a:rPr lang="en-US" err="1"/>
              <a:t>ágil</a:t>
            </a:r>
            <a:r>
              <a:rPr lang="en-US"/>
              <a:t> es un “mantra” que </a:t>
            </a:r>
            <a:r>
              <a:rPr lang="en-US" err="1"/>
              <a:t>nos</a:t>
            </a:r>
            <a:r>
              <a:rPr lang="en-US"/>
              <a:t> </a:t>
            </a:r>
            <a:r>
              <a:rPr lang="en-US" err="1"/>
              <a:t>enseña</a:t>
            </a:r>
            <a:r>
              <a:rPr lang="en-US"/>
              <a:t> a no ser </a:t>
            </a:r>
            <a:r>
              <a:rPr lang="en-US" err="1"/>
              <a:t>rígidos</a:t>
            </a:r>
            <a:r>
              <a:rPr lang="en-US"/>
              <a:t> o </a:t>
            </a:r>
            <a:r>
              <a:rPr lang="en-US" err="1"/>
              <a:t>dogmáticos</a:t>
            </a:r>
            <a:r>
              <a:rPr lang="en-US"/>
              <a:t> en la forma en la que </a:t>
            </a:r>
            <a:r>
              <a:rPr lang="en-US" err="1"/>
              <a:t>enfocamos</a:t>
            </a:r>
            <a:r>
              <a:rPr lang="en-US"/>
              <a:t> </a:t>
            </a:r>
            <a:r>
              <a:rPr lang="en-US" err="1"/>
              <a:t>nuestro</a:t>
            </a:r>
            <a:r>
              <a:rPr lang="en-US"/>
              <a:t> </a:t>
            </a:r>
            <a:r>
              <a:rPr lang="en-US" err="1"/>
              <a:t>trabajo</a:t>
            </a:r>
            <a:r>
              <a:rPr lang="en-US"/>
              <a:t>.</a:t>
            </a:r>
            <a:br>
              <a:rPr lang="en-US">
                <a:cs typeface="+mn-lt"/>
              </a:rPr>
            </a:br>
            <a:r>
              <a:rPr lang="en-US"/>
              <a:t> </a:t>
            </a:r>
          </a:p>
          <a:p>
            <a:pPr marL="171450" indent="-171450">
              <a:buFont typeface="Arial,Sans-Serif"/>
              <a:buChar char="•"/>
            </a:pPr>
            <a:r>
              <a:rPr lang="es-CO" noProof="0"/>
              <a:t>El </a:t>
            </a:r>
            <a:r>
              <a:rPr lang="es-CO" noProof="0" err="1"/>
              <a:t>core</a:t>
            </a:r>
            <a:r>
              <a:rPr lang="es-CO" noProof="0"/>
              <a:t> o la esencia del manifiesto ágil  y sus 12 principios es promover conceptos como:</a:t>
            </a:r>
            <a:br>
              <a:rPr lang="en-US">
                <a:cs typeface="+mn-lt"/>
              </a:rPr>
            </a:br>
            <a:r>
              <a:rPr lang="en-US"/>
              <a:t> </a:t>
            </a:r>
          </a:p>
          <a:p>
            <a:pPr marL="628650" lvl="1" indent="-171450">
              <a:buFont typeface="Arial,Sans-Serif"/>
              <a:buChar char="•"/>
            </a:pPr>
            <a:r>
              <a:rPr lang="en-US" err="1"/>
              <a:t>Entrega</a:t>
            </a:r>
            <a:r>
              <a:rPr lang="en-US"/>
              <a:t> continua y </a:t>
            </a:r>
            <a:r>
              <a:rPr lang="en-US" err="1"/>
              <a:t>frecuente</a:t>
            </a:r>
            <a:r>
              <a:rPr lang="en-US"/>
              <a:t> de valor/Frequent Value Delivery</a:t>
            </a:r>
          </a:p>
          <a:p>
            <a:pPr marL="628650" lvl="1" indent="-171450">
              <a:buFont typeface="Arial,Sans-Serif"/>
              <a:buChar char="•"/>
            </a:pPr>
            <a:r>
              <a:rPr lang="en-US" err="1"/>
              <a:t>Adaptabilidad</a:t>
            </a:r>
            <a:r>
              <a:rPr lang="en-US"/>
              <a:t>/Adaptability</a:t>
            </a:r>
          </a:p>
          <a:p>
            <a:pPr marL="628650" lvl="1" indent="-171450">
              <a:buFont typeface="Arial,Sans-Serif"/>
              <a:buChar char="•"/>
            </a:pPr>
            <a:r>
              <a:rPr lang="en-US" err="1"/>
              <a:t>Colaboración</a:t>
            </a:r>
            <a:r>
              <a:rPr lang="en-US"/>
              <a:t>/Collaboration</a:t>
            </a:r>
          </a:p>
          <a:p>
            <a:pPr marL="628650" lvl="1" indent="-171450">
              <a:buFont typeface="Arial,Sans-Serif"/>
              <a:buChar char="•"/>
            </a:pPr>
            <a:r>
              <a:rPr lang="en-US" err="1"/>
              <a:t>Eliminación</a:t>
            </a:r>
            <a:r>
              <a:rPr lang="en-US"/>
              <a:t> </a:t>
            </a:r>
            <a:r>
              <a:rPr lang="en-US" err="1"/>
              <a:t>desperdicios</a:t>
            </a:r>
            <a:r>
              <a:rPr lang="en-US"/>
              <a:t> /Elimination of Waste</a:t>
            </a:r>
          </a:p>
          <a:p>
            <a:pPr marL="457200" lvl="1" indent="0">
              <a:buFont typeface="Arial,Sans-Serif"/>
              <a:buNone/>
            </a:pPr>
            <a:r>
              <a:rPr lang="en-US" b="1" err="1"/>
              <a:t>pregunta</a:t>
            </a:r>
            <a:r>
              <a:rPr lang="en-US" b="1"/>
              <a:t> a la audiencia, </a:t>
            </a:r>
            <a:r>
              <a:rPr lang="en-US" b="1" err="1"/>
              <a:t>qué</a:t>
            </a:r>
            <a:r>
              <a:rPr lang="en-US" b="1"/>
              <a:t> </a:t>
            </a:r>
            <a:r>
              <a:rPr lang="en-US" b="1" err="1"/>
              <a:t>otros</a:t>
            </a:r>
            <a:r>
              <a:rPr lang="en-US" b="1"/>
              <a:t> </a:t>
            </a:r>
            <a:r>
              <a:rPr lang="en-US" b="1" err="1"/>
              <a:t>conceptos</a:t>
            </a:r>
            <a:r>
              <a:rPr lang="en-US" b="1"/>
              <a:t> ?</a:t>
            </a:r>
            <a:endParaRPr lang="en-US" b="1">
              <a:cs typeface="Calibri"/>
            </a:endParaRPr>
          </a:p>
          <a:p>
            <a:pPr marL="628650" lvl="1" indent="-171450">
              <a:buFont typeface="Arial,Sans-Serif"/>
              <a:buChar char="•"/>
            </a:pPr>
            <a:endParaRPr lang="en-US" b="1">
              <a:cs typeface="Calibri"/>
            </a:endParaRPr>
          </a:p>
          <a:p>
            <a:pPr marL="457200" lvl="1" indent="0">
              <a:buFont typeface="Arial,Sans-Serif"/>
              <a:buNone/>
            </a:pPr>
            <a:r>
              <a:rPr lang="en-US" b="1">
                <a:cs typeface="Calibri"/>
              </a:rPr>
              <a:t>ENCUESTA/POLL</a:t>
            </a:r>
          </a:p>
          <a:p>
            <a:pPr marL="457200" lvl="1" indent="0">
              <a:buFont typeface="Arial,Sans-Serif"/>
              <a:buNone/>
            </a:pPr>
            <a:endParaRPr lang="en-US" b="1">
              <a:cs typeface="Calibri"/>
            </a:endParaRPr>
          </a:p>
          <a:p>
            <a:pPr lvl="1"/>
            <a:r>
              <a:rPr lang="en-US" b="1">
                <a:cs typeface="Calibri"/>
              </a:rPr>
              <a:t>En lo que </a:t>
            </a:r>
            <a:r>
              <a:rPr lang="en-US" b="1" err="1">
                <a:cs typeface="Calibri"/>
              </a:rPr>
              <a:t>estás</a:t>
            </a:r>
            <a:r>
              <a:rPr lang="en-US" b="1">
                <a:cs typeface="Calibri"/>
              </a:rPr>
              <a:t> hacienda hoy </a:t>
            </a:r>
            <a:r>
              <a:rPr lang="en-US" b="1" err="1">
                <a:cs typeface="Calibri"/>
              </a:rPr>
              <a:t>como</a:t>
            </a:r>
            <a:r>
              <a:rPr lang="en-US" b="1">
                <a:cs typeface="Calibri"/>
              </a:rPr>
              <a:t> </a:t>
            </a:r>
            <a:r>
              <a:rPr lang="en-US" b="1" err="1">
                <a:cs typeface="Calibri"/>
              </a:rPr>
              <a:t>equipo</a:t>
            </a:r>
            <a:r>
              <a:rPr lang="en-US" b="1">
                <a:cs typeface="Calibri"/>
              </a:rPr>
              <a:t>. ¿</a:t>
            </a:r>
            <a:r>
              <a:rPr lang="en-US" b="1" err="1">
                <a:cs typeface="Calibri"/>
              </a:rPr>
              <a:t>Qué</a:t>
            </a:r>
            <a:r>
              <a:rPr lang="en-US" b="1">
                <a:cs typeface="Calibri"/>
              </a:rPr>
              <a:t> principio </a:t>
            </a:r>
            <a:r>
              <a:rPr lang="en-US" b="1" err="1">
                <a:cs typeface="Calibri"/>
              </a:rPr>
              <a:t>crees</a:t>
            </a:r>
            <a:r>
              <a:rPr lang="en-US" b="1">
                <a:cs typeface="Calibri"/>
              </a:rPr>
              <a:t> que </a:t>
            </a:r>
            <a:r>
              <a:rPr lang="en-US" b="1" err="1">
                <a:cs typeface="Calibri"/>
              </a:rPr>
              <a:t>tu</a:t>
            </a:r>
            <a:r>
              <a:rPr lang="en-US" b="1">
                <a:cs typeface="Calibri"/>
              </a:rPr>
              <a:t> </a:t>
            </a:r>
            <a:r>
              <a:rPr lang="en-US" b="1" err="1">
                <a:cs typeface="Calibri"/>
              </a:rPr>
              <a:t>equipo</a:t>
            </a:r>
            <a:r>
              <a:rPr lang="en-US" b="1">
                <a:cs typeface="Calibri"/>
              </a:rPr>
              <a:t> </a:t>
            </a:r>
            <a:r>
              <a:rPr lang="en-US" b="1" err="1">
                <a:cs typeface="Calibri"/>
              </a:rPr>
              <a:t>hace</a:t>
            </a:r>
            <a:r>
              <a:rPr lang="en-US" b="1">
                <a:cs typeface="Calibri"/>
              </a:rPr>
              <a:t> major ? ¿</a:t>
            </a:r>
            <a:r>
              <a:rPr lang="en-US" b="1" err="1">
                <a:cs typeface="Calibri"/>
              </a:rPr>
              <a:t>Qué</a:t>
            </a:r>
            <a:r>
              <a:rPr lang="en-US" b="1">
                <a:cs typeface="Calibri"/>
              </a:rPr>
              <a:t> principio </a:t>
            </a:r>
            <a:r>
              <a:rPr lang="en-US" b="1" err="1">
                <a:cs typeface="Calibri"/>
              </a:rPr>
              <a:t>crees</a:t>
            </a:r>
            <a:r>
              <a:rPr lang="en-US" b="1">
                <a:cs typeface="Calibri"/>
              </a:rPr>
              <a:t> que </a:t>
            </a:r>
            <a:r>
              <a:rPr lang="en-US" b="1" err="1">
                <a:cs typeface="Calibri"/>
              </a:rPr>
              <a:t>tu</a:t>
            </a:r>
            <a:r>
              <a:rPr lang="en-US" b="1">
                <a:cs typeface="Calibri"/>
              </a:rPr>
              <a:t> </a:t>
            </a:r>
            <a:r>
              <a:rPr lang="en-US" b="1" err="1">
                <a:cs typeface="Calibri"/>
              </a:rPr>
              <a:t>equipo</a:t>
            </a:r>
            <a:r>
              <a:rPr lang="en-US" b="1">
                <a:cs typeface="Calibri"/>
              </a:rPr>
              <a:t> </a:t>
            </a:r>
            <a:r>
              <a:rPr lang="en-US" b="1" err="1">
                <a:cs typeface="Calibri"/>
              </a:rPr>
              <a:t>hace</a:t>
            </a:r>
            <a:r>
              <a:rPr lang="en-US" b="1">
                <a:cs typeface="Calibri"/>
              </a:rPr>
              <a:t> </a:t>
            </a:r>
            <a:r>
              <a:rPr lang="en-US" b="1" err="1">
                <a:cs typeface="Calibri"/>
              </a:rPr>
              <a:t>peor</a:t>
            </a:r>
            <a:r>
              <a:rPr lang="en-US" b="1">
                <a:cs typeface="Calibri"/>
              </a:rPr>
              <a:t> ? </a:t>
            </a:r>
          </a:p>
          <a:p>
            <a:pPr lvl="1"/>
            <a:endParaRPr lang="en-US" b="0">
              <a:cs typeface="Calibri"/>
            </a:endParaRPr>
          </a:p>
          <a:p>
            <a:pPr lvl="0"/>
            <a:r>
              <a:rPr lang="en-US" b="1">
                <a:cs typeface="Calibri"/>
              </a:rPr>
              <a:t>PRINCIPIOS</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n-US" b="0">
                <a:cs typeface="Calibri"/>
              </a:rPr>
              <a:t>P1: </a:t>
            </a: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Nuestra mayor prioridad es satisfacer al cliente mediante la entrega temprana y continua de software con valor.</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2: Aceptamos que los requisitos cambien, incluso en etapas  tardías del desarrollo. Los procesos Ágiles aprovechan el cambio para proporcionar ventaja competitiva al cliente.</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3:Entregamos software funcional frecuentemente, entre dos semanas y dos meses, con preferencia por periodos de tiempo lo más corto posibles.</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4:Los responsables de negocio y los desarrolladores trabajamos juntos de forma cotidiana durante todo el proyecto. //eventos como </a:t>
            </a:r>
            <a:r>
              <a:rPr lang="es-CO" sz="1200" b="0" err="1">
                <a:solidFill>
                  <a:schemeClr val="bg1">
                    <a:lumMod val="50000"/>
                  </a:schemeClr>
                </a:solidFill>
                <a:latin typeface="Scotia Headline" panose="020B0503020203020204" pitchFamily="34" charset="0"/>
                <a:cs typeface="Arial" panose="020B0604020202020204" pitchFamily="34" charset="0"/>
                <a:sym typeface="Gilroy ExtraBold"/>
              </a:rPr>
              <a:t>Daily</a:t>
            </a: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5:Los proyectos se desarrollan en torno a individuos motivados. Hay que darles el entorno y el apoyo que necesitan, y confiarles la ejecución del trabajo.// Empoderamiento y autonomía donde permitimos la experimentación segura con el fin de buscar la mejor forma de trabajar como equipo.</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6:El método más eficiente y efectivo de comunicar información al equipo de desarrollo y entre sus miembros es la conversación cara a cara.</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7:El software funcionando es la principal medida progreso. Podemos tener buenos KPI para medir la velocidad </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8:Los procesos Ágiles promueven el desarrollo sostenible. Los promotores, desarrolladores y usuarios debemos ser capaces de mantener un ritmo constante de forma indefinida. Equipos sostenibles por un largo plazo</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9:La atención continua a la excelencia técnica y al buen diseño mejora la Agilidad. //Siempre estamos en búsqueda de mejorar la calidad del producto usando buenas practicas de desarrollo enfocando al equipo en desarrollar . </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10:La simplicidad, o el arte de maximizar la cantidad de trabajo no realizado, es esencial. P11:Las mejores arquitecturas, requisitos y diseños emergen de equipos autoorganizados.</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12:A intervalos regulares el equipo reflexiona sobre cómo ser más efectivo para a continuación ajustar y perfeccionar su comportamiento en consecuencia.</a:t>
            </a: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endParaRPr lang="en-C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82F72F-8E37-904D-8F87-C4C23F3C39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5133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5" name="Rectangle 2"/>
          <p:cNvSpPr>
            <a:spLocks noGrp="1" noRot="1" noChangeAspect="1" noChangeArrowheads="1" noTextEdit="1"/>
          </p:cNvSpPr>
          <p:nvPr>
            <p:ph type="sldImg"/>
          </p:nvPr>
        </p:nvSpPr>
        <p:spPr>
          <a:xfrm>
            <a:off x="-3856038" y="1174750"/>
            <a:ext cx="13827126" cy="7778750"/>
          </a:xfrm>
          <a:ln/>
        </p:spPr>
      </p:sp>
      <p:sp>
        <p:nvSpPr>
          <p:cNvPr id="354306" name="Rectangle 3"/>
          <p:cNvSpPr>
            <a:spLocks noGrp="1" noChangeArrowheads="1"/>
          </p:cNvSpPr>
          <p:nvPr>
            <p:ph type="body" idx="1"/>
          </p:nvPr>
        </p:nvSpPr>
        <p:spPr>
          <a:xfrm>
            <a:off x="493475" y="327798"/>
            <a:ext cx="5474069" cy="233855"/>
          </a:xfrm>
          <a:noFill/>
        </p:spPr>
        <p:txBody>
          <a:bodyPr/>
          <a:lstStyle/>
          <a:p>
            <a:pPr marL="0" indent="0">
              <a:buNone/>
            </a:pPr>
            <a:r>
              <a:rPr lang="en-US">
                <a:latin typeface="Arial" charset="0"/>
                <a:ea typeface="+mn-ea"/>
                <a:cs typeface="+mn-cs"/>
              </a:rPr>
              <a:t>Los </a:t>
            </a:r>
            <a:r>
              <a:rPr lang="en-US" err="1">
                <a:latin typeface="Arial" charset="0"/>
                <a:ea typeface="+mn-ea"/>
                <a:cs typeface="+mn-cs"/>
              </a:rPr>
              <a:t>principios</a:t>
            </a:r>
            <a:r>
              <a:rPr lang="en-US">
                <a:latin typeface="Arial" charset="0"/>
                <a:ea typeface="+mn-ea"/>
                <a:cs typeface="+mn-cs"/>
              </a:rPr>
              <a:t> de la </a:t>
            </a:r>
            <a:r>
              <a:rPr lang="en-US" err="1">
                <a:latin typeface="Arial" charset="0"/>
                <a:ea typeface="+mn-ea"/>
                <a:cs typeface="+mn-cs"/>
              </a:rPr>
              <a:t>cultura</a:t>
            </a:r>
            <a:r>
              <a:rPr lang="en-US">
                <a:latin typeface="Arial" charset="0"/>
                <a:ea typeface="+mn-ea"/>
                <a:cs typeface="+mn-cs"/>
              </a:rPr>
              <a:t> </a:t>
            </a:r>
            <a:r>
              <a:rPr lang="en-US" err="1">
                <a:latin typeface="Arial" charset="0"/>
                <a:ea typeface="+mn-ea"/>
                <a:cs typeface="+mn-cs"/>
              </a:rPr>
              <a:t>Ágil</a:t>
            </a:r>
            <a:r>
              <a:rPr lang="en-US">
                <a:latin typeface="Arial" charset="0"/>
                <a:ea typeface="+mn-ea"/>
                <a:cs typeface="+mn-cs"/>
              </a:rPr>
              <a:t>/</a:t>
            </a:r>
            <a:r>
              <a:rPr lang="en-US" err="1">
                <a:latin typeface="Arial" charset="0"/>
                <a:ea typeface="+mn-ea"/>
                <a:cs typeface="+mn-cs"/>
              </a:rPr>
              <a:t>Ágile</a:t>
            </a:r>
            <a:r>
              <a:rPr lang="en-US">
                <a:latin typeface="Arial" charset="0"/>
                <a:ea typeface="+mn-ea"/>
                <a:cs typeface="+mn-cs"/>
              </a:rPr>
              <a:t> </a:t>
            </a:r>
            <a:r>
              <a:rPr lang="en-US" err="1">
                <a:latin typeface="Arial" charset="0"/>
                <a:ea typeface="+mn-ea"/>
                <a:cs typeface="+mn-cs"/>
              </a:rPr>
              <a:t>fueron</a:t>
            </a:r>
            <a:r>
              <a:rPr lang="en-US">
                <a:latin typeface="Arial" charset="0"/>
                <a:ea typeface="+mn-ea"/>
                <a:cs typeface="+mn-cs"/>
              </a:rPr>
              <a:t> </a:t>
            </a:r>
            <a:r>
              <a:rPr lang="en-US" err="1">
                <a:latin typeface="Arial" charset="0"/>
                <a:ea typeface="+mn-ea"/>
                <a:cs typeface="+mn-cs"/>
              </a:rPr>
              <a:t>establecidos</a:t>
            </a:r>
            <a:r>
              <a:rPr lang="en-US">
                <a:latin typeface="Arial" charset="0"/>
                <a:ea typeface="+mn-ea"/>
                <a:cs typeface="+mn-cs"/>
              </a:rPr>
              <a:t> en 2001 </a:t>
            </a:r>
            <a:r>
              <a:rPr lang="en-US" err="1">
                <a:latin typeface="Arial" charset="0"/>
                <a:ea typeface="+mn-ea"/>
                <a:cs typeface="+mn-cs"/>
              </a:rPr>
              <a:t>por</a:t>
            </a:r>
            <a:r>
              <a:rPr lang="en-US">
                <a:latin typeface="Arial" charset="0"/>
                <a:ea typeface="+mn-ea"/>
                <a:cs typeface="+mn-cs"/>
              </a:rPr>
              <a:t> </a:t>
            </a:r>
            <a:r>
              <a:rPr lang="en-US" err="1">
                <a:latin typeface="Arial" charset="0"/>
                <a:ea typeface="+mn-ea"/>
                <a:cs typeface="+mn-cs"/>
              </a:rPr>
              <a:t>una</a:t>
            </a:r>
            <a:r>
              <a:rPr lang="en-US">
                <a:latin typeface="Arial" charset="0"/>
                <a:ea typeface="+mn-ea"/>
                <a:cs typeface="+mn-cs"/>
              </a:rPr>
              <a:t> </a:t>
            </a:r>
            <a:r>
              <a:rPr lang="en-US" err="1">
                <a:latin typeface="Arial" charset="0"/>
                <a:ea typeface="+mn-ea"/>
                <a:cs typeface="+mn-cs"/>
              </a:rPr>
              <a:t>alianza</a:t>
            </a:r>
            <a:r>
              <a:rPr lang="en-US">
                <a:latin typeface="Arial" charset="0"/>
                <a:ea typeface="+mn-ea"/>
                <a:cs typeface="+mn-cs"/>
              </a:rPr>
              <a:t> de </a:t>
            </a:r>
            <a:r>
              <a:rPr lang="en-US" err="1">
                <a:latin typeface="Arial" charset="0"/>
                <a:ea typeface="+mn-ea"/>
                <a:cs typeface="+mn-cs"/>
              </a:rPr>
              <a:t>expertos</a:t>
            </a:r>
            <a:r>
              <a:rPr lang="en-US">
                <a:latin typeface="Arial" charset="0"/>
                <a:ea typeface="+mn-ea"/>
                <a:cs typeface="+mn-cs"/>
              </a:rPr>
              <a:t> en software (</a:t>
            </a:r>
            <a:r>
              <a:rPr lang="es-ES">
                <a:latin typeface="Corbel" panose="020B0503020204020204" pitchFamily="34" charset="0"/>
              </a:rPr>
              <a:t>fundadores Scrum, Cristal, Extreme </a:t>
            </a:r>
            <a:r>
              <a:rPr lang="es-ES" err="1">
                <a:latin typeface="Corbel" panose="020B0503020204020204" pitchFamily="34" charset="0"/>
              </a:rPr>
              <a:t>Programming</a:t>
            </a:r>
            <a:r>
              <a:rPr lang="es-ES">
                <a:latin typeface="Corbel" panose="020B0503020204020204" pitchFamily="34" charset="0"/>
              </a:rPr>
              <a:t> (XP) y </a:t>
            </a:r>
          </a:p>
          <a:p>
            <a:r>
              <a:rPr lang="es-ES">
                <a:latin typeface="Corbel" panose="020B0503020204020204" pitchFamily="34" charset="0"/>
              </a:rPr>
              <a:t>Dynamic </a:t>
            </a:r>
            <a:r>
              <a:rPr lang="es-ES" err="1">
                <a:latin typeface="Corbel" panose="020B0503020204020204" pitchFamily="34" charset="0"/>
              </a:rPr>
              <a:t>Systems</a:t>
            </a:r>
            <a:r>
              <a:rPr lang="es-ES">
                <a:latin typeface="Corbel" panose="020B0503020204020204" pitchFamily="34" charset="0"/>
              </a:rPr>
              <a:t> </a:t>
            </a:r>
            <a:r>
              <a:rPr lang="es-ES" err="1">
                <a:latin typeface="Corbel" panose="020B0503020204020204" pitchFamily="34" charset="0"/>
              </a:rPr>
              <a:t>Development</a:t>
            </a:r>
            <a:r>
              <a:rPr lang="es-ES">
                <a:latin typeface="Corbel" panose="020B0503020204020204" pitchFamily="34" charset="0"/>
              </a:rPr>
              <a:t> </a:t>
            </a:r>
            <a:r>
              <a:rPr lang="es-ES" err="1">
                <a:latin typeface="Corbel" panose="020B0503020204020204" pitchFamily="34" charset="0"/>
              </a:rPr>
              <a:t>Method</a:t>
            </a:r>
            <a:r>
              <a:rPr lang="es-ES">
                <a:latin typeface="Corbel" panose="020B0503020204020204" pitchFamily="34" charset="0"/>
              </a:rPr>
              <a:t> (DSDM)</a:t>
            </a:r>
            <a:r>
              <a:rPr lang="en-US">
                <a:latin typeface="Arial" charset="0"/>
                <a:ea typeface="+mn-ea"/>
                <a:cs typeface="+mn-cs"/>
              </a:rPr>
              <a:t>), que </a:t>
            </a:r>
            <a:r>
              <a:rPr lang="en-US" err="1">
                <a:latin typeface="Arial" charset="0"/>
                <a:ea typeface="+mn-ea"/>
                <a:cs typeface="+mn-cs"/>
              </a:rPr>
              <a:t>buscan</a:t>
            </a:r>
            <a:r>
              <a:rPr lang="en-US">
                <a:latin typeface="Arial" charset="0"/>
                <a:ea typeface="+mn-ea"/>
                <a:cs typeface="+mn-cs"/>
              </a:rPr>
              <a:t> </a:t>
            </a:r>
            <a:r>
              <a:rPr lang="en-US" err="1">
                <a:latin typeface="Arial" charset="0"/>
                <a:ea typeface="+mn-ea"/>
                <a:cs typeface="+mn-cs"/>
              </a:rPr>
              <a:t>mejorar</a:t>
            </a:r>
            <a:r>
              <a:rPr lang="en-US">
                <a:latin typeface="Arial" charset="0"/>
                <a:ea typeface="+mn-ea"/>
                <a:cs typeface="+mn-cs"/>
              </a:rPr>
              <a:t> el Desarrollo de software </a:t>
            </a:r>
          </a:p>
          <a:p>
            <a:endParaRPr lang="en-US">
              <a:latin typeface="Arial" charset="0"/>
              <a:ea typeface="+mn-ea"/>
              <a:cs typeface="+mn-cs"/>
            </a:endParaRPr>
          </a:p>
          <a:p>
            <a:r>
              <a:rPr lang="en-US">
                <a:latin typeface="Arial" charset="0"/>
                <a:ea typeface="+mn-ea"/>
                <a:cs typeface="+mn-cs"/>
              </a:rPr>
              <a:t>1. No </a:t>
            </a:r>
            <a:r>
              <a:rPr lang="en-US" err="1">
                <a:latin typeface="Arial" charset="0"/>
                <a:ea typeface="+mn-ea"/>
                <a:cs typeface="+mn-cs"/>
              </a:rPr>
              <a:t>importa</a:t>
            </a:r>
            <a:r>
              <a:rPr lang="en-US">
                <a:latin typeface="Arial" charset="0"/>
                <a:ea typeface="+mn-ea"/>
                <a:cs typeface="+mn-cs"/>
              </a:rPr>
              <a:t> </a:t>
            </a:r>
            <a:r>
              <a:rPr lang="en-US" err="1">
                <a:latin typeface="Arial" charset="0"/>
                <a:ea typeface="+mn-ea"/>
                <a:cs typeface="+mn-cs"/>
              </a:rPr>
              <a:t>si</a:t>
            </a:r>
            <a:r>
              <a:rPr lang="en-US">
                <a:latin typeface="Arial" charset="0"/>
                <a:ea typeface="+mn-ea"/>
                <a:cs typeface="+mn-cs"/>
              </a:rPr>
              <a:t> </a:t>
            </a:r>
            <a:r>
              <a:rPr lang="en-US" err="1">
                <a:latin typeface="Arial" charset="0"/>
                <a:ea typeface="+mn-ea"/>
                <a:cs typeface="+mn-cs"/>
              </a:rPr>
              <a:t>usas</a:t>
            </a:r>
            <a:r>
              <a:rPr lang="en-US">
                <a:latin typeface="Arial" charset="0"/>
                <a:ea typeface="+mn-ea"/>
                <a:cs typeface="+mn-cs"/>
              </a:rPr>
              <a:t> la major </a:t>
            </a:r>
            <a:r>
              <a:rPr lang="en-US" err="1">
                <a:latin typeface="Arial" charset="0"/>
                <a:ea typeface="+mn-ea"/>
                <a:cs typeface="+mn-cs"/>
              </a:rPr>
              <a:t>tecnología</a:t>
            </a:r>
            <a:r>
              <a:rPr lang="en-US">
                <a:latin typeface="Arial" charset="0"/>
                <a:ea typeface="+mn-ea"/>
                <a:cs typeface="+mn-cs"/>
              </a:rPr>
              <a:t> y </a:t>
            </a:r>
            <a:r>
              <a:rPr lang="en-US" err="1">
                <a:latin typeface="Arial" charset="0"/>
                <a:ea typeface="+mn-ea"/>
                <a:cs typeface="+mn-cs"/>
              </a:rPr>
              <a:t>los</a:t>
            </a:r>
            <a:r>
              <a:rPr lang="en-US">
                <a:latin typeface="Arial" charset="0"/>
                <a:ea typeface="+mn-ea"/>
                <a:cs typeface="+mn-cs"/>
              </a:rPr>
              <a:t> </a:t>
            </a:r>
            <a:r>
              <a:rPr lang="en-US" err="1">
                <a:latin typeface="Arial" charset="0"/>
                <a:ea typeface="+mn-ea"/>
                <a:cs typeface="+mn-cs"/>
              </a:rPr>
              <a:t>mejores</a:t>
            </a:r>
            <a:r>
              <a:rPr lang="en-US">
                <a:latin typeface="Arial" charset="0"/>
                <a:ea typeface="+mn-ea"/>
                <a:cs typeface="+mn-cs"/>
              </a:rPr>
              <a:t> </a:t>
            </a:r>
            <a:r>
              <a:rPr lang="en-US" err="1">
                <a:latin typeface="Arial" charset="0"/>
                <a:ea typeface="+mn-ea"/>
                <a:cs typeface="+mn-cs"/>
              </a:rPr>
              <a:t>procesos</a:t>
            </a:r>
            <a:r>
              <a:rPr lang="en-US">
                <a:latin typeface="Arial" charset="0"/>
                <a:ea typeface="+mn-ea"/>
                <a:cs typeface="+mn-cs"/>
              </a:rPr>
              <a:t>, </a:t>
            </a:r>
            <a:r>
              <a:rPr lang="en-US" err="1">
                <a:latin typeface="Arial" charset="0"/>
                <a:ea typeface="+mn-ea"/>
                <a:cs typeface="+mn-cs"/>
              </a:rPr>
              <a:t>realmente</a:t>
            </a:r>
            <a:r>
              <a:rPr lang="en-US">
                <a:latin typeface="Arial" charset="0"/>
                <a:ea typeface="+mn-ea"/>
                <a:cs typeface="+mn-cs"/>
              </a:rPr>
              <a:t> lo que </a:t>
            </a:r>
            <a:r>
              <a:rPr lang="en-US" err="1">
                <a:latin typeface="Arial" charset="0"/>
                <a:ea typeface="+mn-ea"/>
                <a:cs typeface="+mn-cs"/>
              </a:rPr>
              <a:t>va</a:t>
            </a:r>
            <a:r>
              <a:rPr lang="en-US">
                <a:latin typeface="Arial" charset="0"/>
                <a:ea typeface="+mn-ea"/>
                <a:cs typeface="+mn-cs"/>
              </a:rPr>
              <a:t> a ser </a:t>
            </a:r>
            <a:r>
              <a:rPr lang="en-US" err="1">
                <a:latin typeface="Arial" charset="0"/>
                <a:ea typeface="+mn-ea"/>
                <a:cs typeface="+mn-cs"/>
              </a:rPr>
              <a:t>diferencia</a:t>
            </a:r>
            <a:r>
              <a:rPr lang="en-US">
                <a:latin typeface="Arial" charset="0"/>
                <a:ea typeface="+mn-ea"/>
                <a:cs typeface="+mn-cs"/>
              </a:rPr>
              <a:t> son las personas con las que </a:t>
            </a:r>
            <a:r>
              <a:rPr lang="en-US" err="1">
                <a:latin typeface="Arial" charset="0"/>
                <a:ea typeface="+mn-ea"/>
                <a:cs typeface="+mn-cs"/>
              </a:rPr>
              <a:t>trabajas</a:t>
            </a:r>
            <a:r>
              <a:rPr lang="en-US">
                <a:latin typeface="Arial" charset="0"/>
                <a:ea typeface="+mn-ea"/>
                <a:cs typeface="+mn-cs"/>
              </a:rPr>
              <a:t> y las </a:t>
            </a:r>
            <a:r>
              <a:rPr lang="en-US" err="1">
                <a:latin typeface="Arial" charset="0"/>
                <a:ea typeface="+mn-ea"/>
                <a:cs typeface="+mn-cs"/>
              </a:rPr>
              <a:t>interacciones</a:t>
            </a:r>
            <a:r>
              <a:rPr lang="en-US">
                <a:latin typeface="Arial" charset="0"/>
                <a:ea typeface="+mn-ea"/>
                <a:cs typeface="+mn-cs"/>
              </a:rPr>
              <a:t> entre </a:t>
            </a:r>
            <a:r>
              <a:rPr lang="en-US" err="1">
                <a:latin typeface="Arial" charset="0"/>
                <a:ea typeface="+mn-ea"/>
                <a:cs typeface="+mn-cs"/>
              </a:rPr>
              <a:t>ellas</a:t>
            </a:r>
            <a:r>
              <a:rPr lang="en-US">
                <a:latin typeface="Arial" charset="0"/>
                <a:ea typeface="+mn-ea"/>
                <a:cs typeface="+mn-cs"/>
              </a:rPr>
              <a:t> lo que </a:t>
            </a:r>
            <a:r>
              <a:rPr lang="en-US" err="1">
                <a:latin typeface="Arial" charset="0"/>
                <a:ea typeface="+mn-ea"/>
                <a:cs typeface="+mn-cs"/>
              </a:rPr>
              <a:t>maximiza</a:t>
            </a:r>
            <a:r>
              <a:rPr lang="en-US">
                <a:latin typeface="Arial" charset="0"/>
                <a:ea typeface="+mn-ea"/>
                <a:cs typeface="+mn-cs"/>
              </a:rPr>
              <a:t> la </a:t>
            </a:r>
            <a:r>
              <a:rPr lang="en-US" err="1">
                <a:latin typeface="Arial" charset="0"/>
                <a:ea typeface="+mn-ea"/>
                <a:cs typeface="+mn-cs"/>
              </a:rPr>
              <a:t>generación</a:t>
            </a:r>
            <a:r>
              <a:rPr lang="en-US">
                <a:latin typeface="Arial" charset="0"/>
                <a:ea typeface="+mn-ea"/>
                <a:cs typeface="+mn-cs"/>
              </a:rPr>
              <a:t> de valor y el </a:t>
            </a:r>
            <a:r>
              <a:rPr lang="en-US" err="1">
                <a:latin typeface="Arial" charset="0"/>
                <a:ea typeface="+mn-ea"/>
                <a:cs typeface="+mn-cs"/>
              </a:rPr>
              <a:t>rendimiento</a:t>
            </a:r>
            <a:r>
              <a:rPr lang="en-US">
                <a:latin typeface="Arial" charset="0"/>
                <a:ea typeface="+mn-ea"/>
                <a:cs typeface="+mn-cs"/>
              </a:rPr>
              <a:t> del </a:t>
            </a:r>
            <a:r>
              <a:rPr lang="en-US" err="1">
                <a:latin typeface="Arial" charset="0"/>
                <a:ea typeface="+mn-ea"/>
                <a:cs typeface="+mn-cs"/>
              </a:rPr>
              <a:t>equipo</a:t>
            </a:r>
            <a:r>
              <a:rPr lang="en-US">
                <a:latin typeface="Arial" charset="0"/>
                <a:ea typeface="+mn-ea"/>
                <a:cs typeface="+mn-cs"/>
              </a:rPr>
              <a:t>. </a:t>
            </a:r>
          </a:p>
          <a:p>
            <a:endParaRPr lang="en-US">
              <a:latin typeface="Arial" charset="0"/>
              <a:ea typeface="+mn-ea"/>
              <a:cs typeface="+mn-cs"/>
            </a:endParaRPr>
          </a:p>
          <a:p>
            <a:r>
              <a:rPr lang="en-US">
                <a:latin typeface="Arial" charset="0"/>
                <a:ea typeface="+mn-ea"/>
                <a:cs typeface="+mn-cs"/>
              </a:rPr>
              <a:t>2. No </a:t>
            </a:r>
            <a:r>
              <a:rPr lang="en-US" err="1">
                <a:latin typeface="Arial" charset="0"/>
                <a:ea typeface="+mn-ea"/>
                <a:cs typeface="+mn-cs"/>
              </a:rPr>
              <a:t>implica</a:t>
            </a:r>
            <a:r>
              <a:rPr lang="en-US">
                <a:latin typeface="Arial" charset="0"/>
                <a:ea typeface="+mn-ea"/>
                <a:cs typeface="+mn-cs"/>
              </a:rPr>
              <a:t> que </a:t>
            </a:r>
            <a:r>
              <a:rPr lang="en-US" err="1">
                <a:latin typeface="Arial" charset="0"/>
                <a:ea typeface="+mn-ea"/>
                <a:cs typeface="+mn-cs"/>
              </a:rPr>
              <a:t>como</a:t>
            </a:r>
            <a:r>
              <a:rPr lang="en-US">
                <a:latin typeface="Arial" charset="0"/>
                <a:ea typeface="+mn-ea"/>
                <a:cs typeface="+mn-cs"/>
              </a:rPr>
              <a:t> </a:t>
            </a:r>
            <a:r>
              <a:rPr lang="en-US" err="1">
                <a:latin typeface="Arial" charset="0"/>
                <a:ea typeface="+mn-ea"/>
                <a:cs typeface="+mn-cs"/>
              </a:rPr>
              <a:t>equipo</a:t>
            </a:r>
            <a:r>
              <a:rPr lang="en-US">
                <a:latin typeface="Arial" charset="0"/>
                <a:ea typeface="+mn-ea"/>
                <a:cs typeface="+mn-cs"/>
              </a:rPr>
              <a:t> </a:t>
            </a:r>
            <a:r>
              <a:rPr lang="en-US" err="1">
                <a:latin typeface="Arial" charset="0"/>
                <a:ea typeface="+mn-ea"/>
                <a:cs typeface="+mn-cs"/>
              </a:rPr>
              <a:t>ágil</a:t>
            </a:r>
            <a:r>
              <a:rPr lang="en-US">
                <a:latin typeface="Arial" charset="0"/>
                <a:ea typeface="+mn-ea"/>
                <a:cs typeface="+mn-cs"/>
              </a:rPr>
              <a:t> no </a:t>
            </a:r>
            <a:r>
              <a:rPr lang="en-US" err="1">
                <a:latin typeface="Arial" charset="0"/>
                <a:ea typeface="+mn-ea"/>
                <a:cs typeface="+mn-cs"/>
              </a:rPr>
              <a:t>documentamos</a:t>
            </a:r>
            <a:r>
              <a:rPr lang="en-US">
                <a:latin typeface="Arial" charset="0"/>
                <a:ea typeface="+mn-ea"/>
                <a:cs typeface="+mn-cs"/>
              </a:rPr>
              <a:t>, </a:t>
            </a:r>
            <a:r>
              <a:rPr lang="en-US" err="1">
                <a:latin typeface="Arial" charset="0"/>
                <a:ea typeface="+mn-ea"/>
                <a:cs typeface="+mn-cs"/>
              </a:rPr>
              <a:t>simplemente</a:t>
            </a:r>
            <a:r>
              <a:rPr lang="en-US">
                <a:latin typeface="Arial" charset="0"/>
                <a:ea typeface="+mn-ea"/>
                <a:cs typeface="+mn-cs"/>
              </a:rPr>
              <a:t> </a:t>
            </a:r>
            <a:r>
              <a:rPr lang="en-US" err="1">
                <a:latin typeface="Arial" charset="0"/>
                <a:ea typeface="+mn-ea"/>
                <a:cs typeface="+mn-cs"/>
              </a:rPr>
              <a:t>damos</a:t>
            </a:r>
            <a:r>
              <a:rPr lang="en-US">
                <a:latin typeface="Arial" charset="0"/>
                <a:ea typeface="+mn-ea"/>
                <a:cs typeface="+mn-cs"/>
              </a:rPr>
              <a:t> </a:t>
            </a:r>
            <a:r>
              <a:rPr lang="en-US" err="1">
                <a:latin typeface="Arial" charset="0"/>
                <a:ea typeface="+mn-ea"/>
                <a:cs typeface="+mn-cs"/>
              </a:rPr>
              <a:t>más</a:t>
            </a:r>
            <a:r>
              <a:rPr lang="en-US">
                <a:latin typeface="Arial" charset="0"/>
                <a:ea typeface="+mn-ea"/>
                <a:cs typeface="+mn-cs"/>
              </a:rPr>
              <a:t> </a:t>
            </a:r>
            <a:r>
              <a:rPr lang="en-US" err="1">
                <a:latin typeface="Arial" charset="0"/>
                <a:ea typeface="+mn-ea"/>
                <a:cs typeface="+mn-cs"/>
              </a:rPr>
              <a:t>prioridad</a:t>
            </a:r>
            <a:r>
              <a:rPr lang="en-US">
                <a:latin typeface="Arial" charset="0"/>
                <a:ea typeface="+mn-ea"/>
                <a:cs typeface="+mn-cs"/>
              </a:rPr>
              <a:t> a </a:t>
            </a:r>
            <a:r>
              <a:rPr lang="en-US" err="1">
                <a:latin typeface="Arial" charset="0"/>
                <a:ea typeface="+mn-ea"/>
                <a:cs typeface="+mn-cs"/>
              </a:rPr>
              <a:t>nuestra</a:t>
            </a:r>
            <a:r>
              <a:rPr lang="en-US">
                <a:latin typeface="Arial" charset="0"/>
                <a:ea typeface="+mn-ea"/>
                <a:cs typeface="+mn-cs"/>
              </a:rPr>
              <a:t> principal </a:t>
            </a:r>
            <a:r>
              <a:rPr lang="en-US" err="1">
                <a:latin typeface="Arial" charset="0"/>
                <a:ea typeface="+mn-ea"/>
                <a:cs typeface="+mn-cs"/>
              </a:rPr>
              <a:t>medida</a:t>
            </a:r>
            <a:r>
              <a:rPr lang="en-US">
                <a:latin typeface="Arial" charset="0"/>
                <a:ea typeface="+mn-ea"/>
                <a:cs typeface="+mn-cs"/>
              </a:rPr>
              <a:t> de </a:t>
            </a:r>
            <a:r>
              <a:rPr lang="en-US" err="1">
                <a:latin typeface="Arial" charset="0"/>
                <a:ea typeface="+mn-ea"/>
                <a:cs typeface="+mn-cs"/>
              </a:rPr>
              <a:t>progreso</a:t>
            </a:r>
            <a:r>
              <a:rPr lang="en-US">
                <a:latin typeface="Arial" charset="0"/>
                <a:ea typeface="+mn-ea"/>
                <a:cs typeface="+mn-cs"/>
              </a:rPr>
              <a:t> que es software o </a:t>
            </a:r>
            <a:r>
              <a:rPr lang="en-US" err="1">
                <a:latin typeface="Arial" charset="0"/>
                <a:ea typeface="+mn-ea"/>
                <a:cs typeface="+mn-cs"/>
              </a:rPr>
              <a:t>producto</a:t>
            </a:r>
            <a:r>
              <a:rPr lang="en-US">
                <a:latin typeface="Arial" charset="0"/>
                <a:ea typeface="+mn-ea"/>
                <a:cs typeface="+mn-cs"/>
              </a:rPr>
              <a:t> </a:t>
            </a:r>
            <a:r>
              <a:rPr lang="en-US" err="1">
                <a:latin typeface="Arial" charset="0"/>
                <a:ea typeface="+mn-ea"/>
                <a:cs typeface="+mn-cs"/>
              </a:rPr>
              <a:t>funcionando</a:t>
            </a:r>
            <a:r>
              <a:rPr lang="en-US">
                <a:latin typeface="Arial" charset="0"/>
                <a:ea typeface="+mn-ea"/>
                <a:cs typeface="+mn-cs"/>
              </a:rPr>
              <a:t> </a:t>
            </a:r>
            <a:r>
              <a:rPr lang="en-US" err="1">
                <a:latin typeface="Arial" charset="0"/>
                <a:ea typeface="+mn-ea"/>
                <a:cs typeface="+mn-cs"/>
              </a:rPr>
              <a:t>generando</a:t>
            </a:r>
            <a:r>
              <a:rPr lang="en-US">
                <a:latin typeface="Arial" charset="0"/>
                <a:ea typeface="+mn-ea"/>
                <a:cs typeface="+mn-cs"/>
              </a:rPr>
              <a:t> la </a:t>
            </a:r>
            <a:r>
              <a:rPr lang="en-US" err="1">
                <a:latin typeface="Arial" charset="0"/>
                <a:ea typeface="+mn-ea"/>
                <a:cs typeface="+mn-cs"/>
              </a:rPr>
              <a:t>documentación</a:t>
            </a:r>
            <a:r>
              <a:rPr lang="en-US">
                <a:latin typeface="Arial" charset="0"/>
                <a:ea typeface="+mn-ea"/>
                <a:cs typeface="+mn-cs"/>
              </a:rPr>
              <a:t> </a:t>
            </a:r>
            <a:r>
              <a:rPr lang="en-US" err="1">
                <a:latin typeface="Arial" charset="0"/>
                <a:ea typeface="+mn-ea"/>
                <a:cs typeface="+mn-cs"/>
              </a:rPr>
              <a:t>suficiente</a:t>
            </a:r>
            <a:r>
              <a:rPr lang="en-US">
                <a:latin typeface="Arial" charset="0"/>
                <a:ea typeface="+mn-ea"/>
                <a:cs typeface="+mn-cs"/>
              </a:rPr>
              <a:t> que </a:t>
            </a:r>
            <a:r>
              <a:rPr lang="en-US" err="1">
                <a:latin typeface="Arial" charset="0"/>
                <a:ea typeface="+mn-ea"/>
                <a:cs typeface="+mn-cs"/>
              </a:rPr>
              <a:t>aporte</a:t>
            </a:r>
            <a:r>
              <a:rPr lang="en-US">
                <a:latin typeface="Arial" charset="0"/>
                <a:ea typeface="+mn-ea"/>
                <a:cs typeface="+mn-cs"/>
              </a:rPr>
              <a:t> valor. </a:t>
            </a:r>
          </a:p>
          <a:p>
            <a:endParaRPr lang="en-US">
              <a:latin typeface="Arial" charset="0"/>
              <a:ea typeface="+mn-ea"/>
              <a:cs typeface="+mn-cs"/>
            </a:endParaRPr>
          </a:p>
          <a:p>
            <a:r>
              <a:rPr lang="en-US">
                <a:latin typeface="Arial" charset="0"/>
                <a:ea typeface="+mn-ea"/>
                <a:cs typeface="+mn-cs"/>
              </a:rPr>
              <a:t>3.Trabajamos </a:t>
            </a:r>
            <a:r>
              <a:rPr lang="en-US" err="1">
                <a:latin typeface="Arial" charset="0"/>
                <a:ea typeface="+mn-ea"/>
                <a:cs typeface="+mn-cs"/>
              </a:rPr>
              <a:t>cotidianamente</a:t>
            </a:r>
            <a:r>
              <a:rPr lang="en-US">
                <a:latin typeface="Arial" charset="0"/>
                <a:ea typeface="+mn-ea"/>
                <a:cs typeface="+mn-cs"/>
              </a:rPr>
              <a:t> de forma </a:t>
            </a:r>
            <a:r>
              <a:rPr lang="en-US" err="1">
                <a:latin typeface="Arial" charset="0"/>
                <a:ea typeface="+mn-ea"/>
                <a:cs typeface="+mn-cs"/>
              </a:rPr>
              <a:t>colaborativa</a:t>
            </a:r>
            <a:r>
              <a:rPr lang="en-US">
                <a:latin typeface="Arial" charset="0"/>
                <a:ea typeface="+mn-ea"/>
                <a:cs typeface="+mn-cs"/>
              </a:rPr>
              <a:t> </a:t>
            </a:r>
            <a:r>
              <a:rPr lang="en-US" err="1">
                <a:latin typeface="Arial" charset="0"/>
                <a:ea typeface="+mn-ea"/>
                <a:cs typeface="+mn-cs"/>
              </a:rPr>
              <a:t>asegurando</a:t>
            </a:r>
            <a:r>
              <a:rPr lang="en-US">
                <a:latin typeface="Arial" charset="0"/>
                <a:ea typeface="+mn-ea"/>
                <a:cs typeface="+mn-cs"/>
              </a:rPr>
              <a:t> la </a:t>
            </a:r>
            <a:r>
              <a:rPr lang="en-US" err="1">
                <a:latin typeface="Arial" charset="0"/>
                <a:ea typeface="+mn-ea"/>
                <a:cs typeface="+mn-cs"/>
              </a:rPr>
              <a:t>entrega</a:t>
            </a:r>
            <a:r>
              <a:rPr lang="en-US">
                <a:latin typeface="Arial" charset="0"/>
                <a:ea typeface="+mn-ea"/>
                <a:cs typeface="+mn-cs"/>
              </a:rPr>
              <a:t> de valor. </a:t>
            </a:r>
          </a:p>
          <a:p>
            <a:endParaRPr lang="en-US">
              <a:latin typeface="Arial" charset="0"/>
              <a:ea typeface="+mn-ea"/>
              <a:cs typeface="+mn-cs"/>
            </a:endParaRPr>
          </a:p>
          <a:p>
            <a:r>
              <a:rPr lang="en-US">
                <a:latin typeface="Arial" charset="0"/>
                <a:ea typeface="+mn-ea"/>
                <a:cs typeface="+mn-cs"/>
              </a:rPr>
              <a:t>4. </a:t>
            </a:r>
            <a:r>
              <a:rPr lang="en-US" err="1">
                <a:latin typeface="Arial" charset="0"/>
                <a:ea typeface="+mn-ea"/>
                <a:cs typeface="+mn-cs"/>
              </a:rPr>
              <a:t>Predictividad</a:t>
            </a:r>
            <a:r>
              <a:rPr lang="en-US">
                <a:latin typeface="Arial" charset="0"/>
                <a:ea typeface="+mn-ea"/>
                <a:cs typeface="+mn-cs"/>
              </a:rPr>
              <a:t>, no </a:t>
            </a:r>
            <a:r>
              <a:rPr lang="en-US" err="1">
                <a:latin typeface="Arial" charset="0"/>
                <a:ea typeface="+mn-ea"/>
                <a:cs typeface="+mn-cs"/>
              </a:rPr>
              <a:t>podemos</a:t>
            </a:r>
            <a:r>
              <a:rPr lang="en-US">
                <a:latin typeface="Arial" charset="0"/>
                <a:ea typeface="+mn-ea"/>
                <a:cs typeface="+mn-cs"/>
              </a:rPr>
              <a:t> </a:t>
            </a:r>
            <a:r>
              <a:rPr lang="en-US" err="1">
                <a:latin typeface="Arial" charset="0"/>
                <a:ea typeface="+mn-ea"/>
                <a:cs typeface="+mn-cs"/>
              </a:rPr>
              <a:t>adivinar</a:t>
            </a:r>
            <a:r>
              <a:rPr lang="en-US">
                <a:latin typeface="Arial" charset="0"/>
                <a:ea typeface="+mn-ea"/>
                <a:cs typeface="+mn-cs"/>
              </a:rPr>
              <a:t> el </a:t>
            </a:r>
            <a:r>
              <a:rPr lang="en-US" err="1">
                <a:latin typeface="Arial" charset="0"/>
                <a:ea typeface="+mn-ea"/>
                <a:cs typeface="+mn-cs"/>
              </a:rPr>
              <a:t>futuro</a:t>
            </a:r>
            <a:r>
              <a:rPr lang="en-US">
                <a:latin typeface="Arial" charset="0"/>
                <a:ea typeface="+mn-ea"/>
                <a:cs typeface="+mn-cs"/>
              </a:rPr>
              <a:t> </a:t>
            </a:r>
            <a:endParaRPr lang="en-US">
              <a:latin typeface="Arial" charset="0"/>
            </a:endParaRPr>
          </a:p>
        </p:txBody>
      </p:sp>
    </p:spTree>
    <p:extLst>
      <p:ext uri="{BB962C8B-B14F-4D97-AF65-F5344CB8AC3E}">
        <p14:creationId xmlns:p14="http://schemas.microsoft.com/office/powerpoint/2010/main" val="1750583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225" y="695325"/>
            <a:ext cx="6178550" cy="3476625"/>
          </a:xfrm>
        </p:spPr>
      </p:sp>
      <p:sp>
        <p:nvSpPr>
          <p:cNvPr id="3" name="Notes Placeholder 2"/>
          <p:cNvSpPr>
            <a:spLocks noGrp="1"/>
          </p:cNvSpPr>
          <p:nvPr>
            <p:ph type="body" idx="1"/>
          </p:nvPr>
        </p:nvSpPr>
        <p:spPr/>
        <p:txBody>
          <a:bodyPr/>
          <a:lstStyle/>
          <a:p>
            <a:pPr marL="0" indent="0">
              <a:buFont typeface="Arial,Sans-Serif"/>
              <a:buNone/>
            </a:pPr>
            <a:r>
              <a:rPr lang="en-US" err="1"/>
              <a:t>Ahora</a:t>
            </a:r>
            <a:r>
              <a:rPr lang="en-US"/>
              <a:t> </a:t>
            </a:r>
            <a:r>
              <a:rPr lang="en-US" err="1"/>
              <a:t>hablemos</a:t>
            </a:r>
            <a:r>
              <a:rPr lang="en-US"/>
              <a:t> del </a:t>
            </a:r>
            <a:r>
              <a:rPr lang="en-US" err="1"/>
              <a:t>tronco</a:t>
            </a:r>
            <a:r>
              <a:rPr lang="en-US"/>
              <a:t> del tree of agility</a:t>
            </a:r>
          </a:p>
          <a:p>
            <a:pPr marL="0" indent="0">
              <a:buFont typeface="Arial,Sans-Serif"/>
              <a:buNone/>
            </a:pPr>
            <a:endParaRPr lang="en-US"/>
          </a:p>
          <a:p>
            <a:pPr marL="171450" indent="-171450">
              <a:buFont typeface="Arial,Sans-Serif"/>
              <a:buChar char="•"/>
            </a:pPr>
            <a:r>
              <a:rPr lang="en-US"/>
              <a:t>El </a:t>
            </a:r>
            <a:r>
              <a:rPr lang="en-US" err="1"/>
              <a:t>manifiesto</a:t>
            </a:r>
            <a:r>
              <a:rPr lang="en-US"/>
              <a:t> </a:t>
            </a:r>
            <a:r>
              <a:rPr lang="en-US" err="1"/>
              <a:t>ágil</a:t>
            </a:r>
            <a:r>
              <a:rPr lang="en-US"/>
              <a:t> es un “mantra” que </a:t>
            </a:r>
            <a:r>
              <a:rPr lang="en-US" err="1"/>
              <a:t>nos</a:t>
            </a:r>
            <a:r>
              <a:rPr lang="en-US"/>
              <a:t> </a:t>
            </a:r>
            <a:r>
              <a:rPr lang="en-US" err="1"/>
              <a:t>enseña</a:t>
            </a:r>
            <a:r>
              <a:rPr lang="en-US"/>
              <a:t> a no ser </a:t>
            </a:r>
            <a:r>
              <a:rPr lang="en-US" err="1"/>
              <a:t>rígidos</a:t>
            </a:r>
            <a:r>
              <a:rPr lang="en-US"/>
              <a:t> o </a:t>
            </a:r>
            <a:r>
              <a:rPr lang="en-US" err="1"/>
              <a:t>dogmáticos</a:t>
            </a:r>
            <a:r>
              <a:rPr lang="en-US"/>
              <a:t> en la forma en la que </a:t>
            </a:r>
            <a:r>
              <a:rPr lang="en-US" err="1"/>
              <a:t>enfocamos</a:t>
            </a:r>
            <a:r>
              <a:rPr lang="en-US"/>
              <a:t> </a:t>
            </a:r>
            <a:r>
              <a:rPr lang="en-US" err="1"/>
              <a:t>nuestro</a:t>
            </a:r>
            <a:r>
              <a:rPr lang="en-US"/>
              <a:t> </a:t>
            </a:r>
            <a:r>
              <a:rPr lang="en-US" err="1"/>
              <a:t>trabajo</a:t>
            </a:r>
            <a:r>
              <a:rPr lang="en-US"/>
              <a:t>.</a:t>
            </a:r>
            <a:br>
              <a:rPr lang="en-US">
                <a:cs typeface="+mn-lt"/>
              </a:rPr>
            </a:br>
            <a:r>
              <a:rPr lang="en-US"/>
              <a:t> </a:t>
            </a:r>
          </a:p>
          <a:p>
            <a:pPr marL="171450" indent="-171450">
              <a:buFont typeface="Arial,Sans-Serif"/>
              <a:buChar char="•"/>
            </a:pPr>
            <a:r>
              <a:rPr lang="es-CO" noProof="0"/>
              <a:t>El </a:t>
            </a:r>
            <a:r>
              <a:rPr lang="es-CO" noProof="0" err="1"/>
              <a:t>core</a:t>
            </a:r>
            <a:r>
              <a:rPr lang="es-CO" noProof="0"/>
              <a:t> o la esencia del manifiesto ágil  y sus 12 principios es promover conceptos como:</a:t>
            </a:r>
            <a:br>
              <a:rPr lang="en-US">
                <a:cs typeface="+mn-lt"/>
              </a:rPr>
            </a:br>
            <a:r>
              <a:rPr lang="en-US"/>
              <a:t> </a:t>
            </a:r>
          </a:p>
          <a:p>
            <a:pPr marL="628650" lvl="1" indent="-171450">
              <a:buFont typeface="Arial,Sans-Serif"/>
              <a:buChar char="•"/>
            </a:pPr>
            <a:r>
              <a:rPr lang="en-US" err="1"/>
              <a:t>Entrega</a:t>
            </a:r>
            <a:r>
              <a:rPr lang="en-US"/>
              <a:t> continua y </a:t>
            </a:r>
            <a:r>
              <a:rPr lang="en-US" err="1"/>
              <a:t>frecuente</a:t>
            </a:r>
            <a:r>
              <a:rPr lang="en-US"/>
              <a:t> de valor/Frequent Value Delivery</a:t>
            </a:r>
          </a:p>
          <a:p>
            <a:pPr marL="628650" lvl="1" indent="-171450">
              <a:buFont typeface="Arial,Sans-Serif"/>
              <a:buChar char="•"/>
            </a:pPr>
            <a:r>
              <a:rPr lang="en-US" err="1"/>
              <a:t>Adaptabilidad</a:t>
            </a:r>
            <a:r>
              <a:rPr lang="en-US"/>
              <a:t>/Adaptability</a:t>
            </a:r>
          </a:p>
          <a:p>
            <a:pPr marL="628650" lvl="1" indent="-171450">
              <a:buFont typeface="Arial,Sans-Serif"/>
              <a:buChar char="•"/>
            </a:pPr>
            <a:r>
              <a:rPr lang="en-US" err="1"/>
              <a:t>Colaboración</a:t>
            </a:r>
            <a:r>
              <a:rPr lang="en-US"/>
              <a:t>/Collaboration</a:t>
            </a:r>
          </a:p>
          <a:p>
            <a:pPr marL="628650" lvl="1" indent="-171450">
              <a:buFont typeface="Arial,Sans-Serif"/>
              <a:buChar char="•"/>
            </a:pPr>
            <a:r>
              <a:rPr lang="en-US" err="1"/>
              <a:t>Eliminación</a:t>
            </a:r>
            <a:r>
              <a:rPr lang="en-US"/>
              <a:t> </a:t>
            </a:r>
            <a:r>
              <a:rPr lang="en-US" err="1"/>
              <a:t>desperdicios</a:t>
            </a:r>
            <a:r>
              <a:rPr lang="en-US"/>
              <a:t> /Elimination of Waste</a:t>
            </a:r>
          </a:p>
          <a:p>
            <a:pPr marL="457200" lvl="1" indent="0">
              <a:buFont typeface="Arial,Sans-Serif"/>
              <a:buNone/>
            </a:pPr>
            <a:r>
              <a:rPr lang="en-US" b="1" err="1"/>
              <a:t>pregunta</a:t>
            </a:r>
            <a:r>
              <a:rPr lang="en-US" b="1"/>
              <a:t> a la audiencia, </a:t>
            </a:r>
            <a:r>
              <a:rPr lang="en-US" b="1" err="1"/>
              <a:t>qué</a:t>
            </a:r>
            <a:r>
              <a:rPr lang="en-US" b="1"/>
              <a:t> </a:t>
            </a:r>
            <a:r>
              <a:rPr lang="en-US" b="1" err="1"/>
              <a:t>otros</a:t>
            </a:r>
            <a:r>
              <a:rPr lang="en-US" b="1"/>
              <a:t> </a:t>
            </a:r>
            <a:r>
              <a:rPr lang="en-US" b="1" err="1"/>
              <a:t>conceptos</a:t>
            </a:r>
            <a:r>
              <a:rPr lang="en-US" b="1"/>
              <a:t> ?</a:t>
            </a:r>
            <a:endParaRPr lang="en-US" b="1">
              <a:cs typeface="Calibri"/>
            </a:endParaRPr>
          </a:p>
          <a:p>
            <a:pPr marL="628650" lvl="1" indent="-171450">
              <a:buFont typeface="Arial,Sans-Serif"/>
              <a:buChar char="•"/>
            </a:pPr>
            <a:endParaRPr lang="en-US" b="1">
              <a:cs typeface="Calibri"/>
            </a:endParaRPr>
          </a:p>
          <a:p>
            <a:pPr marL="457200" lvl="1" indent="0">
              <a:buFont typeface="Arial,Sans-Serif"/>
              <a:buNone/>
            </a:pPr>
            <a:r>
              <a:rPr lang="en-US" b="1">
                <a:cs typeface="Calibri"/>
              </a:rPr>
              <a:t>ENCUESTA/POLL</a:t>
            </a:r>
          </a:p>
          <a:p>
            <a:pPr marL="457200" lvl="1" indent="0">
              <a:buFont typeface="Arial,Sans-Serif"/>
              <a:buNone/>
            </a:pPr>
            <a:endParaRPr lang="en-US" b="1">
              <a:cs typeface="Calibri"/>
            </a:endParaRPr>
          </a:p>
          <a:p>
            <a:pPr lvl="1"/>
            <a:r>
              <a:rPr lang="en-US" b="1">
                <a:cs typeface="Calibri"/>
              </a:rPr>
              <a:t>En lo que </a:t>
            </a:r>
            <a:r>
              <a:rPr lang="en-US" b="1" err="1">
                <a:cs typeface="Calibri"/>
              </a:rPr>
              <a:t>estás</a:t>
            </a:r>
            <a:r>
              <a:rPr lang="en-US" b="1">
                <a:cs typeface="Calibri"/>
              </a:rPr>
              <a:t> hacienda hoy </a:t>
            </a:r>
            <a:r>
              <a:rPr lang="en-US" b="1" err="1">
                <a:cs typeface="Calibri"/>
              </a:rPr>
              <a:t>como</a:t>
            </a:r>
            <a:r>
              <a:rPr lang="en-US" b="1">
                <a:cs typeface="Calibri"/>
              </a:rPr>
              <a:t> </a:t>
            </a:r>
            <a:r>
              <a:rPr lang="en-US" b="1" err="1">
                <a:cs typeface="Calibri"/>
              </a:rPr>
              <a:t>equipo</a:t>
            </a:r>
            <a:r>
              <a:rPr lang="en-US" b="1">
                <a:cs typeface="Calibri"/>
              </a:rPr>
              <a:t>. ¿</a:t>
            </a:r>
            <a:r>
              <a:rPr lang="en-US" b="1" err="1">
                <a:cs typeface="Calibri"/>
              </a:rPr>
              <a:t>Qué</a:t>
            </a:r>
            <a:r>
              <a:rPr lang="en-US" b="1">
                <a:cs typeface="Calibri"/>
              </a:rPr>
              <a:t> principio </a:t>
            </a:r>
            <a:r>
              <a:rPr lang="en-US" b="1" err="1">
                <a:cs typeface="Calibri"/>
              </a:rPr>
              <a:t>crees</a:t>
            </a:r>
            <a:r>
              <a:rPr lang="en-US" b="1">
                <a:cs typeface="Calibri"/>
              </a:rPr>
              <a:t> que </a:t>
            </a:r>
            <a:r>
              <a:rPr lang="en-US" b="1" err="1">
                <a:cs typeface="Calibri"/>
              </a:rPr>
              <a:t>tu</a:t>
            </a:r>
            <a:r>
              <a:rPr lang="en-US" b="1">
                <a:cs typeface="Calibri"/>
              </a:rPr>
              <a:t> </a:t>
            </a:r>
            <a:r>
              <a:rPr lang="en-US" b="1" err="1">
                <a:cs typeface="Calibri"/>
              </a:rPr>
              <a:t>equipo</a:t>
            </a:r>
            <a:r>
              <a:rPr lang="en-US" b="1">
                <a:cs typeface="Calibri"/>
              </a:rPr>
              <a:t> </a:t>
            </a:r>
            <a:r>
              <a:rPr lang="en-US" b="1" err="1">
                <a:cs typeface="Calibri"/>
              </a:rPr>
              <a:t>hace</a:t>
            </a:r>
            <a:r>
              <a:rPr lang="en-US" b="1">
                <a:cs typeface="Calibri"/>
              </a:rPr>
              <a:t> major ? ¿</a:t>
            </a:r>
            <a:r>
              <a:rPr lang="en-US" b="1" err="1">
                <a:cs typeface="Calibri"/>
              </a:rPr>
              <a:t>Qué</a:t>
            </a:r>
            <a:r>
              <a:rPr lang="en-US" b="1">
                <a:cs typeface="Calibri"/>
              </a:rPr>
              <a:t> principio </a:t>
            </a:r>
            <a:r>
              <a:rPr lang="en-US" b="1" err="1">
                <a:cs typeface="Calibri"/>
              </a:rPr>
              <a:t>crees</a:t>
            </a:r>
            <a:r>
              <a:rPr lang="en-US" b="1">
                <a:cs typeface="Calibri"/>
              </a:rPr>
              <a:t> que </a:t>
            </a:r>
            <a:r>
              <a:rPr lang="en-US" b="1" err="1">
                <a:cs typeface="Calibri"/>
              </a:rPr>
              <a:t>tu</a:t>
            </a:r>
            <a:r>
              <a:rPr lang="en-US" b="1">
                <a:cs typeface="Calibri"/>
              </a:rPr>
              <a:t> </a:t>
            </a:r>
            <a:r>
              <a:rPr lang="en-US" b="1" err="1">
                <a:cs typeface="Calibri"/>
              </a:rPr>
              <a:t>equipo</a:t>
            </a:r>
            <a:r>
              <a:rPr lang="en-US" b="1">
                <a:cs typeface="Calibri"/>
              </a:rPr>
              <a:t> </a:t>
            </a:r>
            <a:r>
              <a:rPr lang="en-US" b="1" err="1">
                <a:cs typeface="Calibri"/>
              </a:rPr>
              <a:t>hace</a:t>
            </a:r>
            <a:r>
              <a:rPr lang="en-US" b="1">
                <a:cs typeface="Calibri"/>
              </a:rPr>
              <a:t> </a:t>
            </a:r>
            <a:r>
              <a:rPr lang="en-US" b="1" err="1">
                <a:cs typeface="Calibri"/>
              </a:rPr>
              <a:t>peor</a:t>
            </a:r>
            <a:r>
              <a:rPr lang="en-US" b="1">
                <a:cs typeface="Calibri"/>
              </a:rPr>
              <a:t> ? </a:t>
            </a:r>
          </a:p>
          <a:p>
            <a:pPr lvl="1"/>
            <a:endParaRPr lang="en-US" b="0">
              <a:cs typeface="Calibri"/>
            </a:endParaRPr>
          </a:p>
          <a:p>
            <a:pPr lvl="0"/>
            <a:r>
              <a:rPr lang="en-US" b="1">
                <a:cs typeface="Calibri"/>
              </a:rPr>
              <a:t>PRINCIPIOS</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n-US" b="0">
                <a:cs typeface="Calibri"/>
              </a:rPr>
              <a:t>P1: </a:t>
            </a: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Nuestra mayor prioridad es satisfacer al cliente mediante la entrega temprana y continua de software con valor.</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2: Aceptamos que los requisitos cambien, incluso en etapas  tardías del desarrollo. Los procesos Ágiles aprovechan el cambio para proporcionar ventaja competitiva al cliente.</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3:Entregamos software funcional frecuentemente, entre dos semanas y dos meses, con preferencia por periodos de tiempo lo más corto posibles.</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4:Los responsables de negocio y los desarrolladores trabajamos juntos de forma cotidiana durante todo el proyecto. //eventos como </a:t>
            </a:r>
            <a:r>
              <a:rPr lang="es-CO" sz="1200" b="0" err="1">
                <a:solidFill>
                  <a:schemeClr val="bg1">
                    <a:lumMod val="50000"/>
                  </a:schemeClr>
                </a:solidFill>
                <a:latin typeface="Scotia Headline" panose="020B0503020203020204" pitchFamily="34" charset="0"/>
                <a:cs typeface="Arial" panose="020B0604020202020204" pitchFamily="34" charset="0"/>
                <a:sym typeface="Gilroy ExtraBold"/>
              </a:rPr>
              <a:t>Daily</a:t>
            </a: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5:Los proyectos se desarrollan en torno a individuos motivados. Hay que darles el entorno y el apoyo que necesitan, y confiarles la ejecución del trabajo.// Empoderamiento y autonomía donde permitimos la experimentación segura con el fin de buscar la mejor forma de trabajar como equipo.</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6:El método más eficiente y efectivo de comunicar información al equipo de desarrollo y entre sus miembros es la conversación cara a cara.</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7:El software funcionando es la principal medida progreso. Podemos tener buenos KPI para medir la velocidad </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8:Los procesos Ágiles promueven el desarrollo sostenible. Los promotores, desarrolladores y usuarios debemos ser capaces de mantener un ritmo constante de forma indefinida. Equipos sostenibles por un largo plazo</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9:La atención continua a la excelencia técnica y al buen diseño mejora la Agilidad. //Siempre estamos en búsqueda de mejorar la calidad del producto usando buenas practicas de desarrollo enfocando al equipo en desarrollar . </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10:La simplicidad, o el arte de maximizar la cantidad de trabajo no realizado, es esencial. P11:Las mejores arquitecturas, requisitos y diseños emergen de equipos autoorganizados.</a:t>
            </a:r>
          </a:p>
          <a:p>
            <a:pPr marL="457200" marR="0" lvl="1" indent="0" algn="l" defTabSz="457200" rtl="0" eaLnBrk="1" fontAlgn="auto" latinLnBrk="0" hangingPunct="1">
              <a:lnSpc>
                <a:spcPct val="100000"/>
              </a:lnSpc>
              <a:spcBef>
                <a:spcPts val="0"/>
              </a:spcBef>
              <a:spcAft>
                <a:spcPts val="0"/>
              </a:spcAft>
              <a:buClrTx/>
              <a:buSzTx/>
              <a:buFontTx/>
              <a:buNone/>
              <a:tabLst/>
              <a:defRPr/>
            </a:pPr>
            <a:r>
              <a:rPr lang="es-CO" sz="1200" b="0">
                <a:solidFill>
                  <a:schemeClr val="bg1">
                    <a:lumMod val="50000"/>
                  </a:schemeClr>
                </a:solidFill>
                <a:latin typeface="Scotia Headline" panose="020B0503020203020204" pitchFamily="34" charset="0"/>
                <a:cs typeface="Arial" panose="020B0604020202020204" pitchFamily="34" charset="0"/>
                <a:sym typeface="Gilroy ExtraBold"/>
              </a:rPr>
              <a:t>P12:A intervalos regulares el equipo reflexiona sobre cómo ser más efectivo para a continuación ajustar y perfeccionar su comportamiento en consecuencia.</a:t>
            </a:r>
          </a:p>
          <a:p>
            <a:pPr marL="0" marR="0" lvl="0" indent="0" algn="l" defTabSz="457200" rtl="0" eaLnBrk="1" fontAlgn="auto" latinLnBrk="0" hangingPunct="1">
              <a:lnSpc>
                <a:spcPct val="100000"/>
              </a:lnSpc>
              <a:spcBef>
                <a:spcPts val="0"/>
              </a:spcBef>
              <a:spcAft>
                <a:spcPts val="0"/>
              </a:spcAft>
              <a:buClrTx/>
              <a:buSzTx/>
              <a:buFontTx/>
              <a:buNone/>
              <a:tabLst/>
              <a:defRPr/>
            </a:pPr>
            <a:r>
              <a:rPr lang="es-CO" sz="1200" b="1">
                <a:solidFill>
                  <a:schemeClr val="bg1">
                    <a:lumMod val="50000"/>
                  </a:schemeClr>
                </a:solidFill>
                <a:latin typeface="Scotia Headline" panose="020B0503020203020204" pitchFamily="34" charset="0"/>
                <a:cs typeface="Arial" panose="020B0604020202020204" pitchFamily="34" charset="0"/>
                <a:sym typeface="Gilroy ExtraBold"/>
              </a:rPr>
              <a:t>VALORES</a:t>
            </a:r>
          </a:p>
          <a:p>
            <a:pPr lvl="1"/>
            <a:r>
              <a:rPr lang="es-CO" sz="1200" b="0" i="0" kern="1200">
                <a:solidFill>
                  <a:schemeClr val="tx1"/>
                </a:solidFill>
                <a:effectLst/>
                <a:latin typeface="+mn-lt"/>
                <a:ea typeface="+mn-ea"/>
                <a:cs typeface="+mn-cs"/>
              </a:rPr>
              <a:t>Individuos e interacciones sobre procesos y herramientas. </a:t>
            </a:r>
          </a:p>
          <a:p>
            <a:pPr lvl="1"/>
            <a:r>
              <a:rPr lang="es-CO" sz="1200" b="0" i="0" kern="1200">
                <a:solidFill>
                  <a:schemeClr val="tx1"/>
                </a:solidFill>
                <a:effectLst/>
                <a:latin typeface="+mn-lt"/>
                <a:ea typeface="+mn-ea"/>
                <a:cs typeface="+mn-cs"/>
              </a:rPr>
              <a:t>Software funcionando sobre documentación extensiva.</a:t>
            </a:r>
          </a:p>
          <a:p>
            <a:pPr lvl="1"/>
            <a:r>
              <a:rPr lang="es-CO" sz="1200" b="0" i="0" kern="1200">
                <a:solidFill>
                  <a:schemeClr val="tx1"/>
                </a:solidFill>
                <a:effectLst/>
                <a:latin typeface="+mn-lt"/>
                <a:ea typeface="+mn-ea"/>
                <a:cs typeface="+mn-cs"/>
              </a:rPr>
              <a:t>Colaboración con el cliente sobre negociación contractual.</a:t>
            </a:r>
          </a:p>
          <a:p>
            <a:pPr lvl="1"/>
            <a:r>
              <a:rPr lang="es-CO" sz="1200" b="0" i="0" kern="1200">
                <a:solidFill>
                  <a:schemeClr val="tx1"/>
                </a:solidFill>
                <a:effectLst/>
                <a:latin typeface="+mn-lt"/>
                <a:ea typeface="+mn-ea"/>
                <a:cs typeface="+mn-cs"/>
              </a:rPr>
              <a:t>Respuesta ante el cambio sobre seguir un plan.</a:t>
            </a: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lang="es-CO" sz="1200" b="0">
              <a:solidFill>
                <a:schemeClr val="bg1">
                  <a:lumMod val="50000"/>
                </a:schemeClr>
              </a:solidFill>
              <a:latin typeface="Scotia Headline" panose="020B0503020203020204" pitchFamily="34" charset="0"/>
              <a:cs typeface="Arial" panose="020B0604020202020204" pitchFamily="34" charset="0"/>
              <a:sym typeface="Gilroy ExtraBold"/>
            </a:endParaRPr>
          </a:p>
          <a:p>
            <a:pPr lvl="1"/>
            <a:endParaRPr lang="en-US">
              <a:cs typeface="Calibri"/>
            </a:endParaRPr>
          </a:p>
        </p:txBody>
      </p:sp>
      <p:sp>
        <p:nvSpPr>
          <p:cNvPr id="4" name="Slide Number Placeholder 3"/>
          <p:cNvSpPr>
            <a:spLocks noGrp="1"/>
          </p:cNvSpPr>
          <p:nvPr>
            <p:ph type="sldNum" sz="quarter" idx="5"/>
          </p:nvPr>
        </p:nvSpPr>
        <p:spPr/>
        <p:txBody>
          <a:bodyPr/>
          <a:lstStyle/>
          <a:p>
            <a:fld id="{605CA715-963B-0448-ABF4-1EFBFB0CF9BE}" type="slidenum">
              <a:rPr lang="en-CA" smtClean="0"/>
              <a:t>6</a:t>
            </a:fld>
            <a:endParaRPr lang="en-CA"/>
          </a:p>
        </p:txBody>
      </p:sp>
    </p:spTree>
    <p:extLst>
      <p:ext uri="{BB962C8B-B14F-4D97-AF65-F5344CB8AC3E}">
        <p14:creationId xmlns:p14="http://schemas.microsoft.com/office/powerpoint/2010/main" val="818854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82F72F-8E37-904D-8F87-C4C23F3C39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7861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82F72F-8E37-904D-8F87-C4C23F3C3937}" type="slidenum">
              <a:rPr lang="en-US" smtClean="0"/>
              <a:t>8</a:t>
            </a:fld>
            <a:endParaRPr lang="en-US"/>
          </a:p>
        </p:txBody>
      </p:sp>
    </p:spTree>
    <p:extLst>
      <p:ext uri="{BB962C8B-B14F-4D97-AF65-F5344CB8AC3E}">
        <p14:creationId xmlns:p14="http://schemas.microsoft.com/office/powerpoint/2010/main" val="338795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Es </a:t>
            </a:r>
            <a:r>
              <a:rPr lang="en-US" err="1"/>
              <a:t>una</a:t>
            </a:r>
            <a:r>
              <a:rPr lang="en-US"/>
              <a:t> </a:t>
            </a:r>
            <a:r>
              <a:rPr lang="en-US" err="1"/>
              <a:t>práctica</a:t>
            </a:r>
            <a:r>
              <a:rPr lang="en-US"/>
              <a:t> que </a:t>
            </a:r>
            <a:r>
              <a:rPr lang="en-US" err="1"/>
              <a:t>nos</a:t>
            </a:r>
            <a:r>
              <a:rPr lang="en-US"/>
              <a:t> </a:t>
            </a:r>
            <a:r>
              <a:rPr lang="en-US" err="1"/>
              <a:t>ayuda</a:t>
            </a:r>
            <a:r>
              <a:rPr lang="en-US"/>
              <a:t> a divider un </a:t>
            </a:r>
            <a:r>
              <a:rPr lang="en-US" err="1"/>
              <a:t>problema</a:t>
            </a:r>
            <a:r>
              <a:rPr lang="en-US"/>
              <a:t> mas </a:t>
            </a:r>
            <a:r>
              <a:rPr lang="en-US" err="1"/>
              <a:t>grande</a:t>
            </a:r>
            <a:r>
              <a:rPr lang="en-US"/>
              <a:t> y </a:t>
            </a:r>
            <a:r>
              <a:rPr lang="en-US" err="1"/>
              <a:t>varios</a:t>
            </a:r>
            <a:r>
              <a:rPr lang="en-US"/>
              <a:t> mas </a:t>
            </a:r>
            <a:r>
              <a:rPr lang="en-US" err="1"/>
              <a:t>pequeños</a:t>
            </a:r>
            <a:r>
              <a:rPr lang="en-US"/>
              <a:t> </a:t>
            </a:r>
          </a:p>
          <a:p>
            <a:endParaRPr lang="en-US"/>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1200" b="1">
                <a:solidFill>
                  <a:schemeClr val="bg1">
                    <a:lumMod val="50000"/>
                  </a:schemeClr>
                </a:solidFill>
                <a:latin typeface="Scotia" panose="020B0503020203020204" pitchFamily="34" charset="0"/>
                <a:ea typeface="Scotia" panose="020B0503020203020204" pitchFamily="34" charset="0"/>
              </a:rPr>
              <a:t>Una Épica es una gran historia de usuario/</a:t>
            </a:r>
            <a:r>
              <a:rPr lang="es-ES" sz="1200" b="1" err="1">
                <a:solidFill>
                  <a:schemeClr val="bg1">
                    <a:lumMod val="50000"/>
                  </a:schemeClr>
                </a:solidFill>
                <a:latin typeface="Scotia" panose="020B0503020203020204" pitchFamily="34" charset="0"/>
                <a:ea typeface="Scotia" panose="020B0503020203020204" pitchFamily="34" charset="0"/>
              </a:rPr>
              <a:t>User</a:t>
            </a:r>
            <a:r>
              <a:rPr lang="es-ES" sz="1200" b="1">
                <a:solidFill>
                  <a:schemeClr val="bg1">
                    <a:lumMod val="50000"/>
                  </a:schemeClr>
                </a:solidFill>
                <a:latin typeface="Scotia" panose="020B0503020203020204" pitchFamily="34" charset="0"/>
                <a:ea typeface="Scotia" panose="020B0503020203020204" pitchFamily="34" charset="0"/>
              </a:rPr>
              <a:t> </a:t>
            </a:r>
            <a:r>
              <a:rPr lang="es-ES" sz="1200" b="1" err="1">
                <a:solidFill>
                  <a:schemeClr val="bg1">
                    <a:lumMod val="50000"/>
                  </a:schemeClr>
                </a:solidFill>
                <a:latin typeface="Scotia" panose="020B0503020203020204" pitchFamily="34" charset="0"/>
                <a:ea typeface="Scotia" panose="020B0503020203020204" pitchFamily="34" charset="0"/>
              </a:rPr>
              <a:t>Story</a:t>
            </a:r>
            <a:r>
              <a:rPr lang="es-ES" sz="1200" b="1">
                <a:solidFill>
                  <a:schemeClr val="bg1">
                    <a:lumMod val="50000"/>
                  </a:schemeClr>
                </a:solidFill>
                <a:latin typeface="Scotia" panose="020B0503020203020204" pitchFamily="34" charset="0"/>
                <a:ea typeface="Scotia" panose="020B0503020203020204" pitchFamily="34" charset="0"/>
              </a:rPr>
              <a:t> que es demasiado grande para caber en un Sprint/Iteración.</a:t>
            </a: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endParaRPr lang="es-ES" sz="1200" b="1">
              <a:solidFill>
                <a:schemeClr val="bg1">
                  <a:lumMod val="50000"/>
                </a:schemeClr>
              </a:solidFill>
              <a:latin typeface="Scotia" panose="020B0503020203020204" pitchFamily="34" charset="0"/>
              <a:ea typeface="Scotia" panose="020B0503020203020204" pitchFamily="34" charset="0"/>
            </a:endParaRP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1200" b="1">
                <a:solidFill>
                  <a:schemeClr val="bg1">
                    <a:lumMod val="50000"/>
                  </a:schemeClr>
                </a:solidFill>
                <a:latin typeface="Scotia" panose="020B0503020203020204" pitchFamily="34" charset="0"/>
                <a:ea typeface="Scotia" panose="020B0503020203020204" pitchFamily="34" charset="0"/>
              </a:rPr>
              <a:t>Esta historia de alto nivel generalmente se divide en otras más pequeñas, cada una de las cuales se puede completar en una Iteración/sprint.</a:t>
            </a: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endParaRPr lang="es-ES" sz="1200" b="1">
              <a:solidFill>
                <a:schemeClr val="bg1">
                  <a:lumMod val="50000"/>
                </a:schemeClr>
              </a:solidFill>
              <a:latin typeface="Scotia" panose="020B0503020203020204" pitchFamily="34" charset="0"/>
              <a:ea typeface="Scotia" panose="020B0503020203020204" pitchFamily="34" charset="0"/>
            </a:endParaRP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1200" b="1">
                <a:solidFill>
                  <a:schemeClr val="bg1">
                    <a:lumMod val="50000"/>
                  </a:schemeClr>
                </a:solidFill>
                <a:latin typeface="Scotia" panose="020B0503020203020204" pitchFamily="34" charset="0"/>
                <a:ea typeface="Scotia" panose="020B0503020203020204" pitchFamily="34" charset="0"/>
              </a:rPr>
              <a:t>En ese sentido, una Épica es una colección de historias de usuarios con un objetivo unificado.</a:t>
            </a:r>
            <a:endParaRPr lang="en-CA" sz="1200" b="1">
              <a:solidFill>
                <a:schemeClr val="bg1">
                  <a:lumMod val="50000"/>
                </a:schemeClr>
              </a:solidFill>
              <a:latin typeface="Scotia" panose="020B0503020203020204" pitchFamily="34" charset="0"/>
              <a:ea typeface="Scotia" panose="020B0503020203020204" pitchFamily="34" charset="0"/>
            </a:endParaRPr>
          </a:p>
          <a:p>
            <a:endParaRPr lang="en-US"/>
          </a:p>
        </p:txBody>
      </p:sp>
    </p:spTree>
    <p:extLst>
      <p:ext uri="{BB962C8B-B14F-4D97-AF65-F5344CB8AC3E}">
        <p14:creationId xmlns:p14="http://schemas.microsoft.com/office/powerpoint/2010/main" val="2234138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5.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6971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old header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4C1B97-608E-A04B-8C79-E4DFAD7D3E07}"/>
              </a:ext>
            </a:extLst>
          </p:cNvPr>
          <p:cNvSpPr/>
          <p:nvPr/>
        </p:nvSpPr>
        <p:spPr>
          <a:xfrm>
            <a:off x="11800686" y="6570319"/>
            <a:ext cx="391316" cy="184666"/>
          </a:xfrm>
          <a:prstGeom prst="rect">
            <a:avLst/>
          </a:prstGeom>
          <a:solidFill>
            <a:srgbClr val="EC111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309563"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Scotia Regular" panose="020B0503020203020204" pitchFamily="34" charset="0"/>
              <a:ea typeface="+mn-ea"/>
              <a:cs typeface="+mn-cs"/>
              <a:sym typeface="Gilroy Medium"/>
            </a:endParaRPr>
          </a:p>
        </p:txBody>
      </p:sp>
      <p:pic>
        <p:nvPicPr>
          <p:cNvPr id="6" name="Picture 5">
            <a:extLst>
              <a:ext uri="{FF2B5EF4-FFF2-40B4-BE49-F238E27FC236}">
                <a16:creationId xmlns:a16="http://schemas.microsoft.com/office/drawing/2014/main" id="{1DDA113F-E5F7-AF49-8EAD-F6D4FAC479B0}"/>
              </a:ext>
            </a:extLst>
          </p:cNvPr>
          <p:cNvPicPr>
            <a:picLocks noChangeAspect="1"/>
          </p:cNvPicPr>
          <p:nvPr/>
        </p:nvPicPr>
        <p:blipFill>
          <a:blip r:embed="rId2"/>
          <a:stretch>
            <a:fillRect/>
          </a:stretch>
        </p:blipFill>
        <p:spPr>
          <a:xfrm>
            <a:off x="11915301" y="6573613"/>
            <a:ext cx="162083" cy="178079"/>
          </a:xfrm>
          <a:prstGeom prst="rect">
            <a:avLst/>
          </a:prstGeom>
        </p:spPr>
      </p:pic>
      <p:sp>
        <p:nvSpPr>
          <p:cNvPr id="9" name="Rectangle 8">
            <a:extLst>
              <a:ext uri="{FF2B5EF4-FFF2-40B4-BE49-F238E27FC236}">
                <a16:creationId xmlns:a16="http://schemas.microsoft.com/office/drawing/2014/main" id="{F68C378E-2939-D84A-B928-5CF4279A29ED}"/>
              </a:ext>
            </a:extLst>
          </p:cNvPr>
          <p:cNvSpPr/>
          <p:nvPr/>
        </p:nvSpPr>
        <p:spPr>
          <a:xfrm flipV="1">
            <a:off x="0" y="4312106"/>
            <a:ext cx="12192000" cy="161581"/>
          </a:xfrm>
          <a:prstGeom prst="rect">
            <a:avLst/>
          </a:prstGeom>
          <a:solidFill>
            <a:schemeClr val="bg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hangingPunct="0"/>
            <a:endParaRPr lang="en-US" sz="600">
              <a:solidFill>
                <a:srgbClr val="323232"/>
              </a:solidFill>
              <a:latin typeface="Gotham"/>
              <a:ea typeface="Gotham"/>
              <a:cs typeface="Gotham"/>
              <a:sym typeface="Gotham"/>
            </a:endParaRPr>
          </a:p>
        </p:txBody>
      </p:sp>
      <p:sp>
        <p:nvSpPr>
          <p:cNvPr id="12" name="TextBox 7">
            <a:extLst>
              <a:ext uri="{FF2B5EF4-FFF2-40B4-BE49-F238E27FC236}">
                <a16:creationId xmlns:a16="http://schemas.microsoft.com/office/drawing/2014/main" id="{6FA012D3-DE11-0147-B233-34C0D6AA1145}"/>
              </a:ext>
            </a:extLst>
          </p:cNvPr>
          <p:cNvSpPr txBox="1">
            <a:spLocks/>
          </p:cNvSpPr>
          <p:nvPr/>
        </p:nvSpPr>
        <p:spPr>
          <a:xfrm>
            <a:off x="11575704" y="332531"/>
            <a:ext cx="233505"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bg1"/>
                </a:solidFill>
                <a:latin typeface="Scotia" panose="020B0503020203020204" pitchFamily="34" charset="0"/>
              </a:rPr>
              <a:pPr algn="r"/>
              <a:t>‹#›</a:t>
            </a:fld>
            <a:endParaRPr lang="en-CA" sz="600">
              <a:solidFill>
                <a:schemeClr val="bg1"/>
              </a:solidFill>
              <a:latin typeface="Scotia" panose="020B0503020203020204" pitchFamily="34" charset="0"/>
            </a:endParaRPr>
          </a:p>
        </p:txBody>
      </p:sp>
      <p:grpSp>
        <p:nvGrpSpPr>
          <p:cNvPr id="8" name="Group 7">
            <a:extLst>
              <a:ext uri="{FF2B5EF4-FFF2-40B4-BE49-F238E27FC236}">
                <a16:creationId xmlns:a16="http://schemas.microsoft.com/office/drawing/2014/main" id="{15E69EB4-1904-EA4F-B0BF-3C2F55DEA030}"/>
              </a:ext>
            </a:extLst>
          </p:cNvPr>
          <p:cNvGrpSpPr/>
          <p:nvPr/>
        </p:nvGrpSpPr>
        <p:grpSpPr>
          <a:xfrm>
            <a:off x="11800685" y="6466711"/>
            <a:ext cx="391316" cy="391291"/>
            <a:chOff x="23599832" y="12933419"/>
            <a:chExt cx="782581" cy="782581"/>
          </a:xfrm>
        </p:grpSpPr>
        <p:sp>
          <p:nvSpPr>
            <p:cNvPr id="13" name="Rectangle 12">
              <a:extLst>
                <a:ext uri="{FF2B5EF4-FFF2-40B4-BE49-F238E27FC236}">
                  <a16:creationId xmlns:a16="http://schemas.microsoft.com/office/drawing/2014/main" id="{B7A3A10C-AEA3-1943-B5FD-065CEED4092B}"/>
                </a:ext>
              </a:extLst>
            </p:cNvPr>
            <p:cNvSpPr/>
            <p:nvPr/>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14" name="Picture 13">
              <a:extLst>
                <a:ext uri="{FF2B5EF4-FFF2-40B4-BE49-F238E27FC236}">
                  <a16:creationId xmlns:a16="http://schemas.microsoft.com/office/drawing/2014/main" id="{9708AE9E-C1FD-3C4F-9D51-4F4E83287A2F}"/>
                </a:ext>
              </a:extLst>
            </p:cNvPr>
            <p:cNvPicPr>
              <a:picLocks noChangeAspect="1"/>
            </p:cNvPicPr>
            <p:nvPr/>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2534132988"/>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hapter Title - Colour">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5567AD5-F1EB-BF40-BA2F-1996E95206BF}"/>
              </a:ext>
            </a:extLst>
          </p:cNvPr>
          <p:cNvSpPr/>
          <p:nvPr userDrawn="1"/>
        </p:nvSpPr>
        <p:spPr>
          <a:xfrm>
            <a:off x="366157" y="381000"/>
            <a:ext cx="11445240" cy="61264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Text Placeholder 11">
            <a:extLst>
              <a:ext uri="{FF2B5EF4-FFF2-40B4-BE49-F238E27FC236}">
                <a16:creationId xmlns:a16="http://schemas.microsoft.com/office/drawing/2014/main" id="{B55E712C-73F7-894E-A37D-02C55456A67D}"/>
              </a:ext>
            </a:extLst>
          </p:cNvPr>
          <p:cNvSpPr>
            <a:spLocks noGrp="1"/>
          </p:cNvSpPr>
          <p:nvPr>
            <p:ph type="body" sz="quarter" idx="10" hasCustomPrompt="1"/>
          </p:nvPr>
        </p:nvSpPr>
        <p:spPr>
          <a:xfrm>
            <a:off x="3717430" y="2302834"/>
            <a:ext cx="4737430" cy="455509"/>
          </a:xfrm>
          <a:ln w="12700">
            <a:miter lim="400000"/>
          </a:ln>
        </p:spPr>
        <p:txBody>
          <a:bodyPr wrap="square" lIns="0" tIns="0" rIns="0" bIns="0">
            <a:noAutofit/>
          </a:bodyPr>
          <a:lstStyle>
            <a:lvl1pPr marL="0" indent="0" algn="ctr">
              <a:buNone/>
              <a:defRPr lang="en-US" sz="2600" b="1" cap="all" spc="300" baseline="0" smtClean="0">
                <a:solidFill>
                  <a:srgbClr val="333333"/>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ing:</a:t>
            </a: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1900833" y="2985326"/>
            <a:ext cx="8370623" cy="989214"/>
          </a:xfrm>
        </p:spPr>
        <p:txBody>
          <a:bodyPr anchor="t">
            <a:noAutofit/>
          </a:bodyPr>
          <a:lstStyle>
            <a:lvl1pPr algn="ctr">
              <a:defRPr lang="es-ES_tradnl" sz="5200" b="1" kern="1200" dirty="0">
                <a:solidFill>
                  <a:schemeClr val="accent2"/>
                </a:solidFill>
                <a:latin typeface="Scotia Headline"/>
                <a:ea typeface="Gilroy ExtraBold Italic"/>
                <a:cs typeface="Gilroy ExtraBold Italic"/>
              </a:defRPr>
            </a:lvl1pPr>
          </a:lstStyle>
          <a:p>
            <a:r>
              <a:rPr lang="en-US"/>
              <a:t>Title goes here</a:t>
            </a:r>
            <a:endParaRPr lang="es-ES_tradnl"/>
          </a:p>
        </p:txBody>
      </p:sp>
      <p:sp>
        <p:nvSpPr>
          <p:cNvPr id="3" name="Text Placeholder 2">
            <a:extLst>
              <a:ext uri="{FF2B5EF4-FFF2-40B4-BE49-F238E27FC236}">
                <a16:creationId xmlns:a16="http://schemas.microsoft.com/office/drawing/2014/main" id="{46600663-9684-2E4C-B2ED-A00D40588E60}"/>
              </a:ext>
            </a:extLst>
          </p:cNvPr>
          <p:cNvSpPr>
            <a:spLocks noGrp="1"/>
          </p:cNvSpPr>
          <p:nvPr>
            <p:ph type="body" sz="quarter" idx="11" hasCustomPrompt="1"/>
          </p:nvPr>
        </p:nvSpPr>
        <p:spPr>
          <a:xfrm>
            <a:off x="3889435" y="4125629"/>
            <a:ext cx="4393417" cy="962025"/>
          </a:xfrm>
        </p:spPr>
        <p:txBody>
          <a:bodyPr>
            <a:normAutofit/>
          </a:bodyPr>
          <a:lstStyle>
            <a:lvl1pPr marL="0" indent="0" algn="ctr">
              <a:lnSpc>
                <a:spcPct val="110000"/>
              </a:lnSpc>
              <a:spcBef>
                <a:spcPts val="0"/>
              </a:spcBef>
              <a:buNone/>
              <a:defRPr sz="2100" b="0"/>
            </a:lvl1pPr>
            <a:lvl2pPr marL="457200" indent="0">
              <a:buNone/>
              <a:defRPr b="0"/>
            </a:lvl2pPr>
            <a:lvl3pPr marL="914400" indent="0">
              <a:buNone/>
              <a:defRPr b="0"/>
            </a:lvl3pPr>
            <a:lvl4pPr marL="1371600" indent="0">
              <a:buNone/>
              <a:defRPr b="0"/>
            </a:lvl4pPr>
            <a:lvl5pPr marL="1828800" indent="0">
              <a:buNone/>
              <a:defRPr b="0"/>
            </a:lvl5pPr>
          </a:lstStyle>
          <a:p>
            <a:pPr lvl="0"/>
            <a:r>
              <a:rPr lang="en-US"/>
              <a:t>Short description about what you plan on talking about goes here. </a:t>
            </a:r>
            <a:endParaRPr lang="en-CA"/>
          </a:p>
        </p:txBody>
      </p:sp>
    </p:spTree>
    <p:extLst>
      <p:ext uri="{BB962C8B-B14F-4D97-AF65-F5344CB8AC3E}">
        <p14:creationId xmlns:p14="http://schemas.microsoft.com/office/powerpoint/2010/main" val="2255153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eft Header - Colour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6" name="Title 1">
            <a:extLst>
              <a:ext uri="{FF2B5EF4-FFF2-40B4-BE49-F238E27FC236}">
                <a16:creationId xmlns:a16="http://schemas.microsoft.com/office/drawing/2014/main" id="{B94EDF38-2214-5443-8E62-1135F516050F}"/>
              </a:ext>
            </a:extLst>
          </p:cNvPr>
          <p:cNvSpPr>
            <a:spLocks noGrp="1"/>
          </p:cNvSpPr>
          <p:nvPr>
            <p:ph type="title" hasCustomPrompt="1"/>
          </p:nvPr>
        </p:nvSpPr>
        <p:spPr>
          <a:xfrm>
            <a:off x="0" y="1"/>
            <a:ext cx="4066767" cy="6858000"/>
          </a:xfrm>
          <a:solidFill>
            <a:schemeClr val="accent2"/>
          </a:solidFill>
        </p:spPr>
        <p:txBody>
          <a:bodyPr lIns="471600" tIns="817200" rIns="471600" anchor="t">
            <a:noAutofit/>
          </a:bodyPr>
          <a:lstStyle>
            <a:lvl1pPr>
              <a:defRPr>
                <a:solidFill>
                  <a:schemeClr val="bg1"/>
                </a:solidFill>
              </a:defRPr>
            </a:lvl1pPr>
          </a:lstStyle>
          <a:p>
            <a:r>
              <a:rPr lang="en-US"/>
              <a:t>Slide title</a:t>
            </a:r>
          </a:p>
        </p:txBody>
      </p:sp>
      <p:sp>
        <p:nvSpPr>
          <p:cNvPr id="13" name="Text Placeholder 2">
            <a:extLst>
              <a:ext uri="{FF2B5EF4-FFF2-40B4-BE49-F238E27FC236}">
                <a16:creationId xmlns:a16="http://schemas.microsoft.com/office/drawing/2014/main" id="{2E02100C-C495-D34B-B201-2068C99BDA4E}"/>
              </a:ext>
            </a:extLst>
          </p:cNvPr>
          <p:cNvSpPr>
            <a:spLocks noGrp="1"/>
          </p:cNvSpPr>
          <p:nvPr>
            <p:ph type="body" sz="quarter" idx="11" hasCustomPrompt="1"/>
          </p:nvPr>
        </p:nvSpPr>
        <p:spPr>
          <a:xfrm>
            <a:off x="4647584" y="2781300"/>
            <a:ext cx="6591915" cy="3381375"/>
          </a:xfrm>
        </p:spPr>
        <p:txBody>
          <a:bodyPr>
            <a:noAutofit/>
          </a:bodyPr>
          <a:lstStyle>
            <a:lvl1pPr marL="0" indent="0">
              <a:lnSpc>
                <a:spcPct val="110000"/>
              </a:lnSpc>
              <a:spcBef>
                <a:spcPts val="0"/>
              </a:spcBef>
              <a:spcAft>
                <a:spcPts val="1600"/>
              </a:spcAft>
              <a:buNone/>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32" name="Graphic 31">
            <a:extLst>
              <a:ext uri="{FF2B5EF4-FFF2-40B4-BE49-F238E27FC236}">
                <a16:creationId xmlns:a16="http://schemas.microsoft.com/office/drawing/2014/main" id="{4EADC8A9-598F-924D-9B7E-5AEF96F706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33" name="Text Placeholder 4">
            <a:extLst>
              <a:ext uri="{FF2B5EF4-FFF2-40B4-BE49-F238E27FC236}">
                <a16:creationId xmlns:a16="http://schemas.microsoft.com/office/drawing/2014/main" id="{8CF54287-DAF6-0A43-8D36-344E8E77E754}"/>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23400840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p header - Colour">
    <p:bg>
      <p:bgPr>
        <a:solidFill>
          <a:srgbClr val="EC111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3B10F7-8216-9E40-AC4C-935B5F697249}"/>
              </a:ext>
            </a:extLst>
          </p:cNvPr>
          <p:cNvSpPr/>
          <p:nvPr userDrawn="1"/>
        </p:nvSpPr>
        <p:spPr>
          <a:xfrm flipV="1">
            <a:off x="397" y="1649248"/>
            <a:ext cx="12191207" cy="520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9" name="Text Placeholder 2">
            <a:extLst>
              <a:ext uri="{FF2B5EF4-FFF2-40B4-BE49-F238E27FC236}">
                <a16:creationId xmlns:a16="http://schemas.microsoft.com/office/drawing/2014/main" id="{6F116F48-1E77-124F-8E7E-CD9DD710DB54}"/>
              </a:ext>
            </a:extLst>
          </p:cNvPr>
          <p:cNvSpPr>
            <a:spLocks noGrp="1"/>
          </p:cNvSpPr>
          <p:nvPr>
            <p:ph type="body" sz="quarter" idx="11" hasCustomPrompt="1"/>
          </p:nvPr>
        </p:nvSpPr>
        <p:spPr>
          <a:xfrm>
            <a:off x="467423" y="2374900"/>
            <a:ext cx="6085777" cy="3381375"/>
          </a:xfrm>
        </p:spPr>
        <p:txBody>
          <a:bodyPr>
            <a:noAutofit/>
          </a:bodyPr>
          <a:lstStyle>
            <a:lvl1pPr marL="0" indent="0">
              <a:lnSpc>
                <a:spcPct val="120000"/>
              </a:lnSpc>
              <a:spcBef>
                <a:spcPts val="0"/>
              </a:spcBef>
              <a:spcAft>
                <a:spcPts val="1600"/>
              </a:spcAft>
              <a:buNone/>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0" name="Text Placeholder 2">
            <a:extLst>
              <a:ext uri="{FF2B5EF4-FFF2-40B4-BE49-F238E27FC236}">
                <a16:creationId xmlns:a16="http://schemas.microsoft.com/office/drawing/2014/main" id="{916B4AF9-AFA2-DB4C-B307-677D3EF9CC17}"/>
              </a:ext>
            </a:extLst>
          </p:cNvPr>
          <p:cNvSpPr>
            <a:spLocks noGrp="1"/>
          </p:cNvSpPr>
          <p:nvPr>
            <p:ph type="body" sz="quarter" idx="12" hasCustomPrompt="1"/>
          </p:nvPr>
        </p:nvSpPr>
        <p:spPr>
          <a:xfrm>
            <a:off x="7578974" y="2943583"/>
            <a:ext cx="3963489" cy="3098308"/>
          </a:xfrm>
        </p:spPr>
        <p:txBody>
          <a:bodyPr>
            <a:noAutofit/>
          </a:bodyPr>
          <a:lstStyle>
            <a:lvl1pPr marL="285750" indent="-285750">
              <a:lnSpc>
                <a:spcPct val="120000"/>
              </a:lnSpc>
              <a:spcBef>
                <a:spcPts val="0"/>
              </a:spcBef>
              <a:spcAft>
                <a:spcPts val="1600"/>
              </a:spcAft>
              <a:buClrTx/>
              <a:buSzPct val="80000"/>
              <a:buFont typeface="Arial" panose="020B0604020202020204" pitchFamily="34" charset="0"/>
              <a:buChar char="•"/>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endParaRPr lang="en-US"/>
          </a:p>
        </p:txBody>
      </p:sp>
      <p:sp>
        <p:nvSpPr>
          <p:cNvPr id="12" name="Text Placeholder 3">
            <a:extLst>
              <a:ext uri="{FF2B5EF4-FFF2-40B4-BE49-F238E27FC236}">
                <a16:creationId xmlns:a16="http://schemas.microsoft.com/office/drawing/2014/main" id="{03DC50D5-A229-BB47-ABD6-2DC49C75F6DF}"/>
              </a:ext>
            </a:extLst>
          </p:cNvPr>
          <p:cNvSpPr>
            <a:spLocks noGrp="1"/>
          </p:cNvSpPr>
          <p:nvPr>
            <p:ph type="body" sz="quarter" idx="15" hasCustomPrompt="1"/>
          </p:nvPr>
        </p:nvSpPr>
        <p:spPr>
          <a:xfrm>
            <a:off x="7578974" y="2465879"/>
            <a:ext cx="3996728" cy="290021"/>
          </a:xfrm>
        </p:spPr>
        <p:txBody>
          <a:bodyPr>
            <a:noAutofit/>
          </a:bodyPr>
          <a:lstStyle>
            <a:lvl1pPr marL="0" indent="0">
              <a:buNone/>
              <a:defRPr sz="2000" b="1" i="0">
                <a:solidFill>
                  <a:schemeClr val="tx1"/>
                </a:solidFill>
                <a:latin typeface="+mn-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8" name="Text Placeholder 7">
            <a:extLst>
              <a:ext uri="{FF2B5EF4-FFF2-40B4-BE49-F238E27FC236}">
                <a16:creationId xmlns:a16="http://schemas.microsoft.com/office/drawing/2014/main" id="{BE39FC62-7962-B746-9A91-578F1FF2E3C6}"/>
              </a:ext>
            </a:extLst>
          </p:cNvPr>
          <p:cNvSpPr>
            <a:spLocks noGrp="1"/>
          </p:cNvSpPr>
          <p:nvPr>
            <p:ph type="body" sz="quarter" idx="16" hasCustomPrompt="1"/>
          </p:nvPr>
        </p:nvSpPr>
        <p:spPr>
          <a:xfrm>
            <a:off x="0" y="-4228835"/>
            <a:ext cx="12192000" cy="1649247"/>
          </a:xfrm>
        </p:spPr>
        <p:txBody>
          <a:bodyPr lIns="471600" tIns="817200" rIns="471600">
            <a:normAutofit/>
          </a:bodyPr>
          <a:lstStyle>
            <a:lvl1pPr marL="0" indent="0">
              <a:buNone/>
              <a:defRPr sz="40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a:t>
            </a:r>
            <a:endParaRPr lang="en-CA"/>
          </a:p>
        </p:txBody>
      </p:sp>
    </p:spTree>
    <p:extLst>
      <p:ext uri="{BB962C8B-B14F-4D97-AF65-F5344CB8AC3E}">
        <p14:creationId xmlns:p14="http://schemas.microsoft.com/office/powerpoint/2010/main" val="19319680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op header - Numbered section - Colour">
    <p:bg>
      <p:bgPr>
        <a:solidFill>
          <a:srgbClr val="009DD6"/>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3B10F7-8216-9E40-AC4C-935B5F697249}"/>
              </a:ext>
            </a:extLst>
          </p:cNvPr>
          <p:cNvSpPr/>
          <p:nvPr userDrawn="1"/>
        </p:nvSpPr>
        <p:spPr>
          <a:xfrm flipV="1">
            <a:off x="397" y="1649248"/>
            <a:ext cx="12191207" cy="520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29" name="Text Placeholder 3">
            <a:extLst>
              <a:ext uri="{FF2B5EF4-FFF2-40B4-BE49-F238E27FC236}">
                <a16:creationId xmlns:a16="http://schemas.microsoft.com/office/drawing/2014/main" id="{F00BBAFA-AB98-874F-B310-4F1C79EBEBFE}"/>
              </a:ext>
            </a:extLst>
          </p:cNvPr>
          <p:cNvSpPr>
            <a:spLocks noGrp="1"/>
          </p:cNvSpPr>
          <p:nvPr>
            <p:ph type="body" sz="quarter" idx="11" hasCustomPrompt="1"/>
          </p:nvPr>
        </p:nvSpPr>
        <p:spPr>
          <a:xfrm>
            <a:off x="462711" y="2163939"/>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1</a:t>
            </a:r>
            <a:endParaRPr lang="en-CA"/>
          </a:p>
        </p:txBody>
      </p:sp>
      <p:sp>
        <p:nvSpPr>
          <p:cNvPr id="30" name="Text Placeholder 3">
            <a:extLst>
              <a:ext uri="{FF2B5EF4-FFF2-40B4-BE49-F238E27FC236}">
                <a16:creationId xmlns:a16="http://schemas.microsoft.com/office/drawing/2014/main" id="{060558B2-8E58-344A-8B9B-9E6F0A6BB6A8}"/>
              </a:ext>
            </a:extLst>
          </p:cNvPr>
          <p:cNvSpPr>
            <a:spLocks noGrp="1"/>
          </p:cNvSpPr>
          <p:nvPr>
            <p:ph type="body" sz="quarter" idx="12" hasCustomPrompt="1"/>
          </p:nvPr>
        </p:nvSpPr>
        <p:spPr>
          <a:xfrm>
            <a:off x="1014426" y="2186099"/>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1" name="Text Placeholder 2">
            <a:extLst>
              <a:ext uri="{FF2B5EF4-FFF2-40B4-BE49-F238E27FC236}">
                <a16:creationId xmlns:a16="http://schemas.microsoft.com/office/drawing/2014/main" id="{5CD79CF8-A7A0-B241-A5C9-34BAFD15C0CA}"/>
              </a:ext>
            </a:extLst>
          </p:cNvPr>
          <p:cNvSpPr>
            <a:spLocks noGrp="1"/>
          </p:cNvSpPr>
          <p:nvPr>
            <p:ph type="body" sz="quarter" idx="13" hasCustomPrompt="1"/>
          </p:nvPr>
        </p:nvSpPr>
        <p:spPr>
          <a:xfrm>
            <a:off x="1009714" y="2454910"/>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2" name="Text Placeholder 3">
            <a:extLst>
              <a:ext uri="{FF2B5EF4-FFF2-40B4-BE49-F238E27FC236}">
                <a16:creationId xmlns:a16="http://schemas.microsoft.com/office/drawing/2014/main" id="{5EB2EF3F-DDF7-2A4D-80D9-908B7A70D3A7}"/>
              </a:ext>
            </a:extLst>
          </p:cNvPr>
          <p:cNvSpPr>
            <a:spLocks noGrp="1"/>
          </p:cNvSpPr>
          <p:nvPr>
            <p:ph type="body" sz="quarter" idx="14" hasCustomPrompt="1"/>
          </p:nvPr>
        </p:nvSpPr>
        <p:spPr>
          <a:xfrm>
            <a:off x="462711" y="3686130"/>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2</a:t>
            </a:r>
            <a:endParaRPr lang="en-CA"/>
          </a:p>
        </p:txBody>
      </p:sp>
      <p:sp>
        <p:nvSpPr>
          <p:cNvPr id="33" name="Text Placeholder 3">
            <a:extLst>
              <a:ext uri="{FF2B5EF4-FFF2-40B4-BE49-F238E27FC236}">
                <a16:creationId xmlns:a16="http://schemas.microsoft.com/office/drawing/2014/main" id="{C6DFB7E4-C61F-C74E-9487-AA7D327906B9}"/>
              </a:ext>
            </a:extLst>
          </p:cNvPr>
          <p:cNvSpPr>
            <a:spLocks noGrp="1"/>
          </p:cNvSpPr>
          <p:nvPr>
            <p:ph type="body" sz="quarter" idx="15" hasCustomPrompt="1"/>
          </p:nvPr>
        </p:nvSpPr>
        <p:spPr>
          <a:xfrm>
            <a:off x="1014426" y="3708290"/>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4" name="Text Placeholder 2">
            <a:extLst>
              <a:ext uri="{FF2B5EF4-FFF2-40B4-BE49-F238E27FC236}">
                <a16:creationId xmlns:a16="http://schemas.microsoft.com/office/drawing/2014/main" id="{E421A8C0-4F5E-DD48-AD00-C9BF584380FC}"/>
              </a:ext>
            </a:extLst>
          </p:cNvPr>
          <p:cNvSpPr>
            <a:spLocks noGrp="1"/>
          </p:cNvSpPr>
          <p:nvPr>
            <p:ph type="body" sz="quarter" idx="16" hasCustomPrompt="1"/>
          </p:nvPr>
        </p:nvSpPr>
        <p:spPr>
          <a:xfrm>
            <a:off x="1009714" y="3977101"/>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5" name="Text Placeholder 3">
            <a:extLst>
              <a:ext uri="{FF2B5EF4-FFF2-40B4-BE49-F238E27FC236}">
                <a16:creationId xmlns:a16="http://schemas.microsoft.com/office/drawing/2014/main" id="{5841B5AD-D971-D746-BB2C-ED58814E49B9}"/>
              </a:ext>
            </a:extLst>
          </p:cNvPr>
          <p:cNvSpPr>
            <a:spLocks noGrp="1"/>
          </p:cNvSpPr>
          <p:nvPr>
            <p:ph type="body" sz="quarter" idx="17" hasCustomPrompt="1"/>
          </p:nvPr>
        </p:nvSpPr>
        <p:spPr>
          <a:xfrm>
            <a:off x="462711" y="5215016"/>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3</a:t>
            </a:r>
            <a:endParaRPr lang="en-CA"/>
          </a:p>
        </p:txBody>
      </p:sp>
      <p:sp>
        <p:nvSpPr>
          <p:cNvPr id="36" name="Text Placeholder 3">
            <a:extLst>
              <a:ext uri="{FF2B5EF4-FFF2-40B4-BE49-F238E27FC236}">
                <a16:creationId xmlns:a16="http://schemas.microsoft.com/office/drawing/2014/main" id="{485776F5-9E0C-074D-BA2A-F5872EAB30D8}"/>
              </a:ext>
            </a:extLst>
          </p:cNvPr>
          <p:cNvSpPr>
            <a:spLocks noGrp="1"/>
          </p:cNvSpPr>
          <p:nvPr>
            <p:ph type="body" sz="quarter" idx="18" hasCustomPrompt="1"/>
          </p:nvPr>
        </p:nvSpPr>
        <p:spPr>
          <a:xfrm>
            <a:off x="1014426" y="5237176"/>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7" name="Text Placeholder 2">
            <a:extLst>
              <a:ext uri="{FF2B5EF4-FFF2-40B4-BE49-F238E27FC236}">
                <a16:creationId xmlns:a16="http://schemas.microsoft.com/office/drawing/2014/main" id="{D01AE4BC-1204-7442-B068-9B19FD7E4989}"/>
              </a:ext>
            </a:extLst>
          </p:cNvPr>
          <p:cNvSpPr>
            <a:spLocks noGrp="1"/>
          </p:cNvSpPr>
          <p:nvPr>
            <p:ph type="body" sz="quarter" idx="19" hasCustomPrompt="1"/>
          </p:nvPr>
        </p:nvSpPr>
        <p:spPr>
          <a:xfrm>
            <a:off x="1009714" y="5505987"/>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8" name="Text Placeholder 3">
            <a:extLst>
              <a:ext uri="{FF2B5EF4-FFF2-40B4-BE49-F238E27FC236}">
                <a16:creationId xmlns:a16="http://schemas.microsoft.com/office/drawing/2014/main" id="{2F9A77A9-E6F7-F140-9950-9C6464B9C223}"/>
              </a:ext>
            </a:extLst>
          </p:cNvPr>
          <p:cNvSpPr>
            <a:spLocks noGrp="1"/>
          </p:cNvSpPr>
          <p:nvPr>
            <p:ph type="body" sz="quarter" idx="20" hasCustomPrompt="1"/>
          </p:nvPr>
        </p:nvSpPr>
        <p:spPr>
          <a:xfrm>
            <a:off x="6324338" y="2225855"/>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4</a:t>
            </a:r>
            <a:endParaRPr lang="en-CA"/>
          </a:p>
        </p:txBody>
      </p:sp>
      <p:sp>
        <p:nvSpPr>
          <p:cNvPr id="39" name="Text Placeholder 3">
            <a:extLst>
              <a:ext uri="{FF2B5EF4-FFF2-40B4-BE49-F238E27FC236}">
                <a16:creationId xmlns:a16="http://schemas.microsoft.com/office/drawing/2014/main" id="{8D703C3F-C709-9E4F-A571-476A6F278BA3}"/>
              </a:ext>
            </a:extLst>
          </p:cNvPr>
          <p:cNvSpPr>
            <a:spLocks noGrp="1"/>
          </p:cNvSpPr>
          <p:nvPr>
            <p:ph type="body" sz="quarter" idx="21" hasCustomPrompt="1"/>
          </p:nvPr>
        </p:nvSpPr>
        <p:spPr>
          <a:xfrm>
            <a:off x="6876053" y="2248015"/>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40" name="Text Placeholder 2">
            <a:extLst>
              <a:ext uri="{FF2B5EF4-FFF2-40B4-BE49-F238E27FC236}">
                <a16:creationId xmlns:a16="http://schemas.microsoft.com/office/drawing/2014/main" id="{34177063-2C96-E441-B65D-F68467FEE331}"/>
              </a:ext>
            </a:extLst>
          </p:cNvPr>
          <p:cNvSpPr>
            <a:spLocks noGrp="1"/>
          </p:cNvSpPr>
          <p:nvPr>
            <p:ph type="body" sz="quarter" idx="22" hasCustomPrompt="1"/>
          </p:nvPr>
        </p:nvSpPr>
        <p:spPr>
          <a:xfrm>
            <a:off x="6871341" y="2516826"/>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41" name="Text Placeholder 3">
            <a:extLst>
              <a:ext uri="{FF2B5EF4-FFF2-40B4-BE49-F238E27FC236}">
                <a16:creationId xmlns:a16="http://schemas.microsoft.com/office/drawing/2014/main" id="{06028CB8-5D99-9049-B95A-8B908C008BE7}"/>
              </a:ext>
            </a:extLst>
          </p:cNvPr>
          <p:cNvSpPr>
            <a:spLocks noGrp="1"/>
          </p:cNvSpPr>
          <p:nvPr>
            <p:ph type="body" sz="quarter" idx="23" hasCustomPrompt="1"/>
          </p:nvPr>
        </p:nvSpPr>
        <p:spPr>
          <a:xfrm>
            <a:off x="6324338" y="3748046"/>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5</a:t>
            </a:r>
            <a:endParaRPr lang="en-CA"/>
          </a:p>
        </p:txBody>
      </p:sp>
      <p:sp>
        <p:nvSpPr>
          <p:cNvPr id="42" name="Text Placeholder 3">
            <a:extLst>
              <a:ext uri="{FF2B5EF4-FFF2-40B4-BE49-F238E27FC236}">
                <a16:creationId xmlns:a16="http://schemas.microsoft.com/office/drawing/2014/main" id="{909159AF-CBD4-A34D-9314-EDD9EB434AEC}"/>
              </a:ext>
            </a:extLst>
          </p:cNvPr>
          <p:cNvSpPr>
            <a:spLocks noGrp="1"/>
          </p:cNvSpPr>
          <p:nvPr>
            <p:ph type="body" sz="quarter" idx="24" hasCustomPrompt="1"/>
          </p:nvPr>
        </p:nvSpPr>
        <p:spPr>
          <a:xfrm>
            <a:off x="6876053" y="3770206"/>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43" name="Text Placeholder 2">
            <a:extLst>
              <a:ext uri="{FF2B5EF4-FFF2-40B4-BE49-F238E27FC236}">
                <a16:creationId xmlns:a16="http://schemas.microsoft.com/office/drawing/2014/main" id="{CC25BFAA-841C-184F-94FB-F0CFB5DF3BEC}"/>
              </a:ext>
            </a:extLst>
          </p:cNvPr>
          <p:cNvSpPr>
            <a:spLocks noGrp="1"/>
          </p:cNvSpPr>
          <p:nvPr>
            <p:ph type="body" sz="quarter" idx="25" hasCustomPrompt="1"/>
          </p:nvPr>
        </p:nvSpPr>
        <p:spPr>
          <a:xfrm>
            <a:off x="6871341" y="4039017"/>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44" name="Text Placeholder 3">
            <a:extLst>
              <a:ext uri="{FF2B5EF4-FFF2-40B4-BE49-F238E27FC236}">
                <a16:creationId xmlns:a16="http://schemas.microsoft.com/office/drawing/2014/main" id="{A07C93D0-D760-B947-8C52-B4C46AE7E7A9}"/>
              </a:ext>
            </a:extLst>
          </p:cNvPr>
          <p:cNvSpPr>
            <a:spLocks noGrp="1"/>
          </p:cNvSpPr>
          <p:nvPr>
            <p:ph type="body" sz="quarter" idx="26" hasCustomPrompt="1"/>
          </p:nvPr>
        </p:nvSpPr>
        <p:spPr>
          <a:xfrm>
            <a:off x="6324338" y="5276932"/>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6</a:t>
            </a:r>
            <a:endParaRPr lang="en-CA"/>
          </a:p>
        </p:txBody>
      </p:sp>
      <p:sp>
        <p:nvSpPr>
          <p:cNvPr id="45" name="Text Placeholder 3">
            <a:extLst>
              <a:ext uri="{FF2B5EF4-FFF2-40B4-BE49-F238E27FC236}">
                <a16:creationId xmlns:a16="http://schemas.microsoft.com/office/drawing/2014/main" id="{44D75CE3-9B0F-054D-B1BD-FA433BA40C95}"/>
              </a:ext>
            </a:extLst>
          </p:cNvPr>
          <p:cNvSpPr>
            <a:spLocks noGrp="1"/>
          </p:cNvSpPr>
          <p:nvPr>
            <p:ph type="body" sz="quarter" idx="27" hasCustomPrompt="1"/>
          </p:nvPr>
        </p:nvSpPr>
        <p:spPr>
          <a:xfrm>
            <a:off x="6876053" y="5299092"/>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46" name="Text Placeholder 2">
            <a:extLst>
              <a:ext uri="{FF2B5EF4-FFF2-40B4-BE49-F238E27FC236}">
                <a16:creationId xmlns:a16="http://schemas.microsoft.com/office/drawing/2014/main" id="{760B5286-8781-9542-9BF6-15D5BF84B88B}"/>
              </a:ext>
            </a:extLst>
          </p:cNvPr>
          <p:cNvSpPr>
            <a:spLocks noGrp="1"/>
          </p:cNvSpPr>
          <p:nvPr>
            <p:ph type="body" sz="quarter" idx="28" hasCustomPrompt="1"/>
          </p:nvPr>
        </p:nvSpPr>
        <p:spPr>
          <a:xfrm>
            <a:off x="6871341" y="5567903"/>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pic>
        <p:nvPicPr>
          <p:cNvPr id="47" name="Graphic 46">
            <a:extLst>
              <a:ext uri="{FF2B5EF4-FFF2-40B4-BE49-F238E27FC236}">
                <a16:creationId xmlns:a16="http://schemas.microsoft.com/office/drawing/2014/main" id="{132FB6D0-D3C8-3C49-979D-DAB7571FFC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3443903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eft Header - Numbered sections (colour)">
    <p:bg>
      <p:bgPr>
        <a:solidFill>
          <a:schemeClr val="accent3"/>
        </a:solidFill>
        <a:effectLst/>
      </p:bgPr>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BB2C3381-E344-0E4F-A0BA-73BB5887462C}"/>
              </a:ext>
            </a:extLst>
          </p:cNvPr>
          <p:cNvSpPr/>
          <p:nvPr userDrawn="1"/>
        </p:nvSpPr>
        <p:spPr>
          <a:xfrm>
            <a:off x="4067165" y="0"/>
            <a:ext cx="8124438" cy="6858000"/>
          </a:xfrm>
          <a:prstGeom prst="rect">
            <a:avLst/>
          </a:prstGeom>
          <a:solidFill>
            <a:schemeClr val="bg1"/>
          </a:solidFill>
          <a:ln w="12700">
            <a:miter lim="400000"/>
          </a:ln>
        </p:spPr>
        <p:txBody>
          <a:bodyPr lIns="45716" rIns="45716" anchor="ctr"/>
          <a:lstStyle/>
          <a:p>
            <a:pPr defTabSz="914355">
              <a:defRPr>
                <a:solidFill>
                  <a:srgbClr val="1FA2DC"/>
                </a:solidFill>
              </a:defRPr>
            </a:pPr>
            <a:endParaRPr sz="3600">
              <a:solidFill>
                <a:srgbClr val="1FA2DC"/>
              </a:solidFill>
              <a:latin typeface="Scotia Regular" panose="020B0503020203020204" pitchFamily="34" charset="0"/>
            </a:endParaRPr>
          </a:p>
        </p:txBody>
      </p:sp>
      <p:sp>
        <p:nvSpPr>
          <p:cNvPr id="12" name="TextBox 11">
            <a:extLst>
              <a:ext uri="{FF2B5EF4-FFF2-40B4-BE49-F238E27FC236}">
                <a16:creationId xmlns:a16="http://schemas.microsoft.com/office/drawing/2014/main" id="{597E7282-3BC7-4544-8051-E534A579460C}"/>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7" name="Graphic 16">
            <a:extLst>
              <a:ext uri="{FF2B5EF4-FFF2-40B4-BE49-F238E27FC236}">
                <a16:creationId xmlns:a16="http://schemas.microsoft.com/office/drawing/2014/main" id="{A0F7AAFC-8746-104F-92FA-0C832699D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 name="Text Placeholder 3">
            <a:extLst>
              <a:ext uri="{FF2B5EF4-FFF2-40B4-BE49-F238E27FC236}">
                <a16:creationId xmlns:a16="http://schemas.microsoft.com/office/drawing/2014/main" id="{FAB0E8EF-EAFA-9F41-AD5B-60BE4BB9CD1E}"/>
              </a:ext>
            </a:extLst>
          </p:cNvPr>
          <p:cNvSpPr>
            <a:spLocks noGrp="1"/>
          </p:cNvSpPr>
          <p:nvPr>
            <p:ph type="body" sz="quarter" idx="11" hasCustomPrompt="1"/>
          </p:nvPr>
        </p:nvSpPr>
        <p:spPr>
          <a:xfrm>
            <a:off x="4468762" y="811657"/>
            <a:ext cx="852746" cy="478724"/>
          </a:xfrm>
        </p:spPr>
        <p:txBody>
          <a:bodyPr>
            <a:noAutofit/>
          </a:bodyPr>
          <a:lstStyle>
            <a:lvl1pPr marL="0" indent="0">
              <a:buNone/>
              <a:defRPr sz="3200" b="1" i="0">
                <a:solidFill>
                  <a:schemeClr val="accent3"/>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1</a:t>
            </a:r>
            <a:endParaRPr lang="en-CA"/>
          </a:p>
        </p:txBody>
      </p:sp>
      <p:sp>
        <p:nvSpPr>
          <p:cNvPr id="26" name="Text Placeholder 3">
            <a:extLst>
              <a:ext uri="{FF2B5EF4-FFF2-40B4-BE49-F238E27FC236}">
                <a16:creationId xmlns:a16="http://schemas.microsoft.com/office/drawing/2014/main" id="{078B6053-341B-3546-B65C-D203574395FC}"/>
              </a:ext>
            </a:extLst>
          </p:cNvPr>
          <p:cNvSpPr>
            <a:spLocks noGrp="1"/>
          </p:cNvSpPr>
          <p:nvPr>
            <p:ph type="body" sz="quarter" idx="12" hasCustomPrompt="1"/>
          </p:nvPr>
        </p:nvSpPr>
        <p:spPr>
          <a:xfrm>
            <a:off x="4464658" y="1290380"/>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27" name="Text Placeholder 2">
            <a:extLst>
              <a:ext uri="{FF2B5EF4-FFF2-40B4-BE49-F238E27FC236}">
                <a16:creationId xmlns:a16="http://schemas.microsoft.com/office/drawing/2014/main" id="{949095C2-1FF8-D240-912A-0652D5E6C31B}"/>
              </a:ext>
            </a:extLst>
          </p:cNvPr>
          <p:cNvSpPr>
            <a:spLocks noGrp="1"/>
          </p:cNvSpPr>
          <p:nvPr>
            <p:ph type="body" sz="quarter" idx="13" hasCustomPrompt="1"/>
          </p:nvPr>
        </p:nvSpPr>
        <p:spPr>
          <a:xfrm>
            <a:off x="4459947" y="1661890"/>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8" name="Text Placeholder 3">
            <a:extLst>
              <a:ext uri="{FF2B5EF4-FFF2-40B4-BE49-F238E27FC236}">
                <a16:creationId xmlns:a16="http://schemas.microsoft.com/office/drawing/2014/main" id="{6D17212C-3D8A-FB40-880B-D9C8E577EC95}"/>
              </a:ext>
            </a:extLst>
          </p:cNvPr>
          <p:cNvSpPr>
            <a:spLocks noGrp="1"/>
          </p:cNvSpPr>
          <p:nvPr>
            <p:ph type="body" sz="quarter" idx="14" hasCustomPrompt="1"/>
          </p:nvPr>
        </p:nvSpPr>
        <p:spPr>
          <a:xfrm>
            <a:off x="8284175" y="811657"/>
            <a:ext cx="852746" cy="478724"/>
          </a:xfrm>
        </p:spPr>
        <p:txBody>
          <a:bodyPr>
            <a:noAutofit/>
          </a:bodyPr>
          <a:lstStyle>
            <a:lvl1pPr marL="0" indent="0">
              <a:buNone/>
              <a:defRPr sz="3200" b="1" i="0">
                <a:solidFill>
                  <a:schemeClr val="accent3"/>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2</a:t>
            </a:r>
            <a:endParaRPr lang="en-CA"/>
          </a:p>
        </p:txBody>
      </p:sp>
      <p:sp>
        <p:nvSpPr>
          <p:cNvPr id="29" name="Text Placeholder 3">
            <a:extLst>
              <a:ext uri="{FF2B5EF4-FFF2-40B4-BE49-F238E27FC236}">
                <a16:creationId xmlns:a16="http://schemas.microsoft.com/office/drawing/2014/main" id="{C610B273-F215-194F-A67D-93726DE543DA}"/>
              </a:ext>
            </a:extLst>
          </p:cNvPr>
          <p:cNvSpPr>
            <a:spLocks noGrp="1"/>
          </p:cNvSpPr>
          <p:nvPr>
            <p:ph type="body" sz="quarter" idx="15" hasCustomPrompt="1"/>
          </p:nvPr>
        </p:nvSpPr>
        <p:spPr>
          <a:xfrm>
            <a:off x="8280071" y="1290380"/>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0" name="Text Placeholder 2">
            <a:extLst>
              <a:ext uri="{FF2B5EF4-FFF2-40B4-BE49-F238E27FC236}">
                <a16:creationId xmlns:a16="http://schemas.microsoft.com/office/drawing/2014/main" id="{0A1DA9C3-EC91-CD49-AA37-47D93B217A8C}"/>
              </a:ext>
            </a:extLst>
          </p:cNvPr>
          <p:cNvSpPr>
            <a:spLocks noGrp="1"/>
          </p:cNvSpPr>
          <p:nvPr>
            <p:ph type="body" sz="quarter" idx="16" hasCustomPrompt="1"/>
          </p:nvPr>
        </p:nvSpPr>
        <p:spPr>
          <a:xfrm>
            <a:off x="8270649" y="1661890"/>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1" name="Text Placeholder 3">
            <a:extLst>
              <a:ext uri="{FF2B5EF4-FFF2-40B4-BE49-F238E27FC236}">
                <a16:creationId xmlns:a16="http://schemas.microsoft.com/office/drawing/2014/main" id="{E11DFFF7-3447-164A-A825-7DCDCE7EA717}"/>
              </a:ext>
            </a:extLst>
          </p:cNvPr>
          <p:cNvSpPr>
            <a:spLocks noGrp="1"/>
          </p:cNvSpPr>
          <p:nvPr>
            <p:ph type="body" sz="quarter" idx="17" hasCustomPrompt="1"/>
          </p:nvPr>
        </p:nvSpPr>
        <p:spPr>
          <a:xfrm>
            <a:off x="4468762" y="3784379"/>
            <a:ext cx="852746" cy="478724"/>
          </a:xfrm>
        </p:spPr>
        <p:txBody>
          <a:bodyPr>
            <a:noAutofit/>
          </a:bodyPr>
          <a:lstStyle>
            <a:lvl1pPr marL="0" indent="0">
              <a:buNone/>
              <a:defRPr sz="3200" b="1" i="0">
                <a:solidFill>
                  <a:schemeClr val="accent3"/>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3</a:t>
            </a:r>
            <a:endParaRPr lang="en-CA"/>
          </a:p>
        </p:txBody>
      </p:sp>
      <p:sp>
        <p:nvSpPr>
          <p:cNvPr id="32" name="Text Placeholder 3">
            <a:extLst>
              <a:ext uri="{FF2B5EF4-FFF2-40B4-BE49-F238E27FC236}">
                <a16:creationId xmlns:a16="http://schemas.microsoft.com/office/drawing/2014/main" id="{07ECF35C-A3E2-8945-B39C-9ADAAB5654EB}"/>
              </a:ext>
            </a:extLst>
          </p:cNvPr>
          <p:cNvSpPr>
            <a:spLocks noGrp="1"/>
          </p:cNvSpPr>
          <p:nvPr>
            <p:ph type="body" sz="quarter" idx="18" hasCustomPrompt="1"/>
          </p:nvPr>
        </p:nvSpPr>
        <p:spPr>
          <a:xfrm>
            <a:off x="4464658" y="4263102"/>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3" name="Text Placeholder 2">
            <a:extLst>
              <a:ext uri="{FF2B5EF4-FFF2-40B4-BE49-F238E27FC236}">
                <a16:creationId xmlns:a16="http://schemas.microsoft.com/office/drawing/2014/main" id="{417B2FFD-4A9F-0E4F-AE47-7BDF1724B3AC}"/>
              </a:ext>
            </a:extLst>
          </p:cNvPr>
          <p:cNvSpPr>
            <a:spLocks noGrp="1"/>
          </p:cNvSpPr>
          <p:nvPr>
            <p:ph type="body" sz="quarter" idx="19" hasCustomPrompt="1"/>
          </p:nvPr>
        </p:nvSpPr>
        <p:spPr>
          <a:xfrm>
            <a:off x="4459947" y="4634612"/>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4" name="Text Placeholder 3">
            <a:extLst>
              <a:ext uri="{FF2B5EF4-FFF2-40B4-BE49-F238E27FC236}">
                <a16:creationId xmlns:a16="http://schemas.microsoft.com/office/drawing/2014/main" id="{6B46CADE-41BF-E247-8557-CF91B6AD0173}"/>
              </a:ext>
            </a:extLst>
          </p:cNvPr>
          <p:cNvSpPr>
            <a:spLocks noGrp="1"/>
          </p:cNvSpPr>
          <p:nvPr>
            <p:ph type="body" sz="quarter" idx="20" hasCustomPrompt="1"/>
          </p:nvPr>
        </p:nvSpPr>
        <p:spPr>
          <a:xfrm>
            <a:off x="8270649" y="3784379"/>
            <a:ext cx="852746" cy="478724"/>
          </a:xfrm>
        </p:spPr>
        <p:txBody>
          <a:bodyPr>
            <a:noAutofit/>
          </a:bodyPr>
          <a:lstStyle>
            <a:lvl1pPr marL="0" indent="0">
              <a:buNone/>
              <a:defRPr sz="3200" b="1" i="0">
                <a:solidFill>
                  <a:schemeClr val="accent3"/>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4</a:t>
            </a:r>
            <a:endParaRPr lang="en-CA"/>
          </a:p>
        </p:txBody>
      </p:sp>
      <p:sp>
        <p:nvSpPr>
          <p:cNvPr id="35" name="Text Placeholder 3">
            <a:extLst>
              <a:ext uri="{FF2B5EF4-FFF2-40B4-BE49-F238E27FC236}">
                <a16:creationId xmlns:a16="http://schemas.microsoft.com/office/drawing/2014/main" id="{A63052E1-2C11-AA42-BD6E-FFFB020D18B5}"/>
              </a:ext>
            </a:extLst>
          </p:cNvPr>
          <p:cNvSpPr>
            <a:spLocks noGrp="1"/>
          </p:cNvSpPr>
          <p:nvPr>
            <p:ph type="body" sz="quarter" idx="21" hasCustomPrompt="1"/>
          </p:nvPr>
        </p:nvSpPr>
        <p:spPr>
          <a:xfrm>
            <a:off x="8270649" y="4263102"/>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6" name="Text Placeholder 2">
            <a:extLst>
              <a:ext uri="{FF2B5EF4-FFF2-40B4-BE49-F238E27FC236}">
                <a16:creationId xmlns:a16="http://schemas.microsoft.com/office/drawing/2014/main" id="{4A516312-D489-2E45-BDFF-783F273AF9FE}"/>
              </a:ext>
            </a:extLst>
          </p:cNvPr>
          <p:cNvSpPr>
            <a:spLocks noGrp="1"/>
          </p:cNvSpPr>
          <p:nvPr>
            <p:ph type="body" sz="quarter" idx="22" hasCustomPrompt="1"/>
          </p:nvPr>
        </p:nvSpPr>
        <p:spPr>
          <a:xfrm>
            <a:off x="8270649" y="4634612"/>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7" name="Title 1">
            <a:extLst>
              <a:ext uri="{FF2B5EF4-FFF2-40B4-BE49-F238E27FC236}">
                <a16:creationId xmlns:a16="http://schemas.microsoft.com/office/drawing/2014/main" id="{28D9AFCA-2C16-8F40-B798-5344D5645A93}"/>
              </a:ext>
            </a:extLst>
          </p:cNvPr>
          <p:cNvSpPr>
            <a:spLocks noGrp="1"/>
          </p:cNvSpPr>
          <p:nvPr>
            <p:ph type="title" hasCustomPrompt="1"/>
          </p:nvPr>
        </p:nvSpPr>
        <p:spPr>
          <a:xfrm>
            <a:off x="471051" y="817861"/>
            <a:ext cx="3173849" cy="1105743"/>
          </a:xfrm>
        </p:spPr>
        <p:txBody>
          <a:bodyPr anchor="t">
            <a:noAutofit/>
          </a:bodyPr>
          <a:lstStyle>
            <a:lvl1pPr>
              <a:defRPr>
                <a:solidFill>
                  <a:schemeClr val="bg1"/>
                </a:solidFill>
              </a:defRPr>
            </a:lvl1pPr>
          </a:lstStyle>
          <a:p>
            <a:r>
              <a:rPr lang="en-US"/>
              <a:t>Slide title goes here</a:t>
            </a:r>
          </a:p>
        </p:txBody>
      </p:sp>
      <p:sp>
        <p:nvSpPr>
          <p:cNvPr id="38" name="Text Placeholder 2">
            <a:extLst>
              <a:ext uri="{FF2B5EF4-FFF2-40B4-BE49-F238E27FC236}">
                <a16:creationId xmlns:a16="http://schemas.microsoft.com/office/drawing/2014/main" id="{E6EDF971-BC57-5547-B31D-35DEA24E61DC}"/>
              </a:ext>
            </a:extLst>
          </p:cNvPr>
          <p:cNvSpPr>
            <a:spLocks noGrp="1"/>
          </p:cNvSpPr>
          <p:nvPr>
            <p:ph type="body" sz="quarter" idx="23" hasCustomPrompt="1"/>
          </p:nvPr>
        </p:nvSpPr>
        <p:spPr>
          <a:xfrm>
            <a:off x="471052" y="2239740"/>
            <a:ext cx="3173848" cy="4302125"/>
          </a:xfrm>
        </p:spPr>
        <p:txBody>
          <a:bodyPr>
            <a:noAutofit/>
          </a:bodyPr>
          <a:lstStyle>
            <a:lvl1pPr marL="0" indent="0">
              <a:lnSpc>
                <a:spcPct val="110000"/>
              </a:lnSpc>
              <a:spcBef>
                <a:spcPts val="0"/>
              </a:spcBef>
              <a:spcAft>
                <a:spcPts val="1600"/>
              </a:spcAft>
              <a:buFont typeface="Arial" panose="020B0604020202020204" pitchFamily="34" charset="0"/>
              <a:buNone/>
              <a:defRPr sz="1600">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9" name="Text Placeholder 4">
            <a:extLst>
              <a:ext uri="{FF2B5EF4-FFF2-40B4-BE49-F238E27FC236}">
                <a16:creationId xmlns:a16="http://schemas.microsoft.com/office/drawing/2014/main" id="{4EB44BF8-F5AB-7E42-989C-5C3CF75E4B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28112615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ategories">
    <p:bg>
      <p:bgPr>
        <a:solidFill>
          <a:srgbClr val="F2609E"/>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4EF56B-BA64-9B43-8A0B-60A365D0D31B}"/>
              </a:ext>
            </a:extLst>
          </p:cNvPr>
          <p:cNvSpPr/>
          <p:nvPr userDrawn="1"/>
        </p:nvSpPr>
        <p:spPr>
          <a:xfrm>
            <a:off x="6096000" y="0"/>
            <a:ext cx="60956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cotia" panose="020F0502020204030204"/>
              <a:ea typeface="+mn-ea"/>
              <a:cs typeface="+mn-cs"/>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1" y="816110"/>
            <a:ext cx="4079575" cy="1114290"/>
          </a:xfrm>
        </p:spPr>
        <p:txBody>
          <a:bodyPr anchor="t">
            <a:noAutofit/>
          </a:bodyPr>
          <a:lstStyle>
            <a:lvl1pPr>
              <a:defRPr>
                <a:solidFill>
                  <a:schemeClr val="bg1"/>
                </a:solidFill>
              </a:defRPr>
            </a:lvl1pPr>
          </a:lstStyle>
          <a:p>
            <a:r>
              <a:rPr lang="en-US"/>
              <a:t>One subhead on two lines</a:t>
            </a:r>
          </a:p>
        </p:txBody>
      </p:sp>
      <p:sp>
        <p:nvSpPr>
          <p:cNvPr id="9" name="Text Placeholder 8">
            <a:extLst>
              <a:ext uri="{FF2B5EF4-FFF2-40B4-BE49-F238E27FC236}">
                <a16:creationId xmlns:a16="http://schemas.microsoft.com/office/drawing/2014/main" id="{990A04F8-56E6-3B4E-824D-8E614727089E}"/>
              </a:ext>
            </a:extLst>
          </p:cNvPr>
          <p:cNvSpPr>
            <a:spLocks noGrp="1"/>
          </p:cNvSpPr>
          <p:nvPr>
            <p:ph type="body" sz="quarter" idx="13" hasCustomPrompt="1"/>
          </p:nvPr>
        </p:nvSpPr>
        <p:spPr>
          <a:xfrm>
            <a:off x="6619155" y="816110"/>
            <a:ext cx="4290145" cy="1114290"/>
          </a:xfrm>
        </p:spPr>
        <p:txBody>
          <a:bodyPr>
            <a:noAutofit/>
          </a:bodyPr>
          <a:lstStyle>
            <a:lvl1pPr marL="0" indent="0">
              <a:buNone/>
              <a:defRPr sz="4000">
                <a:solidFill>
                  <a:schemeClr val="accent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Another subhead on two lines</a:t>
            </a:r>
            <a:endParaRPr lang="en-CA"/>
          </a:p>
        </p:txBody>
      </p:sp>
      <p:sp>
        <p:nvSpPr>
          <p:cNvPr id="8" name="Text Placeholder 7">
            <a:extLst>
              <a:ext uri="{FF2B5EF4-FFF2-40B4-BE49-F238E27FC236}">
                <a16:creationId xmlns:a16="http://schemas.microsoft.com/office/drawing/2014/main" id="{28723BEE-51F7-E94F-B993-CA886E9A616E}"/>
              </a:ext>
            </a:extLst>
          </p:cNvPr>
          <p:cNvSpPr>
            <a:spLocks noGrp="1"/>
          </p:cNvSpPr>
          <p:nvPr>
            <p:ph type="body" sz="quarter" idx="14" hasCustomPrompt="1"/>
          </p:nvPr>
        </p:nvSpPr>
        <p:spPr>
          <a:xfrm>
            <a:off x="467420" y="2197501"/>
            <a:ext cx="5082479" cy="4081462"/>
          </a:xfrm>
        </p:spPr>
        <p:txBody>
          <a:bodyPr>
            <a:noAutofit/>
          </a:bodyPr>
          <a:lstStyle>
            <a:lvl1pPr marL="285750" indent="-285750">
              <a:lnSpc>
                <a:spcPct val="110000"/>
              </a:lnSpc>
              <a:spcBef>
                <a:spcPts val="1800"/>
              </a:spcBef>
              <a:buFont typeface="Arial" panose="020B0604020202020204" pitchFamily="34" charset="0"/>
              <a:buChar char="•"/>
              <a:defRPr sz="1600">
                <a:solidFill>
                  <a:schemeClr val="bg1"/>
                </a:solidFill>
              </a:defRPr>
            </a:lvl1pPr>
            <a:lvl2pPr marL="914400" indent="-457200">
              <a:buFont typeface="+mj-lt"/>
              <a:buAutoNum type="arabicPeriod"/>
              <a:defRPr/>
            </a:lvl2pPr>
            <a:lvl3pPr marL="1257300" indent="-3429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r>
              <a:rPr lang="en-US" err="1"/>
              <a:t>est</a:t>
            </a:r>
            <a:r>
              <a:rPr lang="en-US"/>
              <a:t> lorem.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r>
              <a:rPr lang="en-US"/>
              <a:t> </a:t>
            </a:r>
            <a:r>
              <a:rPr lang="en-US" err="1"/>
              <a:t>neque</a:t>
            </a:r>
            <a:r>
              <a:rPr lang="en-US"/>
              <a:t> </a:t>
            </a:r>
            <a:r>
              <a:rPr lang="en-US" err="1"/>
              <a:t>volutpat</a:t>
            </a:r>
            <a:r>
              <a:rPr lang="en-US"/>
              <a:t>. Aenean sed adipiscing diam </a:t>
            </a:r>
            <a:r>
              <a:rPr lang="en-US" err="1"/>
              <a:t>donec</a:t>
            </a:r>
            <a:r>
              <a:rPr lang="en-US"/>
              <a:t> adipiscing. </a:t>
            </a:r>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p:txBody>
      </p:sp>
      <p:sp>
        <p:nvSpPr>
          <p:cNvPr id="14" name="Text Placeholder 7">
            <a:extLst>
              <a:ext uri="{FF2B5EF4-FFF2-40B4-BE49-F238E27FC236}">
                <a16:creationId xmlns:a16="http://schemas.microsoft.com/office/drawing/2014/main" id="{851AE481-18CD-4140-94BF-3F030B2B490D}"/>
              </a:ext>
            </a:extLst>
          </p:cNvPr>
          <p:cNvSpPr>
            <a:spLocks noGrp="1"/>
          </p:cNvSpPr>
          <p:nvPr>
            <p:ph type="body" sz="quarter" idx="15" hasCustomPrompt="1"/>
          </p:nvPr>
        </p:nvSpPr>
        <p:spPr>
          <a:xfrm>
            <a:off x="6619155" y="2195782"/>
            <a:ext cx="5082479" cy="4081462"/>
          </a:xfrm>
        </p:spPr>
        <p:txBody>
          <a:bodyPr>
            <a:noAutofit/>
          </a:bodyPr>
          <a:lstStyle>
            <a:lvl1pPr marL="0" marR="0" indent="0" algn="l" defTabSz="914400" rtl="0" eaLnBrk="1" fontAlgn="base" latinLnBrk="0" hangingPunct="1">
              <a:lnSpc>
                <a:spcPct val="110000"/>
              </a:lnSpc>
              <a:spcBef>
                <a:spcPts val="0"/>
              </a:spcBef>
              <a:spcAft>
                <a:spcPts val="1800"/>
              </a:spcAft>
              <a:buClrTx/>
              <a:buSzTx/>
              <a:buFont typeface="Arial" panose="020B0604020202020204" pitchFamily="34" charset="0"/>
              <a:buChar char="•"/>
              <a:tabLst/>
              <a:defRPr sz="1600">
                <a:solidFill>
                  <a:srgbClr val="333333"/>
                </a:solidFill>
              </a:defRPr>
            </a:lvl1pPr>
            <a:lvl2pPr marL="914400" indent="-457200">
              <a:buFont typeface="+mj-lt"/>
              <a:buAutoNum type="arabicPeriod"/>
              <a:defRPr/>
            </a:lvl2pPr>
            <a:lvl3pPr marL="1257300" indent="-3429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Molesti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non </a:t>
            </a:r>
            <a:r>
              <a:rPr kumimoji="0" lang="en-CA" sz="1600" b="0" i="0" u="none" strike="noStrike" kern="1200" cap="none" spc="0" normalizeH="0" baseline="0" noProof="0" err="1">
                <a:ln>
                  <a:noFill/>
                </a:ln>
                <a:solidFill>
                  <a:srgbClr val="333333"/>
                </a:solidFill>
                <a:effectLst/>
                <a:uLnTx/>
                <a:uFillTx/>
                <a:latin typeface="+mn-lt"/>
                <a:ea typeface="+mn-ea"/>
                <a:cs typeface="+mn-cs"/>
              </a:rPr>
              <a:t>blandi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ssa</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c</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ttis</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Felis </a:t>
            </a:r>
            <a:r>
              <a:rPr kumimoji="0" lang="en-CA" sz="1600" b="0" i="0" u="none" strike="noStrike" kern="1200" cap="none" spc="0" normalizeH="0" baseline="0" noProof="0" err="1">
                <a:ln>
                  <a:noFill/>
                </a:ln>
                <a:solidFill>
                  <a:srgbClr val="333333"/>
                </a:solidFill>
                <a:effectLst/>
                <a:uLnTx/>
                <a:uFillTx/>
                <a:latin typeface="+mn-lt"/>
                <a:ea typeface="+mn-ea"/>
                <a:cs typeface="+mn-cs"/>
              </a:rPr>
              <a:t>bibendu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ristique</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quis</a:t>
            </a:r>
            <a:r>
              <a:rPr kumimoji="0" lang="en-CA" sz="1600" b="0" i="0" u="none" strike="noStrike" kern="1200" cap="none" spc="0" normalizeH="0" baseline="0" noProof="0">
                <a:ln>
                  <a:noFill/>
                </a:ln>
                <a:solidFill>
                  <a:srgbClr val="333333"/>
                </a:solidFill>
                <a:effectLst/>
                <a:uLnTx/>
                <a:uFillTx/>
                <a:latin typeface="+mn-lt"/>
                <a:ea typeface="+mn-ea"/>
                <a:cs typeface="+mn-cs"/>
              </a:rPr>
              <a:t> ipsum </a:t>
            </a:r>
            <a:r>
              <a:rPr kumimoji="0" lang="en-CA" sz="1600" b="0" i="0" u="none" strike="noStrike" kern="1200" cap="none" spc="0" normalizeH="0" baseline="0" noProof="0" err="1">
                <a:ln>
                  <a:noFill/>
                </a:ln>
                <a:solidFill>
                  <a:srgbClr val="333333"/>
                </a:solidFill>
                <a:effectLst/>
                <a:uLnTx/>
                <a:uFillTx/>
                <a:latin typeface="+mn-lt"/>
                <a:ea typeface="+mn-ea"/>
                <a:cs typeface="+mn-cs"/>
              </a:rPr>
              <a:t>suspendisse</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Sed </a:t>
            </a:r>
            <a:r>
              <a:rPr kumimoji="0" lang="en-CA" sz="1600" b="0" i="0" u="none" strike="noStrike" kern="1200" cap="none" spc="0" normalizeH="0" baseline="0" noProof="0" err="1">
                <a:ln>
                  <a:noFill/>
                </a:ln>
                <a:solidFill>
                  <a:srgbClr val="333333"/>
                </a:solidFill>
                <a:effectLst/>
                <a:uLnTx/>
                <a:uFillTx/>
                <a:latin typeface="+mn-lt"/>
                <a:ea typeface="+mn-ea"/>
                <a:cs typeface="+mn-cs"/>
              </a:rPr>
              <a:t>blandit</a:t>
            </a:r>
            <a:r>
              <a:rPr kumimoji="0" lang="en-CA" sz="1600" b="0" i="0" u="none" strike="noStrike" kern="1200" cap="none" spc="0" normalizeH="0" baseline="0" noProof="0">
                <a:ln>
                  <a:noFill/>
                </a:ln>
                <a:solidFill>
                  <a:srgbClr val="333333"/>
                </a:solidFill>
                <a:effectLst/>
                <a:uLnTx/>
                <a:uFillTx/>
                <a:latin typeface="+mn-lt"/>
                <a:ea typeface="+mn-ea"/>
                <a:cs typeface="+mn-cs"/>
              </a:rPr>
              <a:t> libero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sed. </a:t>
            </a:r>
            <a:r>
              <a:rPr kumimoji="0" lang="en-CA" sz="1600" b="0" i="0" u="none" strike="noStrike" kern="1200" cap="none" spc="0" normalizeH="0" baseline="0" noProof="0" err="1">
                <a:ln>
                  <a:noFill/>
                </a:ln>
                <a:solidFill>
                  <a:srgbClr val="333333"/>
                </a:solidFill>
                <a:effectLst/>
                <a:uLnTx/>
                <a:uFillTx/>
                <a:latin typeface="+mn-lt"/>
                <a:ea typeface="+mn-ea"/>
                <a:cs typeface="+mn-cs"/>
              </a:rPr>
              <a:t>Sodal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sodal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tiam</a:t>
            </a:r>
            <a:r>
              <a:rPr kumimoji="0" lang="en-CA" sz="1600" b="0" i="0" u="none" strike="noStrike" kern="1200" cap="none" spc="0" normalizeH="0" baseline="0" noProof="0">
                <a:ln>
                  <a:noFill/>
                </a:ln>
                <a:solidFill>
                  <a:srgbClr val="333333"/>
                </a:solidFill>
                <a:effectLst/>
                <a:uLnTx/>
                <a:uFillTx/>
                <a:latin typeface="+mn-lt"/>
                <a:ea typeface="+mn-ea"/>
                <a:cs typeface="+mn-cs"/>
              </a:rPr>
              <a:t> sit </a:t>
            </a:r>
            <a:r>
              <a:rPr kumimoji="0" lang="en-CA" sz="1600" b="0" i="0" u="none" strike="noStrike" kern="1200" cap="none" spc="0" normalizeH="0" baseline="0" noProof="0" err="1">
                <a:ln>
                  <a:noFill/>
                </a:ln>
                <a:solidFill>
                  <a:srgbClr val="333333"/>
                </a:solidFill>
                <a:effectLst/>
                <a:uLnTx/>
                <a:uFillTx/>
                <a:latin typeface="+mn-lt"/>
                <a:ea typeface="+mn-ea"/>
                <a:cs typeface="+mn-cs"/>
              </a:rPr>
              <a:t>amet</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Turp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incidunt</a:t>
            </a:r>
            <a:r>
              <a:rPr kumimoji="0" lang="en-CA" sz="1600" b="0" i="0" u="none" strike="noStrike" kern="1200" cap="none" spc="0" normalizeH="0" baseline="0" noProof="0">
                <a:ln>
                  <a:noFill/>
                </a:ln>
                <a:solidFill>
                  <a:srgbClr val="333333"/>
                </a:solidFill>
                <a:effectLst/>
                <a:uLnTx/>
                <a:uFillTx/>
                <a:latin typeface="+mn-lt"/>
                <a:ea typeface="+mn-ea"/>
                <a:cs typeface="+mn-cs"/>
              </a:rPr>
              <a:t> id </a:t>
            </a:r>
            <a:r>
              <a:rPr kumimoji="0" lang="en-CA" sz="1600" b="0" i="0" u="none" strike="noStrike" kern="1200" cap="none" spc="0" normalizeH="0" baseline="0" noProof="0" err="1">
                <a:ln>
                  <a:noFill/>
                </a:ln>
                <a:solidFill>
                  <a:srgbClr val="333333"/>
                </a:solidFill>
                <a:effectLst/>
                <a:uLnTx/>
                <a:uFillTx/>
                <a:latin typeface="+mn-lt"/>
                <a:ea typeface="+mn-ea"/>
                <a:cs typeface="+mn-cs"/>
              </a:rPr>
              <a:t>alique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risus</a:t>
            </a:r>
            <a:r>
              <a:rPr kumimoji="0" lang="en-CA" sz="1600" b="0" i="0" u="none" strike="noStrike" kern="1200" cap="none" spc="0" normalizeH="0" baseline="0" noProof="0">
                <a:ln>
                  <a:noFill/>
                </a:ln>
                <a:solidFill>
                  <a:srgbClr val="333333"/>
                </a:solidFill>
                <a:effectLst/>
                <a:uLnTx/>
                <a:uFillTx/>
                <a:latin typeface="+mn-lt"/>
                <a:ea typeface="+mn-ea"/>
                <a:cs typeface="+mn-cs"/>
              </a:rPr>
              <a:t>. Morbi </a:t>
            </a:r>
            <a:r>
              <a:rPr kumimoji="0" lang="en-CA" sz="1600" b="0" i="0" u="none" strike="noStrike" kern="1200" cap="none" spc="0" normalizeH="0" baseline="0" noProof="0" err="1">
                <a:ln>
                  <a:noFill/>
                </a:ln>
                <a:solidFill>
                  <a:srgbClr val="333333"/>
                </a:solidFill>
                <a:effectLst/>
                <a:uLnTx/>
                <a:uFillTx/>
                <a:latin typeface="+mn-lt"/>
                <a:ea typeface="+mn-ea"/>
                <a:cs typeface="+mn-cs"/>
              </a:rPr>
              <a:t>tristi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senectus</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netus</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malesuada</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Accumsan</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lacus</a:t>
            </a:r>
            <a:r>
              <a:rPr kumimoji="0" lang="en-CA" sz="1600" b="0" i="0" u="none" strike="noStrike" kern="1200" cap="none" spc="0" normalizeH="0" baseline="0" noProof="0">
                <a:ln>
                  <a:noFill/>
                </a:ln>
                <a:solidFill>
                  <a:srgbClr val="333333"/>
                </a:solidFill>
                <a:effectLst/>
                <a:uLnTx/>
                <a:uFillTx/>
                <a:latin typeface="+mn-lt"/>
                <a:ea typeface="+mn-ea"/>
                <a:cs typeface="+mn-cs"/>
              </a:rPr>
              <a:t> vel </a:t>
            </a:r>
            <a:r>
              <a:rPr kumimoji="0" lang="en-CA" sz="1600" b="0" i="0" u="none" strike="noStrike" kern="1200" cap="none" spc="0" normalizeH="0" baseline="0" noProof="0" err="1">
                <a:ln>
                  <a:noFill/>
                </a:ln>
                <a:solidFill>
                  <a:srgbClr val="333333"/>
                </a:solidFill>
                <a:effectLst/>
                <a:uLnTx/>
                <a:uFillTx/>
                <a:latin typeface="+mn-lt"/>
                <a:ea typeface="+mn-ea"/>
                <a:cs typeface="+mn-cs"/>
              </a:rPr>
              <a:t>facilis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s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eli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Elementum</a:t>
            </a:r>
            <a:r>
              <a:rPr kumimoji="0" lang="en-CA" sz="1600" b="0" i="0" u="none" strike="noStrike" kern="1200" cap="none" spc="0" normalizeH="0" baseline="0" noProof="0">
                <a:ln>
                  <a:noFill/>
                </a:ln>
                <a:solidFill>
                  <a:srgbClr val="333333"/>
                </a:solidFill>
                <a:effectLst/>
                <a:uLnTx/>
                <a:uFillTx/>
                <a:latin typeface="+mn-lt"/>
                <a:ea typeface="+mn-ea"/>
                <a:cs typeface="+mn-cs"/>
              </a:rPr>
              <a:t> tempus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sed sed </a:t>
            </a:r>
            <a:r>
              <a:rPr kumimoji="0" lang="en-CA" sz="1600" b="0" i="0" u="none" strike="noStrike" kern="1200" cap="none" spc="0" normalizeH="0" baseline="0" noProof="0" err="1">
                <a:ln>
                  <a:noFill/>
                </a:ln>
                <a:solidFill>
                  <a:srgbClr val="333333"/>
                </a:solidFill>
                <a:effectLst/>
                <a:uLnTx/>
                <a:uFillTx/>
                <a:latin typeface="+mn-lt"/>
                <a:ea typeface="+mn-ea"/>
                <a:cs typeface="+mn-cs"/>
              </a:rPr>
              <a:t>risus</a:t>
            </a:r>
            <a:r>
              <a:rPr kumimoji="0" lang="en-CA" sz="1600" b="0" i="0" u="none" strike="noStrike" kern="1200" cap="none" spc="0" normalizeH="0" baseline="0" noProof="0">
                <a:ln>
                  <a:noFill/>
                </a:ln>
                <a:solidFill>
                  <a:srgbClr val="333333"/>
                </a:solidFill>
                <a:effectLst/>
                <a:uLnTx/>
                <a:uFillTx/>
                <a:latin typeface="+mn-lt"/>
                <a:ea typeface="+mn-ea"/>
                <a:cs typeface="+mn-cs"/>
              </a:rPr>
              <a:t>.</a:t>
            </a:r>
            <a:endParaRPr kumimoji="0" lang="en-CA" sz="14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99348121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ategories (reversed)">
    <p:bg>
      <p:bgPr>
        <a:solidFill>
          <a:srgbClr val="F2609E"/>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4EF56B-BA64-9B43-8A0B-60A365D0D31B}"/>
              </a:ext>
            </a:extLst>
          </p:cNvPr>
          <p:cNvSpPr/>
          <p:nvPr userDrawn="1"/>
        </p:nvSpPr>
        <p:spPr>
          <a:xfrm>
            <a:off x="-39143" y="0"/>
            <a:ext cx="60956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cotia" panose="020F0502020204030204"/>
              <a:ea typeface="+mn-ea"/>
              <a:cs typeface="+mn-cs"/>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FFFFFF"/>
                </a:solidFill>
                <a:latin typeface="Scotia" panose="020B0503020203020204" pitchFamily="34" charset="0"/>
              </a:rPr>
              <a:pPr algn="r"/>
              <a:t>‹#›</a:t>
            </a:fld>
            <a:endParaRPr lang="en-CA" sz="800">
              <a:solidFill>
                <a:srgbClr val="FFFFFF"/>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FFFFFF"/>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1" y="816110"/>
            <a:ext cx="4053779" cy="1190490"/>
          </a:xfrm>
        </p:spPr>
        <p:txBody>
          <a:bodyPr anchor="t">
            <a:noAutofit/>
          </a:bodyPr>
          <a:lstStyle>
            <a:lvl1pPr>
              <a:defRPr>
                <a:solidFill>
                  <a:srgbClr val="F2609E"/>
                </a:solidFill>
              </a:defRPr>
            </a:lvl1pPr>
          </a:lstStyle>
          <a:p>
            <a:r>
              <a:rPr lang="en-US"/>
              <a:t>One subhead on two lines</a:t>
            </a:r>
          </a:p>
        </p:txBody>
      </p:sp>
      <p:sp>
        <p:nvSpPr>
          <p:cNvPr id="9" name="Text Placeholder 8">
            <a:extLst>
              <a:ext uri="{FF2B5EF4-FFF2-40B4-BE49-F238E27FC236}">
                <a16:creationId xmlns:a16="http://schemas.microsoft.com/office/drawing/2014/main" id="{990A04F8-56E6-3B4E-824D-8E614727089E}"/>
              </a:ext>
            </a:extLst>
          </p:cNvPr>
          <p:cNvSpPr>
            <a:spLocks noGrp="1"/>
          </p:cNvSpPr>
          <p:nvPr>
            <p:ph type="body" sz="quarter" idx="13" hasCustomPrompt="1"/>
          </p:nvPr>
        </p:nvSpPr>
        <p:spPr>
          <a:xfrm>
            <a:off x="6619155" y="816110"/>
            <a:ext cx="4315545" cy="1190490"/>
          </a:xfrm>
        </p:spPr>
        <p:txBody>
          <a:bodyPr>
            <a:noAutofit/>
          </a:bodyPr>
          <a:lstStyle>
            <a:lvl1pPr marL="0" indent="0">
              <a:buNone/>
              <a:defRPr sz="4000">
                <a:solidFill>
                  <a:srgbClr val="FFFFFF"/>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Another subhead on two lines</a:t>
            </a:r>
            <a:endParaRPr lang="en-CA"/>
          </a:p>
        </p:txBody>
      </p:sp>
      <p:sp>
        <p:nvSpPr>
          <p:cNvPr id="8" name="Text Placeholder 7">
            <a:extLst>
              <a:ext uri="{FF2B5EF4-FFF2-40B4-BE49-F238E27FC236}">
                <a16:creationId xmlns:a16="http://schemas.microsoft.com/office/drawing/2014/main" id="{28723BEE-51F7-E94F-B993-CA886E9A616E}"/>
              </a:ext>
            </a:extLst>
          </p:cNvPr>
          <p:cNvSpPr>
            <a:spLocks noGrp="1"/>
          </p:cNvSpPr>
          <p:nvPr>
            <p:ph type="body" sz="quarter" idx="14" hasCustomPrompt="1"/>
          </p:nvPr>
        </p:nvSpPr>
        <p:spPr>
          <a:xfrm>
            <a:off x="467420" y="2197501"/>
            <a:ext cx="5082479" cy="4081462"/>
          </a:xfrm>
        </p:spPr>
        <p:txBody>
          <a:bodyPr>
            <a:noAutofit/>
          </a:bodyPr>
          <a:lstStyle>
            <a:lvl1pPr marL="285750" indent="-285750">
              <a:lnSpc>
                <a:spcPct val="110000"/>
              </a:lnSpc>
              <a:spcBef>
                <a:spcPts val="1800"/>
              </a:spcBef>
              <a:buFont typeface="Arial" panose="020B0604020202020204" pitchFamily="34" charset="0"/>
              <a:buChar char="•"/>
              <a:defRPr sz="1600">
                <a:solidFill>
                  <a:srgbClr val="333333"/>
                </a:solidFill>
              </a:defRPr>
            </a:lvl1pPr>
            <a:lvl2pPr marL="914400" indent="-457200">
              <a:buFont typeface="+mj-lt"/>
              <a:buAutoNum type="arabicPeriod"/>
              <a:defRPr/>
            </a:lvl2pPr>
            <a:lvl3pPr marL="1257300" indent="-3429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r>
              <a:rPr lang="en-US" err="1"/>
              <a:t>est</a:t>
            </a:r>
            <a:r>
              <a:rPr lang="en-US"/>
              <a:t> lorem.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r>
              <a:rPr lang="en-US"/>
              <a:t> </a:t>
            </a:r>
            <a:r>
              <a:rPr lang="en-US" err="1"/>
              <a:t>neque</a:t>
            </a:r>
            <a:r>
              <a:rPr lang="en-US"/>
              <a:t> </a:t>
            </a:r>
            <a:r>
              <a:rPr lang="en-US" err="1"/>
              <a:t>volutpat</a:t>
            </a:r>
            <a:r>
              <a:rPr lang="en-US"/>
              <a:t>. Aenean sed adipiscing diam </a:t>
            </a:r>
            <a:r>
              <a:rPr lang="en-US" err="1"/>
              <a:t>donec</a:t>
            </a:r>
            <a:r>
              <a:rPr lang="en-US"/>
              <a:t> adipiscing. </a:t>
            </a:r>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p:txBody>
      </p:sp>
      <p:sp>
        <p:nvSpPr>
          <p:cNvPr id="6" name="Text Placeholder 5">
            <a:extLst>
              <a:ext uri="{FF2B5EF4-FFF2-40B4-BE49-F238E27FC236}">
                <a16:creationId xmlns:a16="http://schemas.microsoft.com/office/drawing/2014/main" id="{302E218F-61EF-3347-8FD3-254F7F9B6AA0}"/>
              </a:ext>
            </a:extLst>
          </p:cNvPr>
          <p:cNvSpPr>
            <a:spLocks noGrp="1"/>
          </p:cNvSpPr>
          <p:nvPr>
            <p:ph type="body" sz="quarter" idx="16" hasCustomPrompt="1"/>
          </p:nvPr>
        </p:nvSpPr>
        <p:spPr>
          <a:xfrm>
            <a:off x="6619875" y="2195513"/>
            <a:ext cx="5104705" cy="4083450"/>
          </a:xfrm>
        </p:spPr>
        <p:txBody>
          <a:bodyPr>
            <a:noAutofit/>
          </a:bodyPr>
          <a:lstStyle>
            <a:lvl1pPr marL="285750" indent="-285750">
              <a:lnSpc>
                <a:spcPct val="110000"/>
              </a:lnSpc>
              <a:spcBef>
                <a:spcPts val="1800"/>
              </a:spcBef>
              <a:buFont typeface="Arial" panose="020B0604020202020204" pitchFamily="34" charset="0"/>
              <a:buChar char="•"/>
              <a:defRPr sz="1600">
                <a:solidFill>
                  <a:srgbClr val="FFFFFF"/>
                </a:solidFill>
              </a:defRPr>
            </a:lvl1pPr>
          </a:lstStyle>
          <a:p>
            <a:pPr lvl="0"/>
            <a:r>
              <a:rPr lang="en-US" err="1"/>
              <a:t>Molestie</a:t>
            </a:r>
            <a:r>
              <a:rPr lang="en-US"/>
              <a:t> </a:t>
            </a:r>
            <a:r>
              <a:rPr lang="en-US" err="1"/>
              <a:t>nunc</a:t>
            </a:r>
            <a:r>
              <a:rPr lang="en-US"/>
              <a:t> non </a:t>
            </a:r>
            <a:r>
              <a:rPr lang="en-US" err="1"/>
              <a:t>blandit</a:t>
            </a:r>
            <a:r>
              <a:rPr lang="en-US"/>
              <a:t> </a:t>
            </a:r>
            <a:r>
              <a:rPr lang="en-US" err="1"/>
              <a:t>massa</a:t>
            </a:r>
            <a:r>
              <a:rPr lang="en-US"/>
              <a:t> </a:t>
            </a:r>
            <a:r>
              <a:rPr lang="en-US" err="1"/>
              <a:t>enim</a:t>
            </a:r>
            <a:r>
              <a:rPr lang="en-US"/>
              <a:t> </a:t>
            </a:r>
            <a:r>
              <a:rPr lang="en-US" err="1"/>
              <a:t>nec</a:t>
            </a:r>
            <a:r>
              <a:rPr lang="en-US"/>
              <a:t> dui </a:t>
            </a:r>
            <a:r>
              <a:rPr lang="en-US" err="1"/>
              <a:t>nunc</a:t>
            </a:r>
            <a:r>
              <a:rPr lang="en-US"/>
              <a:t> </a:t>
            </a:r>
            <a:r>
              <a:rPr lang="en-US" err="1"/>
              <a:t>mattis</a:t>
            </a:r>
            <a:r>
              <a:rPr lang="en-US"/>
              <a:t>. </a:t>
            </a:r>
          </a:p>
          <a:p>
            <a:pPr lvl="0"/>
            <a:r>
              <a:rPr lang="en-US"/>
              <a:t>Felis </a:t>
            </a:r>
            <a:r>
              <a:rPr lang="en-US" err="1"/>
              <a:t>bibendum</a:t>
            </a:r>
            <a:r>
              <a:rPr lang="en-US"/>
              <a:t> </a:t>
            </a:r>
            <a:r>
              <a:rPr lang="en-US" err="1"/>
              <a:t>ut</a:t>
            </a:r>
            <a:r>
              <a:rPr lang="en-US"/>
              <a:t> </a:t>
            </a:r>
            <a:r>
              <a:rPr lang="en-US" err="1"/>
              <a:t>tristique</a:t>
            </a:r>
            <a:r>
              <a:rPr lang="en-US"/>
              <a:t> et </a:t>
            </a:r>
            <a:r>
              <a:rPr lang="en-US" err="1"/>
              <a:t>egestas</a:t>
            </a:r>
            <a:r>
              <a:rPr lang="en-US"/>
              <a:t> </a:t>
            </a:r>
            <a:r>
              <a:rPr lang="en-US" err="1"/>
              <a:t>quis</a:t>
            </a:r>
            <a:r>
              <a:rPr lang="en-US"/>
              <a:t> ipsum </a:t>
            </a:r>
            <a:r>
              <a:rPr lang="en-US" err="1"/>
              <a:t>suspendisse</a:t>
            </a:r>
            <a:r>
              <a:rPr lang="en-US"/>
              <a:t>. </a:t>
            </a:r>
          </a:p>
          <a:p>
            <a:pPr lvl="0"/>
            <a:r>
              <a:rPr lang="en-US"/>
              <a:t>Sed </a:t>
            </a:r>
            <a:r>
              <a:rPr lang="en-US" err="1"/>
              <a:t>blandit</a:t>
            </a:r>
            <a:r>
              <a:rPr lang="en-US"/>
              <a:t> libero </a:t>
            </a:r>
            <a:r>
              <a:rPr lang="en-US" err="1"/>
              <a:t>volutpat</a:t>
            </a:r>
            <a:r>
              <a:rPr lang="en-US"/>
              <a:t> sed. </a:t>
            </a:r>
            <a:r>
              <a:rPr lang="en-US" err="1"/>
              <a:t>Sodales</a:t>
            </a:r>
            <a:r>
              <a:rPr lang="en-US"/>
              <a:t> </a:t>
            </a:r>
            <a:r>
              <a:rPr lang="en-US" err="1"/>
              <a:t>neque</a:t>
            </a:r>
            <a:r>
              <a:rPr lang="en-US"/>
              <a:t> </a:t>
            </a:r>
            <a:r>
              <a:rPr lang="en-US" err="1"/>
              <a:t>sodales</a:t>
            </a:r>
            <a:r>
              <a:rPr lang="en-US"/>
              <a:t> </a:t>
            </a:r>
            <a:r>
              <a:rPr lang="en-US" err="1"/>
              <a:t>ut</a:t>
            </a:r>
            <a:r>
              <a:rPr lang="en-US"/>
              <a:t> </a:t>
            </a:r>
            <a:r>
              <a:rPr lang="en-US" err="1"/>
              <a:t>etiam</a:t>
            </a:r>
            <a:r>
              <a:rPr lang="en-US"/>
              <a:t> sit </a:t>
            </a:r>
            <a:r>
              <a:rPr lang="en-US" err="1"/>
              <a:t>amet</a:t>
            </a:r>
            <a:r>
              <a:rPr lang="en-US"/>
              <a:t>. </a:t>
            </a:r>
          </a:p>
          <a:p>
            <a:pPr lvl="0"/>
            <a:r>
              <a:rPr lang="en-US" err="1"/>
              <a:t>Turpis</a:t>
            </a:r>
            <a:r>
              <a:rPr lang="en-US"/>
              <a:t> </a:t>
            </a:r>
            <a:r>
              <a:rPr lang="en-US" err="1"/>
              <a:t>tincidunt</a:t>
            </a:r>
            <a:r>
              <a:rPr lang="en-US"/>
              <a:t> id </a:t>
            </a:r>
            <a:r>
              <a:rPr lang="en-US" err="1"/>
              <a:t>aliquet</a:t>
            </a:r>
            <a:r>
              <a:rPr lang="en-US"/>
              <a:t> </a:t>
            </a:r>
            <a:r>
              <a:rPr lang="en-US" err="1"/>
              <a:t>risus</a:t>
            </a:r>
            <a:r>
              <a:rPr lang="en-US"/>
              <a:t>. Morbi </a:t>
            </a:r>
            <a:r>
              <a:rPr lang="en-US" err="1"/>
              <a:t>tristique</a:t>
            </a:r>
            <a:r>
              <a:rPr lang="en-US"/>
              <a:t> </a:t>
            </a:r>
            <a:r>
              <a:rPr lang="en-US" err="1"/>
              <a:t>senectus</a:t>
            </a:r>
            <a:r>
              <a:rPr lang="en-US"/>
              <a:t> et </a:t>
            </a:r>
            <a:r>
              <a:rPr lang="en-US" err="1"/>
              <a:t>netus</a:t>
            </a:r>
            <a:r>
              <a:rPr lang="en-US"/>
              <a:t> et </a:t>
            </a:r>
            <a:r>
              <a:rPr lang="en-US" err="1"/>
              <a:t>malesuada</a:t>
            </a:r>
            <a:r>
              <a:rPr lang="en-US"/>
              <a:t>. </a:t>
            </a:r>
          </a:p>
          <a:p>
            <a:pPr lvl="0"/>
            <a:r>
              <a:rPr lang="en-US" err="1"/>
              <a:t>Accumsan</a:t>
            </a:r>
            <a:r>
              <a:rPr lang="en-US"/>
              <a:t> </a:t>
            </a:r>
            <a:r>
              <a:rPr lang="en-US" err="1"/>
              <a:t>lacus</a:t>
            </a:r>
            <a:r>
              <a:rPr lang="en-US"/>
              <a:t> vel </a:t>
            </a:r>
            <a:r>
              <a:rPr lang="en-US" err="1"/>
              <a:t>facilisis</a:t>
            </a:r>
            <a:r>
              <a:rPr lang="en-US"/>
              <a:t> </a:t>
            </a:r>
            <a:r>
              <a:rPr lang="en-US" err="1"/>
              <a:t>volutpat</a:t>
            </a:r>
            <a:r>
              <a:rPr lang="en-US"/>
              <a:t> </a:t>
            </a:r>
            <a:r>
              <a:rPr lang="en-US" err="1"/>
              <a:t>est</a:t>
            </a:r>
            <a:r>
              <a:rPr lang="en-US"/>
              <a:t> </a:t>
            </a:r>
            <a:r>
              <a:rPr lang="en-US" err="1"/>
              <a:t>velit</a:t>
            </a:r>
            <a:r>
              <a:rPr lang="en-US"/>
              <a:t> </a:t>
            </a:r>
            <a:r>
              <a:rPr lang="en-US" err="1"/>
              <a:t>egestas</a:t>
            </a:r>
            <a:r>
              <a:rPr lang="en-US"/>
              <a:t> dui. </a:t>
            </a:r>
            <a:r>
              <a:rPr lang="en-US" err="1"/>
              <a:t>Elementum</a:t>
            </a:r>
            <a:r>
              <a:rPr lang="en-US"/>
              <a:t> tempus </a:t>
            </a:r>
            <a:r>
              <a:rPr lang="en-US" err="1"/>
              <a:t>egestas</a:t>
            </a:r>
            <a:r>
              <a:rPr lang="en-US"/>
              <a:t> sed sed </a:t>
            </a:r>
            <a:r>
              <a:rPr lang="en-US" err="1"/>
              <a:t>risus</a:t>
            </a:r>
            <a:r>
              <a:rPr lang="en-US"/>
              <a:t>.</a:t>
            </a:r>
          </a:p>
        </p:txBody>
      </p:sp>
    </p:spTree>
    <p:extLst>
      <p:ext uri="{BB962C8B-B14F-4D97-AF65-F5344CB8AC3E}">
        <p14:creationId xmlns:p14="http://schemas.microsoft.com/office/powerpoint/2010/main" val="6085266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 subheads - full colour bg">
    <p:bg>
      <p:bgPr>
        <a:solidFill>
          <a:srgbClr val="7849B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21" name="Text Placeholder 3">
            <a:extLst>
              <a:ext uri="{FF2B5EF4-FFF2-40B4-BE49-F238E27FC236}">
                <a16:creationId xmlns:a16="http://schemas.microsoft.com/office/drawing/2014/main" id="{0B4AB324-FEB4-8349-8411-B11639745BEF}"/>
              </a:ext>
            </a:extLst>
          </p:cNvPr>
          <p:cNvSpPr>
            <a:spLocks noGrp="1"/>
          </p:cNvSpPr>
          <p:nvPr>
            <p:ph type="body" sz="quarter" idx="12" hasCustomPrompt="1"/>
          </p:nvPr>
        </p:nvSpPr>
        <p:spPr>
          <a:xfrm>
            <a:off x="500039"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495327"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3" name="Text Placeholder 3">
            <a:extLst>
              <a:ext uri="{FF2B5EF4-FFF2-40B4-BE49-F238E27FC236}">
                <a16:creationId xmlns:a16="http://schemas.microsoft.com/office/drawing/2014/main" id="{9DC26C9D-C0FC-D347-8690-4D2ECD15B5B7}"/>
              </a:ext>
            </a:extLst>
          </p:cNvPr>
          <p:cNvSpPr>
            <a:spLocks noGrp="1"/>
          </p:cNvSpPr>
          <p:nvPr>
            <p:ph type="body" sz="quarter" idx="14" hasCustomPrompt="1"/>
          </p:nvPr>
        </p:nvSpPr>
        <p:spPr>
          <a:xfrm>
            <a:off x="2785133"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2780421"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5" name="Text Placeholder 3">
            <a:extLst>
              <a:ext uri="{FF2B5EF4-FFF2-40B4-BE49-F238E27FC236}">
                <a16:creationId xmlns:a16="http://schemas.microsoft.com/office/drawing/2014/main" id="{2462A25C-EF2B-A940-9E21-E8FD80C46782}"/>
              </a:ext>
            </a:extLst>
          </p:cNvPr>
          <p:cNvSpPr>
            <a:spLocks noGrp="1"/>
          </p:cNvSpPr>
          <p:nvPr>
            <p:ph type="body" sz="quarter" idx="16" hasCustomPrompt="1"/>
          </p:nvPr>
        </p:nvSpPr>
        <p:spPr>
          <a:xfrm>
            <a:off x="5070227"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5065515"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7" name="Text Placeholder 3">
            <a:extLst>
              <a:ext uri="{FF2B5EF4-FFF2-40B4-BE49-F238E27FC236}">
                <a16:creationId xmlns:a16="http://schemas.microsoft.com/office/drawing/2014/main" id="{C1186DC9-7482-3246-8288-079C7FC70FFA}"/>
              </a:ext>
            </a:extLst>
          </p:cNvPr>
          <p:cNvSpPr>
            <a:spLocks noGrp="1"/>
          </p:cNvSpPr>
          <p:nvPr>
            <p:ph type="body" sz="quarter" idx="18" hasCustomPrompt="1"/>
          </p:nvPr>
        </p:nvSpPr>
        <p:spPr>
          <a:xfrm>
            <a:off x="7360033"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8" name="Text Placeholder 2">
            <a:extLst>
              <a:ext uri="{FF2B5EF4-FFF2-40B4-BE49-F238E27FC236}">
                <a16:creationId xmlns:a16="http://schemas.microsoft.com/office/drawing/2014/main" id="{A1AD0A15-F7E8-CA46-B543-2CAC6CE1B469}"/>
              </a:ext>
            </a:extLst>
          </p:cNvPr>
          <p:cNvSpPr>
            <a:spLocks noGrp="1"/>
          </p:cNvSpPr>
          <p:nvPr>
            <p:ph type="body" sz="quarter" idx="19" hasCustomPrompt="1"/>
          </p:nvPr>
        </p:nvSpPr>
        <p:spPr>
          <a:xfrm>
            <a:off x="7355321"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9" name="Text Placeholder 3">
            <a:extLst>
              <a:ext uri="{FF2B5EF4-FFF2-40B4-BE49-F238E27FC236}">
                <a16:creationId xmlns:a16="http://schemas.microsoft.com/office/drawing/2014/main" id="{EF130F05-18BE-214F-A12F-7AB25486E1F9}"/>
              </a:ext>
            </a:extLst>
          </p:cNvPr>
          <p:cNvSpPr>
            <a:spLocks noGrp="1"/>
          </p:cNvSpPr>
          <p:nvPr>
            <p:ph type="body" sz="quarter" idx="20" hasCustomPrompt="1"/>
          </p:nvPr>
        </p:nvSpPr>
        <p:spPr>
          <a:xfrm>
            <a:off x="9654551"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649839"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1612974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 subheads - Colour">
    <p:bg>
      <p:bgPr>
        <a:solidFill>
          <a:srgbClr val="FB6330"/>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3B10F7-8216-9E40-AC4C-935B5F697249}"/>
              </a:ext>
            </a:extLst>
          </p:cNvPr>
          <p:cNvSpPr/>
          <p:nvPr userDrawn="1"/>
        </p:nvSpPr>
        <p:spPr>
          <a:xfrm flipV="1">
            <a:off x="397" y="1649248"/>
            <a:ext cx="12191207" cy="520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21" name="Text Placeholder 3">
            <a:extLst>
              <a:ext uri="{FF2B5EF4-FFF2-40B4-BE49-F238E27FC236}">
                <a16:creationId xmlns:a16="http://schemas.microsoft.com/office/drawing/2014/main" id="{0B4AB324-FEB4-8349-8411-B11639745BEF}"/>
              </a:ext>
            </a:extLst>
          </p:cNvPr>
          <p:cNvSpPr>
            <a:spLocks noGrp="1"/>
          </p:cNvSpPr>
          <p:nvPr>
            <p:ph type="body" sz="quarter" idx="12" hasCustomPrompt="1"/>
          </p:nvPr>
        </p:nvSpPr>
        <p:spPr>
          <a:xfrm>
            <a:off x="500039"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495327"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3" name="Text Placeholder 3">
            <a:extLst>
              <a:ext uri="{FF2B5EF4-FFF2-40B4-BE49-F238E27FC236}">
                <a16:creationId xmlns:a16="http://schemas.microsoft.com/office/drawing/2014/main" id="{9DC26C9D-C0FC-D347-8690-4D2ECD15B5B7}"/>
              </a:ext>
            </a:extLst>
          </p:cNvPr>
          <p:cNvSpPr>
            <a:spLocks noGrp="1"/>
          </p:cNvSpPr>
          <p:nvPr>
            <p:ph type="body" sz="quarter" idx="14" hasCustomPrompt="1"/>
          </p:nvPr>
        </p:nvSpPr>
        <p:spPr>
          <a:xfrm>
            <a:off x="2785133"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2780421"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5" name="Text Placeholder 3">
            <a:extLst>
              <a:ext uri="{FF2B5EF4-FFF2-40B4-BE49-F238E27FC236}">
                <a16:creationId xmlns:a16="http://schemas.microsoft.com/office/drawing/2014/main" id="{2462A25C-EF2B-A940-9E21-E8FD80C46782}"/>
              </a:ext>
            </a:extLst>
          </p:cNvPr>
          <p:cNvSpPr>
            <a:spLocks noGrp="1"/>
          </p:cNvSpPr>
          <p:nvPr>
            <p:ph type="body" sz="quarter" idx="16" hasCustomPrompt="1"/>
          </p:nvPr>
        </p:nvSpPr>
        <p:spPr>
          <a:xfrm>
            <a:off x="5070227"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5065515"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7" name="Text Placeholder 3">
            <a:extLst>
              <a:ext uri="{FF2B5EF4-FFF2-40B4-BE49-F238E27FC236}">
                <a16:creationId xmlns:a16="http://schemas.microsoft.com/office/drawing/2014/main" id="{C1186DC9-7482-3246-8288-079C7FC70FFA}"/>
              </a:ext>
            </a:extLst>
          </p:cNvPr>
          <p:cNvSpPr>
            <a:spLocks noGrp="1"/>
          </p:cNvSpPr>
          <p:nvPr>
            <p:ph type="body" sz="quarter" idx="18" hasCustomPrompt="1"/>
          </p:nvPr>
        </p:nvSpPr>
        <p:spPr>
          <a:xfrm>
            <a:off x="7360033"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8" name="Text Placeholder 2">
            <a:extLst>
              <a:ext uri="{FF2B5EF4-FFF2-40B4-BE49-F238E27FC236}">
                <a16:creationId xmlns:a16="http://schemas.microsoft.com/office/drawing/2014/main" id="{A1AD0A15-F7E8-CA46-B543-2CAC6CE1B469}"/>
              </a:ext>
            </a:extLst>
          </p:cNvPr>
          <p:cNvSpPr>
            <a:spLocks noGrp="1"/>
          </p:cNvSpPr>
          <p:nvPr>
            <p:ph type="body" sz="quarter" idx="19" hasCustomPrompt="1"/>
          </p:nvPr>
        </p:nvSpPr>
        <p:spPr>
          <a:xfrm>
            <a:off x="7355321"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9" name="Text Placeholder 3">
            <a:extLst>
              <a:ext uri="{FF2B5EF4-FFF2-40B4-BE49-F238E27FC236}">
                <a16:creationId xmlns:a16="http://schemas.microsoft.com/office/drawing/2014/main" id="{EF130F05-18BE-214F-A12F-7AB25486E1F9}"/>
              </a:ext>
            </a:extLst>
          </p:cNvPr>
          <p:cNvSpPr>
            <a:spLocks noGrp="1"/>
          </p:cNvSpPr>
          <p:nvPr>
            <p:ph type="body" sz="quarter" idx="20" hasCustomPrompt="1"/>
          </p:nvPr>
        </p:nvSpPr>
        <p:spPr>
          <a:xfrm>
            <a:off x="9654551"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649839"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6114339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 subheads - Colour">
    <p:bg>
      <p:bgPr>
        <a:solidFill>
          <a:srgbClr val="13846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3B10F7-8216-9E40-AC4C-935B5F697249}"/>
              </a:ext>
            </a:extLst>
          </p:cNvPr>
          <p:cNvSpPr/>
          <p:nvPr userDrawn="1"/>
        </p:nvSpPr>
        <p:spPr>
          <a:xfrm flipV="1">
            <a:off x="397" y="1649248"/>
            <a:ext cx="12191207" cy="520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21" name="Text Placeholder 3">
            <a:extLst>
              <a:ext uri="{FF2B5EF4-FFF2-40B4-BE49-F238E27FC236}">
                <a16:creationId xmlns:a16="http://schemas.microsoft.com/office/drawing/2014/main" id="{0B4AB324-FEB4-8349-8411-B11639745BEF}"/>
              </a:ext>
            </a:extLst>
          </p:cNvPr>
          <p:cNvSpPr>
            <a:spLocks noGrp="1"/>
          </p:cNvSpPr>
          <p:nvPr>
            <p:ph type="body" sz="quarter" idx="12" hasCustomPrompt="1"/>
          </p:nvPr>
        </p:nvSpPr>
        <p:spPr>
          <a:xfrm>
            <a:off x="500038" y="4216181"/>
            <a:ext cx="2430153"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495326" y="4603024"/>
            <a:ext cx="2430153" cy="1533659"/>
          </a:xfrm>
        </p:spPr>
        <p:txBody>
          <a:bodyPr>
            <a:noAutofit/>
          </a:bodyPr>
          <a:lstStyle>
            <a:lvl1pPr marL="0" indent="0">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p:txBody>
      </p:sp>
      <p:sp>
        <p:nvSpPr>
          <p:cNvPr id="23" name="Text Placeholder 3">
            <a:extLst>
              <a:ext uri="{FF2B5EF4-FFF2-40B4-BE49-F238E27FC236}">
                <a16:creationId xmlns:a16="http://schemas.microsoft.com/office/drawing/2014/main" id="{9DC26C9D-C0FC-D347-8690-4D2ECD15B5B7}"/>
              </a:ext>
            </a:extLst>
          </p:cNvPr>
          <p:cNvSpPr>
            <a:spLocks noGrp="1"/>
          </p:cNvSpPr>
          <p:nvPr>
            <p:ph type="body" sz="quarter" idx="14" hasCustomPrompt="1"/>
          </p:nvPr>
        </p:nvSpPr>
        <p:spPr>
          <a:xfrm>
            <a:off x="3423743" y="4216181"/>
            <a:ext cx="2419856"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3417217" y="4603024"/>
            <a:ext cx="2419856" cy="1533658"/>
          </a:xfrm>
        </p:spPr>
        <p:txBody>
          <a:bodyPr>
            <a:noAutofit/>
          </a:bodyPr>
          <a:lstStyle>
            <a:lvl1pPr marL="0" indent="0">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p:txBody>
      </p:sp>
      <p:sp>
        <p:nvSpPr>
          <p:cNvPr id="25" name="Text Placeholder 3">
            <a:extLst>
              <a:ext uri="{FF2B5EF4-FFF2-40B4-BE49-F238E27FC236}">
                <a16:creationId xmlns:a16="http://schemas.microsoft.com/office/drawing/2014/main" id="{2462A25C-EF2B-A940-9E21-E8FD80C46782}"/>
              </a:ext>
            </a:extLst>
          </p:cNvPr>
          <p:cNvSpPr>
            <a:spLocks noGrp="1"/>
          </p:cNvSpPr>
          <p:nvPr>
            <p:ph type="body" sz="quarter" idx="16" hasCustomPrompt="1"/>
          </p:nvPr>
        </p:nvSpPr>
        <p:spPr>
          <a:xfrm>
            <a:off x="6385273" y="4216181"/>
            <a:ext cx="2415144"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6380561" y="4603024"/>
            <a:ext cx="2419856" cy="1533658"/>
          </a:xfrm>
        </p:spPr>
        <p:txBody>
          <a:bodyPr>
            <a:noAutofit/>
          </a:bodyPr>
          <a:lstStyle>
            <a:lvl1pPr marL="0" indent="0">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p:txBody>
      </p:sp>
      <p:sp>
        <p:nvSpPr>
          <p:cNvPr id="29" name="Text Placeholder 3">
            <a:extLst>
              <a:ext uri="{FF2B5EF4-FFF2-40B4-BE49-F238E27FC236}">
                <a16:creationId xmlns:a16="http://schemas.microsoft.com/office/drawing/2014/main" id="{EF130F05-18BE-214F-A12F-7AB25486E1F9}"/>
              </a:ext>
            </a:extLst>
          </p:cNvPr>
          <p:cNvSpPr>
            <a:spLocks noGrp="1"/>
          </p:cNvSpPr>
          <p:nvPr>
            <p:ph type="body" sz="quarter" idx="20" hasCustomPrompt="1"/>
          </p:nvPr>
        </p:nvSpPr>
        <p:spPr>
          <a:xfrm>
            <a:off x="9298681" y="4216181"/>
            <a:ext cx="2393282" cy="437643"/>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 goes here and can be two lines</a:t>
            </a:r>
            <a:endParaRPr lang="en-CA"/>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298679" y="4829390"/>
            <a:ext cx="2419857" cy="1307292"/>
          </a:xfrm>
        </p:spPr>
        <p:txBody>
          <a:bodyPr>
            <a:noAutofit/>
          </a:bodyPr>
          <a:lstStyle>
            <a:lvl1pPr marL="0" indent="0">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8623161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old header 2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4C1B97-608E-A04B-8C79-E4DFAD7D3E07}"/>
              </a:ext>
            </a:extLst>
          </p:cNvPr>
          <p:cNvSpPr/>
          <p:nvPr/>
        </p:nvSpPr>
        <p:spPr>
          <a:xfrm>
            <a:off x="11800686" y="6570319"/>
            <a:ext cx="391316" cy="184666"/>
          </a:xfrm>
          <a:prstGeom prst="rect">
            <a:avLst/>
          </a:prstGeom>
          <a:solidFill>
            <a:srgbClr val="EC111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309563"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Scotia Regular" panose="020B0503020203020204" pitchFamily="34" charset="0"/>
              <a:ea typeface="+mn-ea"/>
              <a:cs typeface="+mn-cs"/>
              <a:sym typeface="Gilroy Medium"/>
            </a:endParaRPr>
          </a:p>
        </p:txBody>
      </p:sp>
      <p:pic>
        <p:nvPicPr>
          <p:cNvPr id="6" name="Picture 5">
            <a:extLst>
              <a:ext uri="{FF2B5EF4-FFF2-40B4-BE49-F238E27FC236}">
                <a16:creationId xmlns:a16="http://schemas.microsoft.com/office/drawing/2014/main" id="{1DDA113F-E5F7-AF49-8EAD-F6D4FAC479B0}"/>
              </a:ext>
            </a:extLst>
          </p:cNvPr>
          <p:cNvPicPr>
            <a:picLocks noChangeAspect="1"/>
          </p:cNvPicPr>
          <p:nvPr/>
        </p:nvPicPr>
        <p:blipFill>
          <a:blip r:embed="rId2"/>
          <a:stretch>
            <a:fillRect/>
          </a:stretch>
        </p:blipFill>
        <p:spPr>
          <a:xfrm>
            <a:off x="11915301" y="6573613"/>
            <a:ext cx="162083" cy="178079"/>
          </a:xfrm>
          <a:prstGeom prst="rect">
            <a:avLst/>
          </a:prstGeom>
        </p:spPr>
      </p:pic>
      <p:sp>
        <p:nvSpPr>
          <p:cNvPr id="12" name="TextBox 7">
            <a:extLst>
              <a:ext uri="{FF2B5EF4-FFF2-40B4-BE49-F238E27FC236}">
                <a16:creationId xmlns:a16="http://schemas.microsoft.com/office/drawing/2014/main" id="{6FA012D3-DE11-0147-B233-34C0D6AA1145}"/>
              </a:ext>
            </a:extLst>
          </p:cNvPr>
          <p:cNvSpPr txBox="1">
            <a:spLocks/>
          </p:cNvSpPr>
          <p:nvPr/>
        </p:nvSpPr>
        <p:spPr>
          <a:xfrm>
            <a:off x="11575704" y="332531"/>
            <a:ext cx="233505"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bg1"/>
                </a:solidFill>
                <a:latin typeface="Scotia" panose="020B0503020203020204" pitchFamily="34" charset="0"/>
              </a:rPr>
              <a:pPr algn="r"/>
              <a:t>‹#›</a:t>
            </a:fld>
            <a:endParaRPr lang="en-CA" sz="600">
              <a:solidFill>
                <a:schemeClr val="bg1"/>
              </a:solidFill>
              <a:latin typeface="Scotia" panose="020B0503020203020204" pitchFamily="34" charset="0"/>
            </a:endParaRPr>
          </a:p>
        </p:txBody>
      </p:sp>
      <p:grpSp>
        <p:nvGrpSpPr>
          <p:cNvPr id="8" name="Group 7">
            <a:extLst>
              <a:ext uri="{FF2B5EF4-FFF2-40B4-BE49-F238E27FC236}">
                <a16:creationId xmlns:a16="http://schemas.microsoft.com/office/drawing/2014/main" id="{15E69EB4-1904-EA4F-B0BF-3C2F55DEA030}"/>
              </a:ext>
            </a:extLst>
          </p:cNvPr>
          <p:cNvGrpSpPr/>
          <p:nvPr/>
        </p:nvGrpSpPr>
        <p:grpSpPr>
          <a:xfrm>
            <a:off x="11800685" y="6466711"/>
            <a:ext cx="391316" cy="391291"/>
            <a:chOff x="23599832" y="12933419"/>
            <a:chExt cx="782581" cy="782581"/>
          </a:xfrm>
        </p:grpSpPr>
        <p:sp>
          <p:nvSpPr>
            <p:cNvPr id="13" name="Rectangle 12">
              <a:extLst>
                <a:ext uri="{FF2B5EF4-FFF2-40B4-BE49-F238E27FC236}">
                  <a16:creationId xmlns:a16="http://schemas.microsoft.com/office/drawing/2014/main" id="{B7A3A10C-AEA3-1943-B5FD-065CEED4092B}"/>
                </a:ext>
              </a:extLst>
            </p:cNvPr>
            <p:cNvSpPr/>
            <p:nvPr/>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14" name="Picture 13">
              <a:extLst>
                <a:ext uri="{FF2B5EF4-FFF2-40B4-BE49-F238E27FC236}">
                  <a16:creationId xmlns:a16="http://schemas.microsoft.com/office/drawing/2014/main" id="{9708AE9E-C1FD-3C4F-9D51-4F4E83287A2F}"/>
                </a:ext>
              </a:extLst>
            </p:cNvPr>
            <p:cNvPicPr>
              <a:picLocks noChangeAspect="1"/>
            </p:cNvPicPr>
            <p:nvPr/>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928215021"/>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subheads - Colour">
    <p:bg>
      <p:bgPr>
        <a:solidFill>
          <a:schemeClr val="accent6"/>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3B10F7-8216-9E40-AC4C-935B5F697249}"/>
              </a:ext>
            </a:extLst>
          </p:cNvPr>
          <p:cNvSpPr/>
          <p:nvPr userDrawn="1"/>
        </p:nvSpPr>
        <p:spPr>
          <a:xfrm flipV="1">
            <a:off x="397" y="1649248"/>
            <a:ext cx="12191207" cy="520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21" name="Text Placeholder 3">
            <a:extLst>
              <a:ext uri="{FF2B5EF4-FFF2-40B4-BE49-F238E27FC236}">
                <a16:creationId xmlns:a16="http://schemas.microsoft.com/office/drawing/2014/main" id="{0B4AB324-FEB4-8349-8411-B11639745BEF}"/>
              </a:ext>
            </a:extLst>
          </p:cNvPr>
          <p:cNvSpPr>
            <a:spLocks noGrp="1"/>
          </p:cNvSpPr>
          <p:nvPr>
            <p:ph type="body" sz="quarter" idx="12" hasCustomPrompt="1"/>
          </p:nvPr>
        </p:nvSpPr>
        <p:spPr>
          <a:xfrm>
            <a:off x="1230514" y="4602151"/>
            <a:ext cx="2430153" cy="294430"/>
          </a:xfrm>
        </p:spPr>
        <p:txBody>
          <a:bodyPr>
            <a:noAutofit/>
          </a:bodyPr>
          <a:lstStyle>
            <a:lvl1pPr marL="0" indent="0" algn="ctr">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1225802" y="4988994"/>
            <a:ext cx="2430153" cy="954607"/>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23" name="Text Placeholder 3">
            <a:extLst>
              <a:ext uri="{FF2B5EF4-FFF2-40B4-BE49-F238E27FC236}">
                <a16:creationId xmlns:a16="http://schemas.microsoft.com/office/drawing/2014/main" id="{9DC26C9D-C0FC-D347-8690-4D2ECD15B5B7}"/>
              </a:ext>
            </a:extLst>
          </p:cNvPr>
          <p:cNvSpPr>
            <a:spLocks noGrp="1"/>
          </p:cNvSpPr>
          <p:nvPr>
            <p:ph type="body" sz="quarter" idx="14" hasCustomPrompt="1"/>
          </p:nvPr>
        </p:nvSpPr>
        <p:spPr>
          <a:xfrm>
            <a:off x="4886072" y="4602151"/>
            <a:ext cx="2419856" cy="294430"/>
          </a:xfrm>
        </p:spPr>
        <p:txBody>
          <a:bodyPr>
            <a:noAutofit/>
          </a:bodyPr>
          <a:lstStyle>
            <a:lvl1pPr marL="0" indent="0" algn="ctr">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4886072" y="4988994"/>
            <a:ext cx="2419856" cy="954606"/>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25" name="Text Placeholder 3">
            <a:extLst>
              <a:ext uri="{FF2B5EF4-FFF2-40B4-BE49-F238E27FC236}">
                <a16:creationId xmlns:a16="http://schemas.microsoft.com/office/drawing/2014/main" id="{2462A25C-EF2B-A940-9E21-E8FD80C46782}"/>
              </a:ext>
            </a:extLst>
          </p:cNvPr>
          <p:cNvSpPr>
            <a:spLocks noGrp="1"/>
          </p:cNvSpPr>
          <p:nvPr>
            <p:ph type="body" sz="quarter" idx="16" hasCustomPrompt="1"/>
          </p:nvPr>
        </p:nvSpPr>
        <p:spPr>
          <a:xfrm>
            <a:off x="8535622" y="4602151"/>
            <a:ext cx="2415144" cy="294430"/>
          </a:xfrm>
        </p:spPr>
        <p:txBody>
          <a:bodyPr>
            <a:noAutofit/>
          </a:bodyPr>
          <a:lstStyle>
            <a:lvl1pPr marL="0" indent="0" algn="ctr">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8530910" y="4988994"/>
            <a:ext cx="2419856" cy="954606"/>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7889373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arge impact text - Centred">
    <p:bg>
      <p:bgPr>
        <a:solidFill>
          <a:schemeClr val="accent4"/>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2095827" y="2809674"/>
            <a:ext cx="8000346" cy="2074222"/>
          </a:xfrm>
        </p:spPr>
        <p:txBody>
          <a:bodyPr anchor="t">
            <a:noAutofit/>
          </a:bodyPr>
          <a:lstStyle>
            <a:lvl1pPr algn="ctr">
              <a:lnSpc>
                <a:spcPct val="100000"/>
              </a:lnSpc>
              <a:defRPr lang="es-ES_tradnl" sz="3000" b="1" kern="1200" dirty="0">
                <a:solidFill>
                  <a:schemeClr val="bg1"/>
                </a:solidFill>
                <a:latin typeface="Scotia Headline"/>
                <a:ea typeface="Gilroy ExtraBold Italic"/>
                <a:cs typeface="Gilroy ExtraBold Italic"/>
              </a:defRPr>
            </a:lvl1pPr>
          </a:lstStyle>
          <a:p>
            <a:r>
              <a:rPr lang="en-US"/>
              <a:t>Lage impact text goes here.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p:txBody>
      </p:sp>
      <p:sp>
        <p:nvSpPr>
          <p:cNvPr id="9" name="Text Placeholder 11">
            <a:extLst>
              <a:ext uri="{FF2B5EF4-FFF2-40B4-BE49-F238E27FC236}">
                <a16:creationId xmlns:a16="http://schemas.microsoft.com/office/drawing/2014/main" id="{6EF7400F-D872-5144-AD1D-927764ABB84E}"/>
              </a:ext>
            </a:extLst>
          </p:cNvPr>
          <p:cNvSpPr>
            <a:spLocks noGrp="1"/>
          </p:cNvSpPr>
          <p:nvPr>
            <p:ph type="body" sz="quarter" idx="11" hasCustomPrompt="1"/>
          </p:nvPr>
        </p:nvSpPr>
        <p:spPr>
          <a:xfrm>
            <a:off x="2095826" y="2242129"/>
            <a:ext cx="8000347" cy="321189"/>
          </a:xfrm>
          <a:ln w="12700">
            <a:miter lim="400000"/>
          </a:ln>
        </p:spPr>
        <p:txBody>
          <a:bodyPr wrap="square" lIns="0" tIns="0" rIns="0" bIns="0">
            <a:noAutofit/>
          </a:bodyPr>
          <a:lstStyle>
            <a:lvl1pPr marL="0" indent="0" algn="ctr">
              <a:buNone/>
              <a:defRPr lang="en-US" sz="1800" b="0" cap="all" spc="300" baseline="0" smtClean="0">
                <a:solidFill>
                  <a:schemeClr val="bg1"/>
                </a:solidFill>
                <a:latin typeface="+mn-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a:t>
            </a:r>
          </a:p>
        </p:txBody>
      </p:sp>
      <p:pic>
        <p:nvPicPr>
          <p:cNvPr id="10" name="Graphic 9">
            <a:extLst>
              <a:ext uri="{FF2B5EF4-FFF2-40B4-BE49-F238E27FC236}">
                <a16:creationId xmlns:a16="http://schemas.microsoft.com/office/drawing/2014/main" id="{ECDAE827-A5E1-234A-88B6-8A65094BF7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019573B0-D955-4B4C-8BB5-C6735698A5C7}"/>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13" name="Text Placeholder 4">
            <a:extLst>
              <a:ext uri="{FF2B5EF4-FFF2-40B4-BE49-F238E27FC236}">
                <a16:creationId xmlns:a16="http://schemas.microsoft.com/office/drawing/2014/main" id="{9831DDF5-2C59-9540-A7DF-1D1666C371D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25838943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Large impact text - Left aligned">
    <p:bg>
      <p:bgPr>
        <a:solidFill>
          <a:schemeClr val="accent6"/>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933701" y="2809674"/>
            <a:ext cx="5676961" cy="2074222"/>
          </a:xfrm>
        </p:spPr>
        <p:txBody>
          <a:bodyPr anchor="t">
            <a:noAutofit/>
          </a:bodyPr>
          <a:lstStyle>
            <a:lvl1pPr algn="l">
              <a:lnSpc>
                <a:spcPct val="100000"/>
              </a:lnSpc>
              <a:defRPr lang="es-ES_tradnl" sz="3000" b="1" kern="1200" dirty="0">
                <a:solidFill>
                  <a:schemeClr val="bg1"/>
                </a:solidFill>
                <a:latin typeface="Scotia Headline"/>
                <a:ea typeface="Gilroy ExtraBold Italic"/>
                <a:cs typeface="Gilroy ExtraBold Italic"/>
              </a:defRPr>
            </a:lvl1pPr>
          </a:lstStyle>
          <a:p>
            <a:r>
              <a:rPr lang="en-US"/>
              <a:t>Lage impact text goes here.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a:t>
            </a:r>
          </a:p>
        </p:txBody>
      </p:sp>
      <p:sp>
        <p:nvSpPr>
          <p:cNvPr id="9" name="Text Placeholder 11">
            <a:extLst>
              <a:ext uri="{FF2B5EF4-FFF2-40B4-BE49-F238E27FC236}">
                <a16:creationId xmlns:a16="http://schemas.microsoft.com/office/drawing/2014/main" id="{6EF7400F-D872-5144-AD1D-927764ABB84E}"/>
              </a:ext>
            </a:extLst>
          </p:cNvPr>
          <p:cNvSpPr>
            <a:spLocks noGrp="1"/>
          </p:cNvSpPr>
          <p:nvPr>
            <p:ph type="body" sz="quarter" idx="11" hasCustomPrompt="1"/>
          </p:nvPr>
        </p:nvSpPr>
        <p:spPr>
          <a:xfrm>
            <a:off x="933701" y="2118811"/>
            <a:ext cx="5162300" cy="316960"/>
          </a:xfrm>
          <a:ln w="12700">
            <a:miter lim="400000"/>
          </a:ln>
        </p:spPr>
        <p:txBody>
          <a:bodyPr wrap="square" lIns="0" tIns="0" rIns="0" bIns="0">
            <a:noAutofit/>
          </a:bodyPr>
          <a:lstStyle>
            <a:lvl1pPr marL="0" indent="0" algn="l">
              <a:buNone/>
              <a:defRPr lang="en-US" sz="1800" b="0" cap="all" spc="300" baseline="0" smtClean="0">
                <a:solidFill>
                  <a:schemeClr val="bg1"/>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 goes here.</a:t>
            </a:r>
          </a:p>
        </p:txBody>
      </p:sp>
      <p:pic>
        <p:nvPicPr>
          <p:cNvPr id="10" name="Graphic 9">
            <a:extLst>
              <a:ext uri="{FF2B5EF4-FFF2-40B4-BE49-F238E27FC236}">
                <a16:creationId xmlns:a16="http://schemas.microsoft.com/office/drawing/2014/main" id="{ECDAE827-A5E1-234A-88B6-8A65094BF7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019573B0-D955-4B4C-8BB5-C6735698A5C7}"/>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13" name="Text Placeholder 4">
            <a:extLst>
              <a:ext uri="{FF2B5EF4-FFF2-40B4-BE49-F238E27FC236}">
                <a16:creationId xmlns:a16="http://schemas.microsoft.com/office/drawing/2014/main" id="{9831DDF5-2C59-9540-A7DF-1D1666C371D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400514791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Chapter Title - Neutra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189B64B-479F-4641-B1CB-B6F0E53DE9CD}"/>
              </a:ext>
            </a:extLst>
          </p:cNvPr>
          <p:cNvSpPr/>
          <p:nvPr userDrawn="1"/>
        </p:nvSpPr>
        <p:spPr>
          <a:xfrm>
            <a:off x="168729" y="179614"/>
            <a:ext cx="11854543" cy="6498772"/>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Text Placeholder 11">
            <a:extLst>
              <a:ext uri="{FF2B5EF4-FFF2-40B4-BE49-F238E27FC236}">
                <a16:creationId xmlns:a16="http://schemas.microsoft.com/office/drawing/2014/main" id="{B55E712C-73F7-894E-A37D-02C55456A67D}"/>
              </a:ext>
            </a:extLst>
          </p:cNvPr>
          <p:cNvSpPr>
            <a:spLocks noGrp="1"/>
          </p:cNvSpPr>
          <p:nvPr>
            <p:ph type="body" sz="quarter" idx="10" hasCustomPrompt="1"/>
          </p:nvPr>
        </p:nvSpPr>
        <p:spPr>
          <a:xfrm>
            <a:off x="5499100" y="2381862"/>
            <a:ext cx="1193800" cy="455509"/>
          </a:xfrm>
          <a:ln w="12700">
            <a:miter lim="400000"/>
          </a:ln>
        </p:spPr>
        <p:txBody>
          <a:bodyPr wrap="square" lIns="0" tIns="0" rIns="0" bIns="0">
            <a:spAutoFit/>
          </a:bodyPr>
          <a:lstStyle>
            <a:lvl1pPr marL="0" indent="0" algn="ctr">
              <a:buNone/>
              <a:defRPr lang="en-US" sz="3200" smtClean="0">
                <a:solidFill>
                  <a:srgbClr val="333333"/>
                </a:solidFill>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01</a:t>
            </a: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2447798" y="2976952"/>
            <a:ext cx="7296404" cy="1043678"/>
          </a:xfrm>
        </p:spPr>
        <p:txBody>
          <a:bodyPr anchor="t">
            <a:noAutofit/>
          </a:bodyPr>
          <a:lstStyle>
            <a:lvl1pPr algn="ctr">
              <a:defRPr lang="es-ES_tradnl" sz="7500" b="1" kern="1200" dirty="0">
                <a:solidFill>
                  <a:srgbClr val="333333"/>
                </a:solidFill>
                <a:latin typeface="Scotia Headline"/>
                <a:ea typeface="Gilroy ExtraBold Italic"/>
                <a:cs typeface="Gilroy ExtraBold Italic"/>
              </a:defRPr>
            </a:lvl1pPr>
          </a:lstStyle>
          <a:p>
            <a:r>
              <a:rPr lang="en-US"/>
              <a:t>Section title</a:t>
            </a:r>
            <a:endParaRPr lang="es-ES_tradnl"/>
          </a:p>
        </p:txBody>
      </p:sp>
    </p:spTree>
    <p:extLst>
      <p:ext uri="{BB962C8B-B14F-4D97-AF65-F5344CB8AC3E}">
        <p14:creationId xmlns:p14="http://schemas.microsoft.com/office/powerpoint/2010/main" val="32337612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Left Header - Neutral">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BB2C3381-E344-0E4F-A0BA-73BB5887462C}"/>
              </a:ext>
            </a:extLst>
          </p:cNvPr>
          <p:cNvSpPr/>
          <p:nvPr userDrawn="1"/>
        </p:nvSpPr>
        <p:spPr>
          <a:xfrm flipH="1">
            <a:off x="397" y="0"/>
            <a:ext cx="4066768" cy="6858000"/>
          </a:xfrm>
          <a:prstGeom prst="rect">
            <a:avLst/>
          </a:prstGeom>
          <a:solidFill>
            <a:srgbClr val="F6F6F6"/>
          </a:solidFill>
          <a:ln w="12700">
            <a:miter lim="400000"/>
          </a:ln>
        </p:spPr>
        <p:txBody>
          <a:bodyPr lIns="45716" rIns="45716" anchor="ctr"/>
          <a:lstStyle/>
          <a:p>
            <a:pPr defTabSz="914355">
              <a:defRPr>
                <a:solidFill>
                  <a:srgbClr val="1FA2DC"/>
                </a:solidFill>
              </a:defRPr>
            </a:pPr>
            <a:endParaRPr sz="3600">
              <a:solidFill>
                <a:srgbClr val="1FA2DC"/>
              </a:solidFill>
              <a:latin typeface="Scotia Regular" panose="020B0503020203020204" pitchFamily="34" charset="0"/>
            </a:endParaRPr>
          </a:p>
        </p:txBody>
      </p:sp>
      <p:sp>
        <p:nvSpPr>
          <p:cNvPr id="2" name="Title 1">
            <a:extLst>
              <a:ext uri="{FF2B5EF4-FFF2-40B4-BE49-F238E27FC236}">
                <a16:creationId xmlns:a16="http://schemas.microsoft.com/office/drawing/2014/main" id="{86191B29-D3CA-8644-9CB9-79D1A03C934E}"/>
              </a:ext>
            </a:extLst>
          </p:cNvPr>
          <p:cNvSpPr>
            <a:spLocks noGrp="1"/>
          </p:cNvSpPr>
          <p:nvPr>
            <p:ph type="title" hasCustomPrompt="1"/>
          </p:nvPr>
        </p:nvSpPr>
        <p:spPr>
          <a:xfrm>
            <a:off x="471051" y="817862"/>
            <a:ext cx="3173849" cy="795876"/>
          </a:xfrm>
        </p:spPr>
        <p:txBody>
          <a:bodyPr anchor="t">
            <a:noAutofit/>
          </a:bodyPr>
          <a:lstStyle/>
          <a:p>
            <a:r>
              <a:rPr lang="en-US"/>
              <a:t>Slide title</a:t>
            </a:r>
          </a:p>
        </p:txBody>
      </p:sp>
      <p:sp>
        <p:nvSpPr>
          <p:cNvPr id="12" name="TextBox 11">
            <a:extLst>
              <a:ext uri="{FF2B5EF4-FFF2-40B4-BE49-F238E27FC236}">
                <a16:creationId xmlns:a16="http://schemas.microsoft.com/office/drawing/2014/main" id="{597E7282-3BC7-4544-8051-E534A579460C}"/>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7" name="Graphic 16">
            <a:extLst>
              <a:ext uri="{FF2B5EF4-FFF2-40B4-BE49-F238E27FC236}">
                <a16:creationId xmlns:a16="http://schemas.microsoft.com/office/drawing/2014/main" id="{A0F7AAFC-8746-104F-92FA-0C832699D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 Placeholder 2">
            <a:extLst>
              <a:ext uri="{FF2B5EF4-FFF2-40B4-BE49-F238E27FC236}">
                <a16:creationId xmlns:a16="http://schemas.microsoft.com/office/drawing/2014/main" id="{FD3D621D-DFA8-974C-BE2B-3AAB183B143A}"/>
              </a:ext>
            </a:extLst>
          </p:cNvPr>
          <p:cNvSpPr>
            <a:spLocks noGrp="1"/>
          </p:cNvSpPr>
          <p:nvPr>
            <p:ph type="body" sz="quarter" idx="11" hasCustomPrompt="1"/>
          </p:nvPr>
        </p:nvSpPr>
        <p:spPr>
          <a:xfrm>
            <a:off x="4647584" y="2781300"/>
            <a:ext cx="6591915" cy="3381375"/>
          </a:xfrm>
        </p:spPr>
        <p:txBody>
          <a:bodyPr>
            <a:noAutofit/>
          </a:bodyPr>
          <a:lstStyle>
            <a:lvl1pPr marL="0" indent="0">
              <a:lnSpc>
                <a:spcPct val="110000"/>
              </a:lnSpc>
              <a:spcBef>
                <a:spcPts val="0"/>
              </a:spcBef>
              <a:spcAft>
                <a:spcPts val="1600"/>
              </a:spcAft>
              <a:buNone/>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3" name="Text Placeholder 4">
            <a:extLst>
              <a:ext uri="{FF2B5EF4-FFF2-40B4-BE49-F238E27FC236}">
                <a16:creationId xmlns:a16="http://schemas.microsoft.com/office/drawing/2014/main" id="{309248FD-67F1-AD4A-B7EF-7BF1519A6E07}"/>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11829203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op header - Neutra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15E90C-EEF4-B041-B336-AE5FDD14F5C2}"/>
              </a:ext>
            </a:extLst>
          </p:cNvPr>
          <p:cNvSpPr/>
          <p:nvPr userDrawn="1"/>
        </p:nvSpPr>
        <p:spPr>
          <a:xfrm>
            <a:off x="397" y="0"/>
            <a:ext cx="12191207" cy="1649248"/>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2" y="816110"/>
            <a:ext cx="10937178" cy="530090"/>
          </a:xfrm>
        </p:spPr>
        <p:txBody>
          <a:bodyPr anchor="t">
            <a:noAutofit/>
          </a:bodyPr>
          <a:lstStyle>
            <a:lvl1pPr>
              <a:defRPr>
                <a:solidFill>
                  <a:srgbClr val="333333"/>
                </a:solidFill>
              </a:defRPr>
            </a:lvl1pPr>
          </a:lstStyle>
          <a:p>
            <a:r>
              <a:rPr lang="en-US"/>
              <a:t>Slide title</a:t>
            </a:r>
          </a:p>
        </p:txBody>
      </p:sp>
      <p:sp>
        <p:nvSpPr>
          <p:cNvPr id="8" name="Text Placeholder 2">
            <a:extLst>
              <a:ext uri="{FF2B5EF4-FFF2-40B4-BE49-F238E27FC236}">
                <a16:creationId xmlns:a16="http://schemas.microsoft.com/office/drawing/2014/main" id="{7AB5CA01-980C-4E4A-8999-D60A6ADF84DB}"/>
              </a:ext>
            </a:extLst>
          </p:cNvPr>
          <p:cNvSpPr>
            <a:spLocks noGrp="1"/>
          </p:cNvSpPr>
          <p:nvPr>
            <p:ph type="body" sz="quarter" idx="11" hasCustomPrompt="1"/>
          </p:nvPr>
        </p:nvSpPr>
        <p:spPr>
          <a:xfrm>
            <a:off x="467423" y="2374900"/>
            <a:ext cx="6085777" cy="3381375"/>
          </a:xfrm>
        </p:spPr>
        <p:txBody>
          <a:bodyPr>
            <a:noAutofit/>
          </a:bodyPr>
          <a:lstStyle>
            <a:lvl1pPr marL="0" indent="0">
              <a:lnSpc>
                <a:spcPct val="120000"/>
              </a:lnSpc>
              <a:spcBef>
                <a:spcPts val="0"/>
              </a:spcBef>
              <a:spcAft>
                <a:spcPts val="1600"/>
              </a:spcAft>
              <a:buNone/>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0" name="Text Placeholder 2">
            <a:extLst>
              <a:ext uri="{FF2B5EF4-FFF2-40B4-BE49-F238E27FC236}">
                <a16:creationId xmlns:a16="http://schemas.microsoft.com/office/drawing/2014/main" id="{690EC001-A6B8-3047-B78B-FDE8201C457A}"/>
              </a:ext>
            </a:extLst>
          </p:cNvPr>
          <p:cNvSpPr>
            <a:spLocks noGrp="1"/>
          </p:cNvSpPr>
          <p:nvPr>
            <p:ph type="body" sz="quarter" idx="12" hasCustomPrompt="1"/>
          </p:nvPr>
        </p:nvSpPr>
        <p:spPr>
          <a:xfrm>
            <a:off x="7578974" y="2943583"/>
            <a:ext cx="3963489" cy="3098308"/>
          </a:xfrm>
        </p:spPr>
        <p:txBody>
          <a:bodyPr>
            <a:noAutofit/>
          </a:bodyPr>
          <a:lstStyle>
            <a:lvl1pPr marL="285750" indent="-285750">
              <a:lnSpc>
                <a:spcPct val="120000"/>
              </a:lnSpc>
              <a:spcBef>
                <a:spcPts val="0"/>
              </a:spcBef>
              <a:spcAft>
                <a:spcPts val="1600"/>
              </a:spcAft>
              <a:buClrTx/>
              <a:buSzPct val="80000"/>
              <a:buFont typeface="Arial" panose="020B0604020202020204" pitchFamily="34" charset="0"/>
              <a:buChar char="•"/>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endParaRPr lang="en-US"/>
          </a:p>
        </p:txBody>
      </p:sp>
      <p:sp>
        <p:nvSpPr>
          <p:cNvPr id="11" name="Text Placeholder 3">
            <a:extLst>
              <a:ext uri="{FF2B5EF4-FFF2-40B4-BE49-F238E27FC236}">
                <a16:creationId xmlns:a16="http://schemas.microsoft.com/office/drawing/2014/main" id="{2E2D022A-BCA3-8149-8E42-35B776B5BBC7}"/>
              </a:ext>
            </a:extLst>
          </p:cNvPr>
          <p:cNvSpPr>
            <a:spLocks noGrp="1"/>
          </p:cNvSpPr>
          <p:nvPr>
            <p:ph type="body" sz="quarter" idx="15" hasCustomPrompt="1"/>
          </p:nvPr>
        </p:nvSpPr>
        <p:spPr>
          <a:xfrm>
            <a:off x="7578974" y="2465879"/>
            <a:ext cx="3996728" cy="290021"/>
          </a:xfrm>
        </p:spPr>
        <p:txBody>
          <a:bodyPr>
            <a:noAutofit/>
          </a:bodyPr>
          <a:lstStyle>
            <a:lvl1pPr marL="0" indent="0">
              <a:buNone/>
              <a:defRPr sz="2000" b="1" i="0">
                <a:solidFill>
                  <a:schemeClr val="tx1"/>
                </a:solidFill>
                <a:latin typeface="+mn-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Tree>
    <p:extLst>
      <p:ext uri="{BB962C8B-B14F-4D97-AF65-F5344CB8AC3E}">
        <p14:creationId xmlns:p14="http://schemas.microsoft.com/office/powerpoint/2010/main" val="36627618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py block - Neutral">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4E06B89-A7E8-6F4D-9C1D-39ABF919CBB7}"/>
              </a:ext>
            </a:extLst>
          </p:cNvPr>
          <p:cNvSpPr/>
          <p:nvPr userDrawn="1"/>
        </p:nvSpPr>
        <p:spPr>
          <a:xfrm>
            <a:off x="7079114" y="0"/>
            <a:ext cx="5112490" cy="6858000"/>
          </a:xfrm>
          <a:prstGeom prst="rect">
            <a:avLst/>
          </a:prstGeom>
          <a:solidFill>
            <a:srgbClr val="F6F6F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hangingPunct="0"/>
            <a:endParaRPr lang="en-US" sz="900">
              <a:solidFill>
                <a:srgbClr val="323232"/>
              </a:solidFill>
              <a:latin typeface="Gotham Bold"/>
              <a:ea typeface="Gotham Bold"/>
              <a:cs typeface="Gotham Bold"/>
              <a:sym typeface="Gotham"/>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2" y="816110"/>
            <a:ext cx="6085777" cy="530090"/>
          </a:xfrm>
        </p:spPr>
        <p:txBody>
          <a:bodyPr anchor="t">
            <a:noAutofit/>
          </a:bodyPr>
          <a:lstStyle>
            <a:lvl1pPr>
              <a:defRPr>
                <a:solidFill>
                  <a:srgbClr val="333333"/>
                </a:solidFill>
              </a:defRPr>
            </a:lvl1pPr>
          </a:lstStyle>
          <a:p>
            <a:r>
              <a:rPr lang="en-US"/>
              <a:t>Slide title</a:t>
            </a:r>
          </a:p>
        </p:txBody>
      </p:sp>
      <p:sp>
        <p:nvSpPr>
          <p:cNvPr id="8" name="Text Placeholder 2">
            <a:extLst>
              <a:ext uri="{FF2B5EF4-FFF2-40B4-BE49-F238E27FC236}">
                <a16:creationId xmlns:a16="http://schemas.microsoft.com/office/drawing/2014/main" id="{7AB5CA01-980C-4E4A-8999-D60A6ADF84DB}"/>
              </a:ext>
            </a:extLst>
          </p:cNvPr>
          <p:cNvSpPr>
            <a:spLocks noGrp="1"/>
          </p:cNvSpPr>
          <p:nvPr>
            <p:ph type="body" sz="quarter" idx="11" hasCustomPrompt="1"/>
          </p:nvPr>
        </p:nvSpPr>
        <p:spPr>
          <a:xfrm>
            <a:off x="467422" y="2335144"/>
            <a:ext cx="6085777" cy="3381375"/>
          </a:xfrm>
        </p:spPr>
        <p:txBody>
          <a:bodyPr>
            <a:noAutofit/>
          </a:bodyPr>
          <a:lstStyle>
            <a:lvl1pPr marL="285750" indent="-285750">
              <a:lnSpc>
                <a:spcPct val="120000"/>
              </a:lnSpc>
              <a:spcBef>
                <a:spcPts val="0"/>
              </a:spcBef>
              <a:spcAft>
                <a:spcPts val="1600"/>
              </a:spcAft>
              <a:buFont typeface="Arial" panose="020B0604020202020204" pitchFamily="34" charset="0"/>
              <a:buChar char="•"/>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a:p>
            <a:pPr lvl="0"/>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0" name="Text Placeholder 2">
            <a:extLst>
              <a:ext uri="{FF2B5EF4-FFF2-40B4-BE49-F238E27FC236}">
                <a16:creationId xmlns:a16="http://schemas.microsoft.com/office/drawing/2014/main" id="{690EC001-A6B8-3047-B78B-FDE8201C457A}"/>
              </a:ext>
            </a:extLst>
          </p:cNvPr>
          <p:cNvSpPr>
            <a:spLocks noGrp="1"/>
          </p:cNvSpPr>
          <p:nvPr>
            <p:ph type="body" sz="quarter" idx="12" hasCustomPrompt="1"/>
          </p:nvPr>
        </p:nvSpPr>
        <p:spPr>
          <a:xfrm>
            <a:off x="7578974" y="1757217"/>
            <a:ext cx="3963489" cy="3098308"/>
          </a:xfrm>
        </p:spPr>
        <p:txBody>
          <a:bodyPr>
            <a:noAutofit/>
          </a:bodyPr>
          <a:lstStyle>
            <a:lvl1pPr marL="285750" indent="-285750">
              <a:lnSpc>
                <a:spcPct val="120000"/>
              </a:lnSpc>
              <a:spcBef>
                <a:spcPts val="0"/>
              </a:spcBef>
              <a:spcAft>
                <a:spcPts val="1800"/>
              </a:spcAft>
              <a:buClrTx/>
              <a:buSzPct val="80000"/>
              <a:buFont typeface="Arial" panose="020B0604020202020204" pitchFamily="34" charset="0"/>
              <a:buChar char="•"/>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a:lnSpc>
                <a:spcPct val="120000"/>
              </a:lnSpc>
              <a:spcBef>
                <a:spcPts val="0"/>
              </a:spcBef>
              <a:spcAft>
                <a:spcPts val="1800"/>
              </a:spcAft>
            </a:pPr>
            <a:r>
              <a:rPr lang="en-US" sz="1600"/>
              <a:t>Lorem ipsum dolor sit </a:t>
            </a:r>
            <a:r>
              <a:rPr lang="en-US" sz="1600" err="1"/>
              <a:t>amet</a:t>
            </a:r>
            <a:r>
              <a:rPr lang="en-US" sz="1600"/>
              <a:t>, </a:t>
            </a:r>
            <a:r>
              <a:rPr lang="en-US" sz="1600" err="1"/>
              <a:t>consectetur</a:t>
            </a:r>
            <a:r>
              <a:rPr lang="en-US" sz="1600"/>
              <a:t> adipiscing </a:t>
            </a:r>
            <a:r>
              <a:rPr lang="en-US" sz="1600" err="1"/>
              <a:t>elit</a:t>
            </a:r>
            <a:r>
              <a:rPr lang="en-US" sz="1600"/>
              <a:t>, sed do </a:t>
            </a:r>
            <a:r>
              <a:rPr lang="en-US" sz="1600" err="1"/>
              <a:t>eiusmod</a:t>
            </a:r>
            <a:r>
              <a:rPr lang="en-US" sz="1600"/>
              <a:t> </a:t>
            </a:r>
            <a:r>
              <a:rPr lang="en-US" sz="1600" err="1"/>
              <a:t>tempor</a:t>
            </a:r>
            <a:r>
              <a:rPr lang="en-US" sz="1600"/>
              <a:t> </a:t>
            </a:r>
            <a:r>
              <a:rPr lang="en-US" sz="1600" err="1"/>
              <a:t>incididunt</a:t>
            </a:r>
            <a:r>
              <a:rPr lang="en-US" sz="1600"/>
              <a:t> </a:t>
            </a:r>
            <a:r>
              <a:rPr lang="en-US" sz="1600" err="1"/>
              <a:t>ut</a:t>
            </a:r>
            <a:r>
              <a:rPr lang="en-US" sz="1600"/>
              <a:t> </a:t>
            </a:r>
            <a:r>
              <a:rPr lang="en-US" sz="1600" err="1"/>
              <a:t>labore</a:t>
            </a:r>
            <a:r>
              <a:rPr lang="en-US" sz="1600"/>
              <a:t> et dolore magna </a:t>
            </a:r>
            <a:r>
              <a:rPr lang="en-US" sz="1600" err="1"/>
              <a:t>aliqua</a:t>
            </a:r>
            <a:r>
              <a:rPr lang="en-US" sz="1600"/>
              <a:t>.</a:t>
            </a:r>
          </a:p>
          <a:p>
            <a:pPr>
              <a:lnSpc>
                <a:spcPct val="120000"/>
              </a:lnSpc>
              <a:spcBef>
                <a:spcPts val="0"/>
              </a:spcBef>
              <a:spcAft>
                <a:spcPts val="1800"/>
              </a:spcAft>
            </a:pPr>
            <a:r>
              <a:rPr lang="en-US" sz="1600"/>
              <a:t>Lorem ipsum dolor sit </a:t>
            </a:r>
            <a:r>
              <a:rPr lang="en-US" sz="1600" err="1"/>
              <a:t>amet</a:t>
            </a:r>
            <a:r>
              <a:rPr lang="en-US" sz="1600"/>
              <a:t>, </a:t>
            </a:r>
            <a:r>
              <a:rPr lang="en-US" sz="1600" err="1"/>
              <a:t>consectetur</a:t>
            </a:r>
            <a:r>
              <a:rPr lang="en-US" sz="1600"/>
              <a:t> adipiscing </a:t>
            </a:r>
            <a:r>
              <a:rPr lang="en-US" sz="1600" err="1"/>
              <a:t>elit</a:t>
            </a:r>
            <a:r>
              <a:rPr lang="en-US" sz="1600"/>
              <a:t>, sed do </a:t>
            </a:r>
            <a:r>
              <a:rPr lang="en-US" sz="1600" err="1"/>
              <a:t>eiusmod</a:t>
            </a:r>
            <a:r>
              <a:rPr lang="en-US" sz="1600"/>
              <a:t> </a:t>
            </a:r>
            <a:r>
              <a:rPr lang="en-US" sz="1600" err="1"/>
              <a:t>tempor</a:t>
            </a:r>
            <a:r>
              <a:rPr lang="en-US" sz="1600"/>
              <a:t> </a:t>
            </a:r>
            <a:r>
              <a:rPr lang="en-US" sz="1600" err="1"/>
              <a:t>incididunt</a:t>
            </a:r>
            <a:r>
              <a:rPr lang="en-US" sz="1600"/>
              <a:t> </a:t>
            </a:r>
            <a:r>
              <a:rPr lang="en-US" sz="1600" err="1"/>
              <a:t>ut</a:t>
            </a:r>
            <a:r>
              <a:rPr lang="en-US" sz="1600"/>
              <a:t> </a:t>
            </a:r>
            <a:r>
              <a:rPr lang="en-US" sz="1600" err="1"/>
              <a:t>labore</a:t>
            </a:r>
            <a:r>
              <a:rPr lang="en-US" sz="1600"/>
              <a:t> et dolore magna </a:t>
            </a:r>
            <a:r>
              <a:rPr lang="en-US" sz="1600" err="1"/>
              <a:t>aliqua</a:t>
            </a:r>
            <a:r>
              <a:rPr lang="en-US" sz="1600"/>
              <a:t>.</a:t>
            </a:r>
          </a:p>
          <a:p>
            <a:pPr>
              <a:lnSpc>
                <a:spcPct val="120000"/>
              </a:lnSpc>
              <a:spcBef>
                <a:spcPts val="0"/>
              </a:spcBef>
              <a:spcAft>
                <a:spcPts val="1800"/>
              </a:spcAft>
            </a:pPr>
            <a:r>
              <a:rPr lang="en-US" sz="1600"/>
              <a:t>Lorem ipsum dolor sit </a:t>
            </a:r>
            <a:r>
              <a:rPr lang="en-US" sz="1600" err="1"/>
              <a:t>amet</a:t>
            </a:r>
            <a:r>
              <a:rPr lang="en-US" sz="1600"/>
              <a:t>, </a:t>
            </a:r>
            <a:r>
              <a:rPr lang="en-US" sz="1600" err="1"/>
              <a:t>consectetur</a:t>
            </a:r>
            <a:r>
              <a:rPr lang="en-US" sz="1600"/>
              <a:t> adipiscing </a:t>
            </a:r>
            <a:r>
              <a:rPr lang="en-US" sz="1600" err="1"/>
              <a:t>elit</a:t>
            </a:r>
            <a:r>
              <a:rPr lang="en-US" sz="1600"/>
              <a:t>, sed do </a:t>
            </a:r>
            <a:r>
              <a:rPr lang="en-US" sz="1600" err="1"/>
              <a:t>eiusmod</a:t>
            </a:r>
            <a:r>
              <a:rPr lang="en-US" sz="1600"/>
              <a:t> </a:t>
            </a:r>
            <a:r>
              <a:rPr lang="en-US" sz="1600" err="1"/>
              <a:t>tempor</a:t>
            </a:r>
            <a:r>
              <a:rPr lang="en-US" sz="1600"/>
              <a:t> </a:t>
            </a:r>
            <a:r>
              <a:rPr lang="en-US" sz="1600" err="1"/>
              <a:t>incididunt</a:t>
            </a:r>
            <a:r>
              <a:rPr lang="en-US" sz="1600"/>
              <a:t> </a:t>
            </a:r>
            <a:r>
              <a:rPr lang="en-US" sz="1600" err="1"/>
              <a:t>ut</a:t>
            </a:r>
            <a:r>
              <a:rPr lang="en-US" sz="1600"/>
              <a:t> </a:t>
            </a:r>
            <a:r>
              <a:rPr lang="en-US" sz="1600" err="1"/>
              <a:t>labore</a:t>
            </a:r>
            <a:r>
              <a:rPr lang="en-US" sz="1600"/>
              <a:t> et dolore magna </a:t>
            </a:r>
            <a:r>
              <a:rPr lang="en-US" sz="1600" err="1"/>
              <a:t>aliqua</a:t>
            </a:r>
            <a:r>
              <a:rPr lang="en-US" sz="1600"/>
              <a:t>.</a:t>
            </a:r>
          </a:p>
        </p:txBody>
      </p:sp>
      <p:sp>
        <p:nvSpPr>
          <p:cNvPr id="11" name="Text Placeholder 3">
            <a:extLst>
              <a:ext uri="{FF2B5EF4-FFF2-40B4-BE49-F238E27FC236}">
                <a16:creationId xmlns:a16="http://schemas.microsoft.com/office/drawing/2014/main" id="{2E2D022A-BCA3-8149-8E42-35B776B5BBC7}"/>
              </a:ext>
            </a:extLst>
          </p:cNvPr>
          <p:cNvSpPr>
            <a:spLocks noGrp="1"/>
          </p:cNvSpPr>
          <p:nvPr>
            <p:ph type="body" sz="quarter" idx="15" hasCustomPrompt="1"/>
          </p:nvPr>
        </p:nvSpPr>
        <p:spPr>
          <a:xfrm>
            <a:off x="7578974" y="1279513"/>
            <a:ext cx="3996728" cy="290021"/>
          </a:xfrm>
        </p:spPr>
        <p:txBody>
          <a:bodyPr>
            <a:noAutofit/>
          </a:bodyPr>
          <a:lstStyle>
            <a:lvl1pPr marL="0" indent="0">
              <a:buNone/>
              <a:defRPr sz="2000" b="1" i="0">
                <a:solidFill>
                  <a:schemeClr val="tx1"/>
                </a:solidFill>
                <a:latin typeface="+mn-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CA"/>
          </a:p>
        </p:txBody>
      </p:sp>
      <p:sp>
        <p:nvSpPr>
          <p:cNvPr id="14" name="Text Placeholder 2">
            <a:extLst>
              <a:ext uri="{FF2B5EF4-FFF2-40B4-BE49-F238E27FC236}">
                <a16:creationId xmlns:a16="http://schemas.microsoft.com/office/drawing/2014/main" id="{4B718535-170A-3F4C-8F72-3DC975EDA923}"/>
              </a:ext>
            </a:extLst>
          </p:cNvPr>
          <p:cNvSpPr>
            <a:spLocks noGrp="1"/>
          </p:cNvSpPr>
          <p:nvPr>
            <p:ph type="body" sz="quarter" idx="23" hasCustomPrompt="1"/>
          </p:nvPr>
        </p:nvSpPr>
        <p:spPr>
          <a:xfrm>
            <a:off x="471051" y="1389073"/>
            <a:ext cx="6082148" cy="384336"/>
          </a:xfrm>
        </p:spPr>
        <p:txBody>
          <a:bodyPr>
            <a:noAutofit/>
          </a:bodyPr>
          <a:lstStyle>
            <a:lvl1pPr marL="0" indent="0">
              <a:lnSpc>
                <a:spcPct val="110000"/>
              </a:lnSpc>
              <a:spcBef>
                <a:spcPts val="0"/>
              </a:spcBef>
              <a:spcAft>
                <a:spcPts val="1600"/>
              </a:spcAft>
              <a:buFont typeface="Arial" panose="020B0604020202020204" pitchFamily="34" charset="0"/>
              <a:buNone/>
              <a:defRPr sz="24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Important subheading goes here:</a:t>
            </a:r>
          </a:p>
        </p:txBody>
      </p:sp>
    </p:spTree>
    <p:extLst>
      <p:ext uri="{BB962C8B-B14F-4D97-AF65-F5344CB8AC3E}">
        <p14:creationId xmlns:p14="http://schemas.microsoft.com/office/powerpoint/2010/main" val="191922224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eft Header - Numbered sections">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BB2C3381-E344-0E4F-A0BA-73BB5887462C}"/>
              </a:ext>
            </a:extLst>
          </p:cNvPr>
          <p:cNvSpPr/>
          <p:nvPr userDrawn="1"/>
        </p:nvSpPr>
        <p:spPr>
          <a:xfrm flipH="1">
            <a:off x="397" y="0"/>
            <a:ext cx="4066768" cy="6858000"/>
          </a:xfrm>
          <a:prstGeom prst="rect">
            <a:avLst/>
          </a:prstGeom>
          <a:solidFill>
            <a:srgbClr val="F6F6F6"/>
          </a:solidFill>
          <a:ln w="12700">
            <a:miter lim="400000"/>
          </a:ln>
        </p:spPr>
        <p:txBody>
          <a:bodyPr lIns="45716" rIns="45716" anchor="ctr"/>
          <a:lstStyle/>
          <a:p>
            <a:pPr defTabSz="914355">
              <a:defRPr>
                <a:solidFill>
                  <a:srgbClr val="1FA2DC"/>
                </a:solidFill>
              </a:defRPr>
            </a:pPr>
            <a:endParaRPr sz="3600">
              <a:solidFill>
                <a:srgbClr val="1FA2DC"/>
              </a:solidFill>
              <a:latin typeface="Scotia Regular" panose="020B0503020203020204" pitchFamily="34" charset="0"/>
            </a:endParaRPr>
          </a:p>
        </p:txBody>
      </p:sp>
      <p:sp>
        <p:nvSpPr>
          <p:cNvPr id="12" name="TextBox 11">
            <a:extLst>
              <a:ext uri="{FF2B5EF4-FFF2-40B4-BE49-F238E27FC236}">
                <a16:creationId xmlns:a16="http://schemas.microsoft.com/office/drawing/2014/main" id="{597E7282-3BC7-4544-8051-E534A579460C}"/>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7" name="Graphic 16">
            <a:extLst>
              <a:ext uri="{FF2B5EF4-FFF2-40B4-BE49-F238E27FC236}">
                <a16:creationId xmlns:a16="http://schemas.microsoft.com/office/drawing/2014/main" id="{A0F7AAFC-8746-104F-92FA-0C832699D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 name="Text Placeholder 3">
            <a:extLst>
              <a:ext uri="{FF2B5EF4-FFF2-40B4-BE49-F238E27FC236}">
                <a16:creationId xmlns:a16="http://schemas.microsoft.com/office/drawing/2014/main" id="{FAB0E8EF-EAFA-9F41-AD5B-60BE4BB9CD1E}"/>
              </a:ext>
            </a:extLst>
          </p:cNvPr>
          <p:cNvSpPr>
            <a:spLocks noGrp="1"/>
          </p:cNvSpPr>
          <p:nvPr>
            <p:ph type="body" sz="quarter" idx="11" hasCustomPrompt="1"/>
          </p:nvPr>
        </p:nvSpPr>
        <p:spPr>
          <a:xfrm>
            <a:off x="4468762" y="811656"/>
            <a:ext cx="852746" cy="606425"/>
          </a:xfrm>
        </p:spPr>
        <p:txBody>
          <a:bodyPr>
            <a:noAutofit/>
          </a:bodyPr>
          <a:lstStyle>
            <a:lvl1pPr marL="0" indent="0">
              <a:buNone/>
              <a:defRPr sz="4400" b="1" i="0">
                <a:solidFill>
                  <a:schemeClr val="accent5"/>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1</a:t>
            </a:r>
            <a:endParaRPr lang="en-CA"/>
          </a:p>
        </p:txBody>
      </p:sp>
      <p:sp>
        <p:nvSpPr>
          <p:cNvPr id="26" name="Text Placeholder 3">
            <a:extLst>
              <a:ext uri="{FF2B5EF4-FFF2-40B4-BE49-F238E27FC236}">
                <a16:creationId xmlns:a16="http://schemas.microsoft.com/office/drawing/2014/main" id="{078B6053-341B-3546-B65C-D203574395FC}"/>
              </a:ext>
            </a:extLst>
          </p:cNvPr>
          <p:cNvSpPr>
            <a:spLocks noGrp="1"/>
          </p:cNvSpPr>
          <p:nvPr>
            <p:ph type="body" sz="quarter" idx="12" hasCustomPrompt="1"/>
          </p:nvPr>
        </p:nvSpPr>
        <p:spPr>
          <a:xfrm>
            <a:off x="4464658" y="1421093"/>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27" name="Text Placeholder 2">
            <a:extLst>
              <a:ext uri="{FF2B5EF4-FFF2-40B4-BE49-F238E27FC236}">
                <a16:creationId xmlns:a16="http://schemas.microsoft.com/office/drawing/2014/main" id="{949095C2-1FF8-D240-912A-0652D5E6C31B}"/>
              </a:ext>
            </a:extLst>
          </p:cNvPr>
          <p:cNvSpPr>
            <a:spLocks noGrp="1"/>
          </p:cNvSpPr>
          <p:nvPr>
            <p:ph type="body" sz="quarter" idx="13" hasCustomPrompt="1"/>
          </p:nvPr>
        </p:nvSpPr>
        <p:spPr>
          <a:xfrm>
            <a:off x="4459947" y="1792603"/>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8" name="Text Placeholder 3">
            <a:extLst>
              <a:ext uri="{FF2B5EF4-FFF2-40B4-BE49-F238E27FC236}">
                <a16:creationId xmlns:a16="http://schemas.microsoft.com/office/drawing/2014/main" id="{6D17212C-3D8A-FB40-880B-D9C8E577EC95}"/>
              </a:ext>
            </a:extLst>
          </p:cNvPr>
          <p:cNvSpPr>
            <a:spLocks noGrp="1"/>
          </p:cNvSpPr>
          <p:nvPr>
            <p:ph type="body" sz="quarter" idx="14" hasCustomPrompt="1"/>
          </p:nvPr>
        </p:nvSpPr>
        <p:spPr>
          <a:xfrm>
            <a:off x="8284175" y="811656"/>
            <a:ext cx="852746" cy="606425"/>
          </a:xfrm>
        </p:spPr>
        <p:txBody>
          <a:bodyPr>
            <a:noAutofit/>
          </a:bodyPr>
          <a:lstStyle>
            <a:lvl1pPr marL="0" indent="0">
              <a:buNone/>
              <a:defRPr sz="4400" b="1" i="0">
                <a:solidFill>
                  <a:schemeClr val="accent5"/>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2</a:t>
            </a:r>
            <a:endParaRPr lang="en-CA"/>
          </a:p>
        </p:txBody>
      </p:sp>
      <p:sp>
        <p:nvSpPr>
          <p:cNvPr id="29" name="Text Placeholder 3">
            <a:extLst>
              <a:ext uri="{FF2B5EF4-FFF2-40B4-BE49-F238E27FC236}">
                <a16:creationId xmlns:a16="http://schemas.microsoft.com/office/drawing/2014/main" id="{C610B273-F215-194F-A67D-93726DE543DA}"/>
              </a:ext>
            </a:extLst>
          </p:cNvPr>
          <p:cNvSpPr>
            <a:spLocks noGrp="1"/>
          </p:cNvSpPr>
          <p:nvPr>
            <p:ph type="body" sz="quarter" idx="15" hasCustomPrompt="1"/>
          </p:nvPr>
        </p:nvSpPr>
        <p:spPr>
          <a:xfrm>
            <a:off x="8280071" y="1421093"/>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0" name="Text Placeholder 2">
            <a:extLst>
              <a:ext uri="{FF2B5EF4-FFF2-40B4-BE49-F238E27FC236}">
                <a16:creationId xmlns:a16="http://schemas.microsoft.com/office/drawing/2014/main" id="{0A1DA9C3-EC91-CD49-AA37-47D93B217A8C}"/>
              </a:ext>
            </a:extLst>
          </p:cNvPr>
          <p:cNvSpPr>
            <a:spLocks noGrp="1"/>
          </p:cNvSpPr>
          <p:nvPr>
            <p:ph type="body" sz="quarter" idx="16" hasCustomPrompt="1"/>
          </p:nvPr>
        </p:nvSpPr>
        <p:spPr>
          <a:xfrm>
            <a:off x="8270649" y="1792603"/>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1" name="Text Placeholder 3">
            <a:extLst>
              <a:ext uri="{FF2B5EF4-FFF2-40B4-BE49-F238E27FC236}">
                <a16:creationId xmlns:a16="http://schemas.microsoft.com/office/drawing/2014/main" id="{E11DFFF7-3447-164A-A825-7DCDCE7EA717}"/>
              </a:ext>
            </a:extLst>
          </p:cNvPr>
          <p:cNvSpPr>
            <a:spLocks noGrp="1"/>
          </p:cNvSpPr>
          <p:nvPr>
            <p:ph type="body" sz="quarter" idx="17" hasCustomPrompt="1"/>
          </p:nvPr>
        </p:nvSpPr>
        <p:spPr>
          <a:xfrm>
            <a:off x="4468762" y="3784378"/>
            <a:ext cx="852746" cy="606425"/>
          </a:xfrm>
        </p:spPr>
        <p:txBody>
          <a:bodyPr>
            <a:noAutofit/>
          </a:bodyPr>
          <a:lstStyle>
            <a:lvl1pPr marL="0" indent="0">
              <a:buNone/>
              <a:defRPr sz="4400" b="1" i="0">
                <a:solidFill>
                  <a:schemeClr val="accent5"/>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3</a:t>
            </a:r>
            <a:endParaRPr lang="en-CA"/>
          </a:p>
        </p:txBody>
      </p:sp>
      <p:sp>
        <p:nvSpPr>
          <p:cNvPr id="32" name="Text Placeholder 3">
            <a:extLst>
              <a:ext uri="{FF2B5EF4-FFF2-40B4-BE49-F238E27FC236}">
                <a16:creationId xmlns:a16="http://schemas.microsoft.com/office/drawing/2014/main" id="{07ECF35C-A3E2-8945-B39C-9ADAAB5654EB}"/>
              </a:ext>
            </a:extLst>
          </p:cNvPr>
          <p:cNvSpPr>
            <a:spLocks noGrp="1"/>
          </p:cNvSpPr>
          <p:nvPr>
            <p:ph type="body" sz="quarter" idx="18" hasCustomPrompt="1"/>
          </p:nvPr>
        </p:nvSpPr>
        <p:spPr>
          <a:xfrm>
            <a:off x="4464658" y="4393815"/>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3" name="Text Placeholder 2">
            <a:extLst>
              <a:ext uri="{FF2B5EF4-FFF2-40B4-BE49-F238E27FC236}">
                <a16:creationId xmlns:a16="http://schemas.microsoft.com/office/drawing/2014/main" id="{417B2FFD-4A9F-0E4F-AE47-7BDF1724B3AC}"/>
              </a:ext>
            </a:extLst>
          </p:cNvPr>
          <p:cNvSpPr>
            <a:spLocks noGrp="1"/>
          </p:cNvSpPr>
          <p:nvPr>
            <p:ph type="body" sz="quarter" idx="19" hasCustomPrompt="1"/>
          </p:nvPr>
        </p:nvSpPr>
        <p:spPr>
          <a:xfrm>
            <a:off x="4459947" y="4765325"/>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4" name="Text Placeholder 3">
            <a:extLst>
              <a:ext uri="{FF2B5EF4-FFF2-40B4-BE49-F238E27FC236}">
                <a16:creationId xmlns:a16="http://schemas.microsoft.com/office/drawing/2014/main" id="{6B46CADE-41BF-E247-8557-CF91B6AD0173}"/>
              </a:ext>
            </a:extLst>
          </p:cNvPr>
          <p:cNvSpPr>
            <a:spLocks noGrp="1"/>
          </p:cNvSpPr>
          <p:nvPr>
            <p:ph type="body" sz="quarter" idx="20" hasCustomPrompt="1"/>
          </p:nvPr>
        </p:nvSpPr>
        <p:spPr>
          <a:xfrm>
            <a:off x="8270649" y="3784378"/>
            <a:ext cx="852746" cy="606425"/>
          </a:xfrm>
        </p:spPr>
        <p:txBody>
          <a:bodyPr>
            <a:noAutofit/>
          </a:bodyPr>
          <a:lstStyle>
            <a:lvl1pPr marL="0" indent="0">
              <a:buNone/>
              <a:defRPr sz="4400" b="1" i="0">
                <a:solidFill>
                  <a:schemeClr val="accent5"/>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4</a:t>
            </a:r>
            <a:endParaRPr lang="en-CA"/>
          </a:p>
        </p:txBody>
      </p:sp>
      <p:sp>
        <p:nvSpPr>
          <p:cNvPr id="35" name="Text Placeholder 3">
            <a:extLst>
              <a:ext uri="{FF2B5EF4-FFF2-40B4-BE49-F238E27FC236}">
                <a16:creationId xmlns:a16="http://schemas.microsoft.com/office/drawing/2014/main" id="{A63052E1-2C11-AA42-BD6E-FFFB020D18B5}"/>
              </a:ext>
            </a:extLst>
          </p:cNvPr>
          <p:cNvSpPr>
            <a:spLocks noGrp="1"/>
          </p:cNvSpPr>
          <p:nvPr>
            <p:ph type="body" sz="quarter" idx="21" hasCustomPrompt="1"/>
          </p:nvPr>
        </p:nvSpPr>
        <p:spPr>
          <a:xfrm>
            <a:off x="8270649" y="4393815"/>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6" name="Text Placeholder 2">
            <a:extLst>
              <a:ext uri="{FF2B5EF4-FFF2-40B4-BE49-F238E27FC236}">
                <a16:creationId xmlns:a16="http://schemas.microsoft.com/office/drawing/2014/main" id="{4A516312-D489-2E45-BDFF-783F273AF9FE}"/>
              </a:ext>
            </a:extLst>
          </p:cNvPr>
          <p:cNvSpPr>
            <a:spLocks noGrp="1"/>
          </p:cNvSpPr>
          <p:nvPr>
            <p:ph type="body" sz="quarter" idx="22" hasCustomPrompt="1"/>
          </p:nvPr>
        </p:nvSpPr>
        <p:spPr>
          <a:xfrm>
            <a:off x="8270649" y="4765325"/>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7" name="Title 1">
            <a:extLst>
              <a:ext uri="{FF2B5EF4-FFF2-40B4-BE49-F238E27FC236}">
                <a16:creationId xmlns:a16="http://schemas.microsoft.com/office/drawing/2014/main" id="{28D9AFCA-2C16-8F40-B798-5344D5645A93}"/>
              </a:ext>
            </a:extLst>
          </p:cNvPr>
          <p:cNvSpPr>
            <a:spLocks noGrp="1"/>
          </p:cNvSpPr>
          <p:nvPr>
            <p:ph type="title" hasCustomPrompt="1"/>
          </p:nvPr>
        </p:nvSpPr>
        <p:spPr>
          <a:xfrm>
            <a:off x="471051" y="817861"/>
            <a:ext cx="3173849" cy="1105743"/>
          </a:xfrm>
        </p:spPr>
        <p:txBody>
          <a:bodyPr anchor="t">
            <a:noAutofit/>
          </a:bodyPr>
          <a:lstStyle/>
          <a:p>
            <a:r>
              <a:rPr lang="en-US"/>
              <a:t>Slide title goes here</a:t>
            </a:r>
          </a:p>
        </p:txBody>
      </p:sp>
      <p:sp>
        <p:nvSpPr>
          <p:cNvPr id="38" name="Text Placeholder 2">
            <a:extLst>
              <a:ext uri="{FF2B5EF4-FFF2-40B4-BE49-F238E27FC236}">
                <a16:creationId xmlns:a16="http://schemas.microsoft.com/office/drawing/2014/main" id="{E6EDF971-BC57-5547-B31D-35DEA24E61DC}"/>
              </a:ext>
            </a:extLst>
          </p:cNvPr>
          <p:cNvSpPr>
            <a:spLocks noGrp="1"/>
          </p:cNvSpPr>
          <p:nvPr>
            <p:ph type="body" sz="quarter" idx="23" hasCustomPrompt="1"/>
          </p:nvPr>
        </p:nvSpPr>
        <p:spPr>
          <a:xfrm>
            <a:off x="471052" y="2239740"/>
            <a:ext cx="3173848" cy="4302125"/>
          </a:xfrm>
        </p:spPr>
        <p:txBody>
          <a:bodyPr>
            <a:noAutofit/>
          </a:bodyPr>
          <a:lstStyle>
            <a:lvl1pPr marL="0" indent="0">
              <a:lnSpc>
                <a:spcPct val="110000"/>
              </a:lnSpc>
              <a:spcBef>
                <a:spcPts val="0"/>
              </a:spcBef>
              <a:spcAft>
                <a:spcPts val="1600"/>
              </a:spcAft>
              <a:buFont typeface="Arial" panose="020B0604020202020204" pitchFamily="34" charset="0"/>
              <a:buNone/>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9" name="Text Placeholder 4">
            <a:extLst>
              <a:ext uri="{FF2B5EF4-FFF2-40B4-BE49-F238E27FC236}">
                <a16:creationId xmlns:a16="http://schemas.microsoft.com/office/drawing/2014/main" id="{4EB44BF8-F5AB-7E42-989C-5C3CF75E4B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124823187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 buckets - neutral">
    <p:spTree>
      <p:nvGrpSpPr>
        <p:cNvPr id="1" name=""/>
        <p:cNvGrpSpPr/>
        <p:nvPr/>
      </p:nvGrpSpPr>
      <p:grpSpPr>
        <a:xfrm>
          <a:off x="0" y="0"/>
          <a:ext cx="0" cy="0"/>
          <a:chOff x="0" y="0"/>
          <a:chExt cx="0" cy="0"/>
        </a:xfrm>
      </p:grpSpPr>
      <p:sp>
        <p:nvSpPr>
          <p:cNvPr id="33" name="Text Placeholder 20">
            <a:extLst>
              <a:ext uri="{FF2B5EF4-FFF2-40B4-BE49-F238E27FC236}">
                <a16:creationId xmlns:a16="http://schemas.microsoft.com/office/drawing/2014/main" id="{4034B7A9-7EA1-E845-A98A-3A01460B41C6}"/>
              </a:ext>
            </a:extLst>
          </p:cNvPr>
          <p:cNvSpPr>
            <a:spLocks noGrp="1"/>
          </p:cNvSpPr>
          <p:nvPr>
            <p:ph type="body" sz="quarter" idx="34" hasCustomPrompt="1"/>
          </p:nvPr>
        </p:nvSpPr>
        <p:spPr>
          <a:xfrm>
            <a:off x="8211657" y="2409825"/>
            <a:ext cx="3503613" cy="3502025"/>
          </a:xfrm>
          <a:solidFill>
            <a:schemeClr val="bg2"/>
          </a:solidFill>
        </p:spPr>
        <p:txBody>
          <a:bodyPr tIns="576000">
            <a:normAutofit/>
          </a:bodyPr>
          <a:lstStyle>
            <a:lvl1pPr marL="0" indent="0" algn="ctr">
              <a:buNone/>
              <a:defRPr sz="4000">
                <a:solidFill>
                  <a:srgbClr val="7849B8"/>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CA"/>
              <a:t>3</a:t>
            </a:r>
          </a:p>
        </p:txBody>
      </p:sp>
      <p:sp>
        <p:nvSpPr>
          <p:cNvPr id="19" name="Text Placeholder 20">
            <a:extLst>
              <a:ext uri="{FF2B5EF4-FFF2-40B4-BE49-F238E27FC236}">
                <a16:creationId xmlns:a16="http://schemas.microsoft.com/office/drawing/2014/main" id="{1523B584-15AD-EE4E-8C1E-BD1D28C0150B}"/>
              </a:ext>
            </a:extLst>
          </p:cNvPr>
          <p:cNvSpPr>
            <a:spLocks noGrp="1"/>
          </p:cNvSpPr>
          <p:nvPr>
            <p:ph type="body" sz="quarter" idx="33" hasCustomPrompt="1"/>
          </p:nvPr>
        </p:nvSpPr>
        <p:spPr>
          <a:xfrm>
            <a:off x="4339539" y="2409825"/>
            <a:ext cx="3503613" cy="3502025"/>
          </a:xfrm>
          <a:solidFill>
            <a:schemeClr val="bg2"/>
          </a:solidFill>
        </p:spPr>
        <p:txBody>
          <a:bodyPr tIns="576000">
            <a:normAutofit/>
          </a:bodyPr>
          <a:lstStyle>
            <a:lvl1pPr marL="0" indent="0" algn="ctr">
              <a:buNone/>
              <a:defRPr sz="4000">
                <a:solidFill>
                  <a:srgbClr val="7849B8"/>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CA"/>
              <a:t>2</a:t>
            </a:r>
          </a:p>
        </p:txBody>
      </p:sp>
      <p:sp>
        <p:nvSpPr>
          <p:cNvPr id="21" name="Text Placeholder 20">
            <a:extLst>
              <a:ext uri="{FF2B5EF4-FFF2-40B4-BE49-F238E27FC236}">
                <a16:creationId xmlns:a16="http://schemas.microsoft.com/office/drawing/2014/main" id="{7353F723-315D-4D40-93C1-DB856F1F9CF4}"/>
              </a:ext>
            </a:extLst>
          </p:cNvPr>
          <p:cNvSpPr>
            <a:spLocks noGrp="1"/>
          </p:cNvSpPr>
          <p:nvPr>
            <p:ph type="body" sz="quarter" idx="24" hasCustomPrompt="1"/>
          </p:nvPr>
        </p:nvSpPr>
        <p:spPr>
          <a:xfrm>
            <a:off x="467421" y="2409825"/>
            <a:ext cx="3503613" cy="3502025"/>
          </a:xfrm>
          <a:solidFill>
            <a:schemeClr val="bg2"/>
          </a:solidFill>
        </p:spPr>
        <p:txBody>
          <a:bodyPr tIns="576000">
            <a:normAutofit/>
          </a:bodyPr>
          <a:lstStyle>
            <a:lvl1pPr marL="0" indent="0" algn="ctr">
              <a:buNone/>
              <a:defRPr sz="4000">
                <a:solidFill>
                  <a:srgbClr val="7849B8"/>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CA"/>
              <a:t>1</a:t>
            </a: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1" y="816110"/>
            <a:ext cx="11220995" cy="530090"/>
          </a:xfrm>
        </p:spPr>
        <p:txBody>
          <a:bodyPr anchor="t">
            <a:noAutofit/>
          </a:bodyPr>
          <a:lstStyle>
            <a:lvl1pPr>
              <a:defRPr>
                <a:solidFill>
                  <a:srgbClr val="333333"/>
                </a:solidFill>
              </a:defRPr>
            </a:lvl1pPr>
          </a:lstStyle>
          <a:p>
            <a:r>
              <a:rPr lang="en-US"/>
              <a:t>Slide title</a:t>
            </a:r>
          </a:p>
        </p:txBody>
      </p:sp>
      <p:sp>
        <p:nvSpPr>
          <p:cNvPr id="20" name="Text Placeholder 2">
            <a:extLst>
              <a:ext uri="{FF2B5EF4-FFF2-40B4-BE49-F238E27FC236}">
                <a16:creationId xmlns:a16="http://schemas.microsoft.com/office/drawing/2014/main" id="{9DD7C152-DC02-9547-8A51-195BB14CD838}"/>
              </a:ext>
            </a:extLst>
          </p:cNvPr>
          <p:cNvSpPr>
            <a:spLocks noGrp="1"/>
          </p:cNvSpPr>
          <p:nvPr>
            <p:ph type="body" sz="quarter" idx="23" hasCustomPrompt="1"/>
          </p:nvPr>
        </p:nvSpPr>
        <p:spPr>
          <a:xfrm>
            <a:off x="471051" y="1408951"/>
            <a:ext cx="11217272" cy="384336"/>
          </a:xfrm>
        </p:spPr>
        <p:txBody>
          <a:bodyPr>
            <a:noAutofit/>
          </a:bodyPr>
          <a:lstStyle>
            <a:lvl1pPr marL="0" indent="0">
              <a:lnSpc>
                <a:spcPct val="110000"/>
              </a:lnSpc>
              <a:spcBef>
                <a:spcPts val="0"/>
              </a:spcBef>
              <a:spcAft>
                <a:spcPts val="1600"/>
              </a:spcAft>
              <a:buFont typeface="Arial" panose="020B0604020202020204" pitchFamily="34" charset="0"/>
              <a:buNone/>
              <a:defRPr sz="20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Subtitle goes here:</a:t>
            </a:r>
          </a:p>
        </p:txBody>
      </p:sp>
      <p:sp>
        <p:nvSpPr>
          <p:cNvPr id="23" name="Text Placeholder 3">
            <a:extLst>
              <a:ext uri="{FF2B5EF4-FFF2-40B4-BE49-F238E27FC236}">
                <a16:creationId xmlns:a16="http://schemas.microsoft.com/office/drawing/2014/main" id="{5465EBD9-EA51-3542-8901-3E23B8F80DD9}"/>
              </a:ext>
            </a:extLst>
          </p:cNvPr>
          <p:cNvSpPr>
            <a:spLocks noGrp="1"/>
          </p:cNvSpPr>
          <p:nvPr>
            <p:ph type="body" sz="quarter" idx="12" hasCustomPrompt="1"/>
          </p:nvPr>
        </p:nvSpPr>
        <p:spPr>
          <a:xfrm>
            <a:off x="845295" y="3783373"/>
            <a:ext cx="2747865" cy="364207"/>
          </a:xfrm>
        </p:spPr>
        <p:txBody>
          <a:bodyPr>
            <a:noAutofit/>
          </a:bodyPr>
          <a:lstStyle>
            <a:lvl1pPr marL="0" indent="0" algn="ctr">
              <a:buNone/>
              <a:defRPr sz="1800" b="1" i="0">
                <a:solidFill>
                  <a:schemeClr val="accent4"/>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24" name="Text Placeholder 2">
            <a:extLst>
              <a:ext uri="{FF2B5EF4-FFF2-40B4-BE49-F238E27FC236}">
                <a16:creationId xmlns:a16="http://schemas.microsoft.com/office/drawing/2014/main" id="{74EB34A4-2B8D-3D42-B093-51E60F53209D}"/>
              </a:ext>
            </a:extLst>
          </p:cNvPr>
          <p:cNvSpPr>
            <a:spLocks noGrp="1"/>
          </p:cNvSpPr>
          <p:nvPr>
            <p:ph type="body" sz="quarter" idx="13" hasCustomPrompt="1"/>
          </p:nvPr>
        </p:nvSpPr>
        <p:spPr>
          <a:xfrm>
            <a:off x="845295" y="4147580"/>
            <a:ext cx="2747865" cy="1520354"/>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8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p:txBody>
      </p:sp>
      <p:sp>
        <p:nvSpPr>
          <p:cNvPr id="27" name="Text Placeholder 3">
            <a:extLst>
              <a:ext uri="{FF2B5EF4-FFF2-40B4-BE49-F238E27FC236}">
                <a16:creationId xmlns:a16="http://schemas.microsoft.com/office/drawing/2014/main" id="{E02B5433-C292-9E4F-964B-E7CB31561044}"/>
              </a:ext>
            </a:extLst>
          </p:cNvPr>
          <p:cNvSpPr>
            <a:spLocks noGrp="1"/>
          </p:cNvSpPr>
          <p:nvPr>
            <p:ph type="body" sz="quarter" idx="27" hasCustomPrompt="1"/>
          </p:nvPr>
        </p:nvSpPr>
        <p:spPr>
          <a:xfrm>
            <a:off x="4722068" y="3783116"/>
            <a:ext cx="2747865" cy="364207"/>
          </a:xfrm>
        </p:spPr>
        <p:txBody>
          <a:bodyPr>
            <a:noAutofit/>
          </a:bodyPr>
          <a:lstStyle>
            <a:lvl1pPr marL="0" indent="0" algn="ctr">
              <a:buNone/>
              <a:defRPr sz="1800" b="1" i="0">
                <a:solidFill>
                  <a:schemeClr val="accent4"/>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28" name="Text Placeholder 2">
            <a:extLst>
              <a:ext uri="{FF2B5EF4-FFF2-40B4-BE49-F238E27FC236}">
                <a16:creationId xmlns:a16="http://schemas.microsoft.com/office/drawing/2014/main" id="{588597B8-8F5B-7241-8F80-52847CCC7E51}"/>
              </a:ext>
            </a:extLst>
          </p:cNvPr>
          <p:cNvSpPr>
            <a:spLocks noGrp="1"/>
          </p:cNvSpPr>
          <p:nvPr>
            <p:ph type="body" sz="quarter" idx="28" hasCustomPrompt="1"/>
          </p:nvPr>
        </p:nvSpPr>
        <p:spPr>
          <a:xfrm>
            <a:off x="4722068" y="4147323"/>
            <a:ext cx="2747865" cy="1520354"/>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8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p:txBody>
      </p:sp>
      <p:sp>
        <p:nvSpPr>
          <p:cNvPr id="31" name="Text Placeholder 3">
            <a:extLst>
              <a:ext uri="{FF2B5EF4-FFF2-40B4-BE49-F238E27FC236}">
                <a16:creationId xmlns:a16="http://schemas.microsoft.com/office/drawing/2014/main" id="{BB309FF7-4E59-F04B-87F0-562805599ED4}"/>
              </a:ext>
            </a:extLst>
          </p:cNvPr>
          <p:cNvSpPr>
            <a:spLocks noGrp="1"/>
          </p:cNvSpPr>
          <p:nvPr>
            <p:ph type="body" sz="quarter" idx="31" hasCustomPrompt="1"/>
          </p:nvPr>
        </p:nvSpPr>
        <p:spPr>
          <a:xfrm>
            <a:off x="8598841" y="3783116"/>
            <a:ext cx="2747865" cy="364207"/>
          </a:xfrm>
        </p:spPr>
        <p:txBody>
          <a:bodyPr>
            <a:noAutofit/>
          </a:bodyPr>
          <a:lstStyle>
            <a:lvl1pPr marL="0" indent="0" algn="ctr">
              <a:buNone/>
              <a:defRPr sz="1800" b="1" i="0">
                <a:solidFill>
                  <a:schemeClr val="accent4"/>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2" name="Text Placeholder 2">
            <a:extLst>
              <a:ext uri="{FF2B5EF4-FFF2-40B4-BE49-F238E27FC236}">
                <a16:creationId xmlns:a16="http://schemas.microsoft.com/office/drawing/2014/main" id="{76A9C633-7CE6-AF43-A601-00ECEC56DB68}"/>
              </a:ext>
            </a:extLst>
          </p:cNvPr>
          <p:cNvSpPr>
            <a:spLocks noGrp="1"/>
          </p:cNvSpPr>
          <p:nvPr>
            <p:ph type="body" sz="quarter" idx="32" hasCustomPrompt="1"/>
          </p:nvPr>
        </p:nvSpPr>
        <p:spPr>
          <a:xfrm>
            <a:off x="8598841" y="4147323"/>
            <a:ext cx="2747865" cy="1520354"/>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8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p:txBody>
      </p:sp>
    </p:spTree>
    <p:extLst>
      <p:ext uri="{BB962C8B-B14F-4D97-AF65-F5344CB8AC3E}">
        <p14:creationId xmlns:p14="http://schemas.microsoft.com/office/powerpoint/2010/main" val="12598085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columns - neutr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7" name="Text Placeholder 3">
            <a:extLst>
              <a:ext uri="{FF2B5EF4-FFF2-40B4-BE49-F238E27FC236}">
                <a16:creationId xmlns:a16="http://schemas.microsoft.com/office/drawing/2014/main" id="{2BD5C923-7498-EA40-BD02-7A283450192C}"/>
              </a:ext>
            </a:extLst>
          </p:cNvPr>
          <p:cNvSpPr>
            <a:spLocks noGrp="1"/>
          </p:cNvSpPr>
          <p:nvPr>
            <p:ph type="body" sz="quarter" idx="12" hasCustomPrompt="1"/>
          </p:nvPr>
        </p:nvSpPr>
        <p:spPr>
          <a:xfrm>
            <a:off x="772038" y="4333705"/>
            <a:ext cx="2999688"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18" name="Text Placeholder 2">
            <a:extLst>
              <a:ext uri="{FF2B5EF4-FFF2-40B4-BE49-F238E27FC236}">
                <a16:creationId xmlns:a16="http://schemas.microsoft.com/office/drawing/2014/main" id="{9010C788-4C2D-AA40-BB8D-E6AA72C92788}"/>
              </a:ext>
            </a:extLst>
          </p:cNvPr>
          <p:cNvSpPr>
            <a:spLocks noGrp="1"/>
          </p:cNvSpPr>
          <p:nvPr>
            <p:ph type="body" sz="quarter" idx="13" hasCustomPrompt="1"/>
          </p:nvPr>
        </p:nvSpPr>
        <p:spPr>
          <a:xfrm>
            <a:off x="767325" y="4720548"/>
            <a:ext cx="3025051" cy="1533659"/>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p>
        </p:txBody>
      </p:sp>
      <p:sp>
        <p:nvSpPr>
          <p:cNvPr id="19" name="Text Placeholder 3">
            <a:extLst>
              <a:ext uri="{FF2B5EF4-FFF2-40B4-BE49-F238E27FC236}">
                <a16:creationId xmlns:a16="http://schemas.microsoft.com/office/drawing/2014/main" id="{3EFED777-458A-8C48-8F27-49B19F50D831}"/>
              </a:ext>
            </a:extLst>
          </p:cNvPr>
          <p:cNvSpPr>
            <a:spLocks noGrp="1"/>
          </p:cNvSpPr>
          <p:nvPr>
            <p:ph type="body" sz="quarter" idx="14" hasCustomPrompt="1"/>
          </p:nvPr>
        </p:nvSpPr>
        <p:spPr>
          <a:xfrm>
            <a:off x="4586738" y="4333705"/>
            <a:ext cx="3018524"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0" name="Text Placeholder 2">
            <a:extLst>
              <a:ext uri="{FF2B5EF4-FFF2-40B4-BE49-F238E27FC236}">
                <a16:creationId xmlns:a16="http://schemas.microsoft.com/office/drawing/2014/main" id="{4B6B529F-DFF8-E142-9717-BAE04DC42D03}"/>
              </a:ext>
            </a:extLst>
          </p:cNvPr>
          <p:cNvSpPr>
            <a:spLocks noGrp="1"/>
          </p:cNvSpPr>
          <p:nvPr>
            <p:ph type="body" sz="quarter" idx="15" hasCustomPrompt="1"/>
          </p:nvPr>
        </p:nvSpPr>
        <p:spPr>
          <a:xfrm>
            <a:off x="4580211" y="4720548"/>
            <a:ext cx="3025051" cy="153365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p>
        </p:txBody>
      </p:sp>
      <p:sp>
        <p:nvSpPr>
          <p:cNvPr id="21" name="Text Placeholder 3">
            <a:extLst>
              <a:ext uri="{FF2B5EF4-FFF2-40B4-BE49-F238E27FC236}">
                <a16:creationId xmlns:a16="http://schemas.microsoft.com/office/drawing/2014/main" id="{71A4C9B0-48A9-124F-A76C-0587DF6B2F98}"/>
              </a:ext>
            </a:extLst>
          </p:cNvPr>
          <p:cNvSpPr>
            <a:spLocks noGrp="1"/>
          </p:cNvSpPr>
          <p:nvPr>
            <p:ph type="body" sz="quarter" idx="16" hasCustomPrompt="1"/>
          </p:nvPr>
        </p:nvSpPr>
        <p:spPr>
          <a:xfrm>
            <a:off x="8420274" y="4333705"/>
            <a:ext cx="3023225"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F6E0BD01-8F9D-D146-9C33-67E96EF38DC0}"/>
              </a:ext>
            </a:extLst>
          </p:cNvPr>
          <p:cNvSpPr>
            <a:spLocks noGrp="1"/>
          </p:cNvSpPr>
          <p:nvPr>
            <p:ph type="body" sz="quarter" idx="17" hasCustomPrompt="1"/>
          </p:nvPr>
        </p:nvSpPr>
        <p:spPr>
          <a:xfrm>
            <a:off x="8415563" y="4720549"/>
            <a:ext cx="3027937" cy="1533657"/>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p>
        </p:txBody>
      </p:sp>
      <p:sp>
        <p:nvSpPr>
          <p:cNvPr id="23" name="Title 1">
            <a:extLst>
              <a:ext uri="{FF2B5EF4-FFF2-40B4-BE49-F238E27FC236}">
                <a16:creationId xmlns:a16="http://schemas.microsoft.com/office/drawing/2014/main" id="{A90706C2-A3CA-1344-A019-B9F686320F1F}"/>
              </a:ext>
            </a:extLst>
          </p:cNvPr>
          <p:cNvSpPr>
            <a:spLocks noGrp="1"/>
          </p:cNvSpPr>
          <p:nvPr>
            <p:ph type="title" hasCustomPrompt="1"/>
          </p:nvPr>
        </p:nvSpPr>
        <p:spPr>
          <a:xfrm>
            <a:off x="485503" y="1117501"/>
            <a:ext cx="11220995" cy="530090"/>
          </a:xfrm>
        </p:spPr>
        <p:txBody>
          <a:bodyPr anchor="t">
            <a:noAutofit/>
          </a:bodyPr>
          <a:lstStyle>
            <a:lvl1pPr algn="ctr">
              <a:defRPr sz="4800">
                <a:solidFill>
                  <a:srgbClr val="333333"/>
                </a:solidFill>
              </a:defRPr>
            </a:lvl1pPr>
          </a:lstStyle>
          <a:p>
            <a:r>
              <a:rPr lang="en-US"/>
              <a:t>Slide title goes here</a:t>
            </a:r>
          </a:p>
        </p:txBody>
      </p:sp>
      <p:sp>
        <p:nvSpPr>
          <p:cNvPr id="24" name="Text Placeholder 2">
            <a:extLst>
              <a:ext uri="{FF2B5EF4-FFF2-40B4-BE49-F238E27FC236}">
                <a16:creationId xmlns:a16="http://schemas.microsoft.com/office/drawing/2014/main" id="{65C213EE-7F80-434B-957B-FC30E6C3E2A5}"/>
              </a:ext>
            </a:extLst>
          </p:cNvPr>
          <p:cNvSpPr>
            <a:spLocks noGrp="1"/>
          </p:cNvSpPr>
          <p:nvPr>
            <p:ph type="body" sz="quarter" idx="23" hasCustomPrompt="1"/>
          </p:nvPr>
        </p:nvSpPr>
        <p:spPr>
          <a:xfrm>
            <a:off x="487364" y="1778141"/>
            <a:ext cx="11217272" cy="384336"/>
          </a:xfrm>
        </p:spPr>
        <p:txBody>
          <a:bodyPr>
            <a:noAutofit/>
          </a:bodyPr>
          <a:lstStyle>
            <a:lvl1pPr marL="0" indent="0" algn="ctr">
              <a:lnSpc>
                <a:spcPct val="110000"/>
              </a:lnSpc>
              <a:spcBef>
                <a:spcPts val="0"/>
              </a:spcBef>
              <a:spcAft>
                <a:spcPts val="1600"/>
              </a:spcAft>
              <a:buFont typeface="Arial" panose="020B0604020202020204" pitchFamily="34" charset="0"/>
              <a:buNone/>
              <a:defRPr sz="20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Subhead goes here if needed and can be long or short</a:t>
            </a:r>
          </a:p>
        </p:txBody>
      </p:sp>
    </p:spTree>
    <p:extLst>
      <p:ext uri="{BB962C8B-B14F-4D97-AF65-F5344CB8AC3E}">
        <p14:creationId xmlns:p14="http://schemas.microsoft.com/office/powerpoint/2010/main" val="13184591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old header (righ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8CD8353-339B-A949-9962-88420B3D5814}"/>
              </a:ext>
            </a:extLst>
          </p:cNvPr>
          <p:cNvSpPr txBox="1">
            <a:spLocks/>
          </p:cNvSpPr>
          <p:nvPr/>
        </p:nvSpPr>
        <p:spPr>
          <a:xfrm>
            <a:off x="11575704" y="332531"/>
            <a:ext cx="233505"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bg1"/>
                </a:solidFill>
                <a:latin typeface="Scotia" panose="020B0503020203020204" pitchFamily="34" charset="0"/>
              </a:rPr>
              <a:pPr algn="r"/>
              <a:t>‹#›</a:t>
            </a:fld>
            <a:endParaRPr lang="en-CA" sz="600">
              <a:solidFill>
                <a:schemeClr val="bg1"/>
              </a:solidFill>
              <a:latin typeface="Scotia" panose="020B0503020203020204" pitchFamily="34" charset="0"/>
            </a:endParaRPr>
          </a:p>
        </p:txBody>
      </p:sp>
      <p:sp>
        <p:nvSpPr>
          <p:cNvPr id="5" name="Rectangle 4">
            <a:extLst>
              <a:ext uri="{FF2B5EF4-FFF2-40B4-BE49-F238E27FC236}">
                <a16:creationId xmlns:a16="http://schemas.microsoft.com/office/drawing/2014/main" id="{9972DADE-B3C1-3A4D-83EA-42D8E45D236B}"/>
              </a:ext>
            </a:extLst>
          </p:cNvPr>
          <p:cNvSpPr/>
          <p:nvPr/>
        </p:nvSpPr>
        <p:spPr>
          <a:xfrm flipH="1">
            <a:off x="2" y="0"/>
            <a:ext cx="6083057" cy="6857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b="0" i="0">
              <a:latin typeface="Scotia Regular" panose="020B0503020203020204" pitchFamily="34" charset="0"/>
            </a:endParaRPr>
          </a:p>
        </p:txBody>
      </p:sp>
      <p:sp>
        <p:nvSpPr>
          <p:cNvPr id="10" name="TextBox 7">
            <a:extLst>
              <a:ext uri="{FF2B5EF4-FFF2-40B4-BE49-F238E27FC236}">
                <a16:creationId xmlns:a16="http://schemas.microsoft.com/office/drawing/2014/main" id="{60AD4FC9-0E4A-BB47-90EB-8736D75D9CDA}"/>
              </a:ext>
            </a:extLst>
          </p:cNvPr>
          <p:cNvSpPr txBox="1">
            <a:spLocks/>
          </p:cNvSpPr>
          <p:nvPr/>
        </p:nvSpPr>
        <p:spPr>
          <a:xfrm>
            <a:off x="11575704" y="332307"/>
            <a:ext cx="233505"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bg1"/>
                </a:solidFill>
                <a:latin typeface="Scotia" panose="020B0503020203020204" pitchFamily="34" charset="0"/>
              </a:rPr>
              <a:pPr algn="r"/>
              <a:t>‹#›</a:t>
            </a:fld>
            <a:endParaRPr lang="en-CA" sz="600">
              <a:solidFill>
                <a:schemeClr val="bg1"/>
              </a:solidFill>
              <a:latin typeface="Scotia" panose="020B0503020203020204" pitchFamily="34" charset="0"/>
            </a:endParaRPr>
          </a:p>
        </p:txBody>
      </p:sp>
      <p:grpSp>
        <p:nvGrpSpPr>
          <p:cNvPr id="7" name="Group 6">
            <a:extLst>
              <a:ext uri="{FF2B5EF4-FFF2-40B4-BE49-F238E27FC236}">
                <a16:creationId xmlns:a16="http://schemas.microsoft.com/office/drawing/2014/main" id="{08BEE7A1-B9D0-974C-86DD-E374DC48CA87}"/>
              </a:ext>
            </a:extLst>
          </p:cNvPr>
          <p:cNvGrpSpPr/>
          <p:nvPr/>
        </p:nvGrpSpPr>
        <p:grpSpPr>
          <a:xfrm>
            <a:off x="11800685" y="6466711"/>
            <a:ext cx="391316" cy="391291"/>
            <a:chOff x="23599832" y="12933419"/>
            <a:chExt cx="782581" cy="782581"/>
          </a:xfrm>
        </p:grpSpPr>
        <p:sp>
          <p:nvSpPr>
            <p:cNvPr id="9" name="Rectangle 8">
              <a:extLst>
                <a:ext uri="{FF2B5EF4-FFF2-40B4-BE49-F238E27FC236}">
                  <a16:creationId xmlns:a16="http://schemas.microsoft.com/office/drawing/2014/main" id="{0312EA81-4C94-D343-916C-682AB1E00F22}"/>
                </a:ext>
              </a:extLst>
            </p:cNvPr>
            <p:cNvSpPr/>
            <p:nvPr/>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11" name="Picture 10">
              <a:extLst>
                <a:ext uri="{FF2B5EF4-FFF2-40B4-BE49-F238E27FC236}">
                  <a16:creationId xmlns:a16="http://schemas.microsoft.com/office/drawing/2014/main" id="{E14291DC-1173-B140-883A-8B64D70FB78D}"/>
                </a:ext>
              </a:extLst>
            </p:cNvPr>
            <p:cNvPicPr>
              <a:picLocks noChangeAspect="1"/>
            </p:cNvPicPr>
            <p:nvPr/>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1105064168"/>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 columns - neutr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23" name="Title 1">
            <a:extLst>
              <a:ext uri="{FF2B5EF4-FFF2-40B4-BE49-F238E27FC236}">
                <a16:creationId xmlns:a16="http://schemas.microsoft.com/office/drawing/2014/main" id="{A90706C2-A3CA-1344-A019-B9F686320F1F}"/>
              </a:ext>
            </a:extLst>
          </p:cNvPr>
          <p:cNvSpPr>
            <a:spLocks noGrp="1"/>
          </p:cNvSpPr>
          <p:nvPr>
            <p:ph type="title" hasCustomPrompt="1"/>
          </p:nvPr>
        </p:nvSpPr>
        <p:spPr>
          <a:xfrm>
            <a:off x="485503" y="1117501"/>
            <a:ext cx="11220995" cy="530090"/>
          </a:xfrm>
        </p:spPr>
        <p:txBody>
          <a:bodyPr anchor="t">
            <a:noAutofit/>
          </a:bodyPr>
          <a:lstStyle>
            <a:lvl1pPr algn="ctr">
              <a:defRPr sz="4800">
                <a:solidFill>
                  <a:srgbClr val="333333"/>
                </a:solidFill>
              </a:defRPr>
            </a:lvl1pPr>
          </a:lstStyle>
          <a:p>
            <a:r>
              <a:rPr lang="en-US"/>
              <a:t>Slide title goes here</a:t>
            </a:r>
          </a:p>
        </p:txBody>
      </p:sp>
      <p:sp>
        <p:nvSpPr>
          <p:cNvPr id="24" name="Text Placeholder 2">
            <a:extLst>
              <a:ext uri="{FF2B5EF4-FFF2-40B4-BE49-F238E27FC236}">
                <a16:creationId xmlns:a16="http://schemas.microsoft.com/office/drawing/2014/main" id="{65C213EE-7F80-434B-957B-FC30E6C3E2A5}"/>
              </a:ext>
            </a:extLst>
          </p:cNvPr>
          <p:cNvSpPr>
            <a:spLocks noGrp="1"/>
          </p:cNvSpPr>
          <p:nvPr>
            <p:ph type="body" sz="quarter" idx="23" hasCustomPrompt="1"/>
          </p:nvPr>
        </p:nvSpPr>
        <p:spPr>
          <a:xfrm>
            <a:off x="487364" y="1778141"/>
            <a:ext cx="11217272" cy="384336"/>
          </a:xfrm>
        </p:spPr>
        <p:txBody>
          <a:bodyPr>
            <a:noAutofit/>
          </a:bodyPr>
          <a:lstStyle>
            <a:lvl1pPr marL="0" indent="0" algn="ctr">
              <a:lnSpc>
                <a:spcPct val="110000"/>
              </a:lnSpc>
              <a:spcBef>
                <a:spcPts val="0"/>
              </a:spcBef>
              <a:spcAft>
                <a:spcPts val="1600"/>
              </a:spcAft>
              <a:buFont typeface="Arial" panose="020B0604020202020204" pitchFamily="34" charset="0"/>
              <a:buNone/>
              <a:defRPr sz="20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Subhead goes here if needed and can be long or short</a:t>
            </a:r>
          </a:p>
        </p:txBody>
      </p:sp>
      <p:sp>
        <p:nvSpPr>
          <p:cNvPr id="29" name="Text Placeholder 3">
            <a:extLst>
              <a:ext uri="{FF2B5EF4-FFF2-40B4-BE49-F238E27FC236}">
                <a16:creationId xmlns:a16="http://schemas.microsoft.com/office/drawing/2014/main" id="{B5C17293-3B66-A245-9965-B686C1ACB782}"/>
              </a:ext>
            </a:extLst>
          </p:cNvPr>
          <p:cNvSpPr>
            <a:spLocks noGrp="1"/>
          </p:cNvSpPr>
          <p:nvPr>
            <p:ph type="body" sz="quarter" idx="12" hasCustomPrompt="1"/>
          </p:nvPr>
        </p:nvSpPr>
        <p:spPr>
          <a:xfrm>
            <a:off x="500038" y="4546184"/>
            <a:ext cx="2430153"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0" name="Text Placeholder 2">
            <a:extLst>
              <a:ext uri="{FF2B5EF4-FFF2-40B4-BE49-F238E27FC236}">
                <a16:creationId xmlns:a16="http://schemas.microsoft.com/office/drawing/2014/main" id="{491C1C57-31EC-5C48-9897-9B924950DD3E}"/>
              </a:ext>
            </a:extLst>
          </p:cNvPr>
          <p:cNvSpPr>
            <a:spLocks noGrp="1"/>
          </p:cNvSpPr>
          <p:nvPr>
            <p:ph type="body" sz="quarter" idx="13" hasCustomPrompt="1"/>
          </p:nvPr>
        </p:nvSpPr>
        <p:spPr>
          <a:xfrm>
            <a:off x="495326" y="4933027"/>
            <a:ext cx="2430153" cy="1533659"/>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31" name="Text Placeholder 3">
            <a:extLst>
              <a:ext uri="{FF2B5EF4-FFF2-40B4-BE49-F238E27FC236}">
                <a16:creationId xmlns:a16="http://schemas.microsoft.com/office/drawing/2014/main" id="{4475AD75-DEE3-5343-9642-66F470ED06FF}"/>
              </a:ext>
            </a:extLst>
          </p:cNvPr>
          <p:cNvSpPr>
            <a:spLocks noGrp="1"/>
          </p:cNvSpPr>
          <p:nvPr>
            <p:ph type="body" sz="quarter" idx="14" hasCustomPrompt="1"/>
          </p:nvPr>
        </p:nvSpPr>
        <p:spPr>
          <a:xfrm>
            <a:off x="3423743" y="4546184"/>
            <a:ext cx="2419856"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2" name="Text Placeholder 2">
            <a:extLst>
              <a:ext uri="{FF2B5EF4-FFF2-40B4-BE49-F238E27FC236}">
                <a16:creationId xmlns:a16="http://schemas.microsoft.com/office/drawing/2014/main" id="{85769853-61D7-6040-A834-91452CF82F07}"/>
              </a:ext>
            </a:extLst>
          </p:cNvPr>
          <p:cNvSpPr>
            <a:spLocks noGrp="1"/>
          </p:cNvSpPr>
          <p:nvPr>
            <p:ph type="body" sz="quarter" idx="15" hasCustomPrompt="1"/>
          </p:nvPr>
        </p:nvSpPr>
        <p:spPr>
          <a:xfrm>
            <a:off x="3417217" y="4933027"/>
            <a:ext cx="2419856" cy="153365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33" name="Text Placeholder 3">
            <a:extLst>
              <a:ext uri="{FF2B5EF4-FFF2-40B4-BE49-F238E27FC236}">
                <a16:creationId xmlns:a16="http://schemas.microsoft.com/office/drawing/2014/main" id="{47056E7E-3199-574F-A8D7-16931AC4EFCD}"/>
              </a:ext>
            </a:extLst>
          </p:cNvPr>
          <p:cNvSpPr>
            <a:spLocks noGrp="1"/>
          </p:cNvSpPr>
          <p:nvPr>
            <p:ph type="body" sz="quarter" idx="16" hasCustomPrompt="1"/>
          </p:nvPr>
        </p:nvSpPr>
        <p:spPr>
          <a:xfrm>
            <a:off x="6385273" y="4546184"/>
            <a:ext cx="2415144"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4" name="Text Placeholder 2">
            <a:extLst>
              <a:ext uri="{FF2B5EF4-FFF2-40B4-BE49-F238E27FC236}">
                <a16:creationId xmlns:a16="http://schemas.microsoft.com/office/drawing/2014/main" id="{021B021C-D024-3447-BB99-A0DE362FF1F6}"/>
              </a:ext>
            </a:extLst>
          </p:cNvPr>
          <p:cNvSpPr>
            <a:spLocks noGrp="1"/>
          </p:cNvSpPr>
          <p:nvPr>
            <p:ph type="body" sz="quarter" idx="17" hasCustomPrompt="1"/>
          </p:nvPr>
        </p:nvSpPr>
        <p:spPr>
          <a:xfrm>
            <a:off x="6380561" y="4933027"/>
            <a:ext cx="2419856" cy="153365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35" name="Text Placeholder 3">
            <a:extLst>
              <a:ext uri="{FF2B5EF4-FFF2-40B4-BE49-F238E27FC236}">
                <a16:creationId xmlns:a16="http://schemas.microsoft.com/office/drawing/2014/main" id="{B57223EE-FFCE-BD49-9680-C09D17545A45}"/>
              </a:ext>
            </a:extLst>
          </p:cNvPr>
          <p:cNvSpPr>
            <a:spLocks noGrp="1"/>
          </p:cNvSpPr>
          <p:nvPr>
            <p:ph type="body" sz="quarter" idx="20" hasCustomPrompt="1"/>
          </p:nvPr>
        </p:nvSpPr>
        <p:spPr>
          <a:xfrm>
            <a:off x="9298681" y="4546185"/>
            <a:ext cx="2393282"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6" name="Text Placeholder 2">
            <a:extLst>
              <a:ext uri="{FF2B5EF4-FFF2-40B4-BE49-F238E27FC236}">
                <a16:creationId xmlns:a16="http://schemas.microsoft.com/office/drawing/2014/main" id="{0977F9FC-D1DF-D44E-BD3D-727926328CFC}"/>
              </a:ext>
            </a:extLst>
          </p:cNvPr>
          <p:cNvSpPr>
            <a:spLocks noGrp="1"/>
          </p:cNvSpPr>
          <p:nvPr>
            <p:ph type="body" sz="quarter" idx="21" hasCustomPrompt="1"/>
          </p:nvPr>
        </p:nvSpPr>
        <p:spPr>
          <a:xfrm>
            <a:off x="9298679" y="4933027"/>
            <a:ext cx="2419857" cy="153365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Tree>
    <p:extLst>
      <p:ext uri="{BB962C8B-B14F-4D97-AF65-F5344CB8AC3E}">
        <p14:creationId xmlns:p14="http://schemas.microsoft.com/office/powerpoint/2010/main" val="28681362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 numbered subheads - Neutral">
    <p:bg>
      <p:bgPr>
        <a:solidFill>
          <a:schemeClr val="bg1"/>
        </a:solidFill>
        <a:effectLst/>
      </p:bgPr>
    </p:bg>
    <p:spTree>
      <p:nvGrpSpPr>
        <p:cNvPr id="1" name=""/>
        <p:cNvGrpSpPr/>
        <p:nvPr/>
      </p:nvGrpSpPr>
      <p:grpSpPr>
        <a:xfrm>
          <a:off x="0" y="0"/>
          <a:ext cx="0" cy="0"/>
          <a:chOff x="0" y="0"/>
          <a:chExt cx="0" cy="0"/>
        </a:xfrm>
      </p:grpSpPr>
      <p:sp>
        <p:nvSpPr>
          <p:cNvPr id="67" name="Text Placeholder 3">
            <a:extLst>
              <a:ext uri="{FF2B5EF4-FFF2-40B4-BE49-F238E27FC236}">
                <a16:creationId xmlns:a16="http://schemas.microsoft.com/office/drawing/2014/main" id="{96B9C4A8-C0C9-B442-8305-4BE33620E3E9}"/>
              </a:ext>
            </a:extLst>
          </p:cNvPr>
          <p:cNvSpPr>
            <a:spLocks noGrp="1"/>
          </p:cNvSpPr>
          <p:nvPr>
            <p:ph type="body" sz="quarter" idx="22" hasCustomPrompt="1"/>
          </p:nvPr>
        </p:nvSpPr>
        <p:spPr>
          <a:xfrm>
            <a:off x="487848"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68" name="Text Placeholder 3">
            <a:extLst>
              <a:ext uri="{FF2B5EF4-FFF2-40B4-BE49-F238E27FC236}">
                <a16:creationId xmlns:a16="http://schemas.microsoft.com/office/drawing/2014/main" id="{A17BEE10-8C37-E740-BB1D-922BF20FE555}"/>
              </a:ext>
            </a:extLst>
          </p:cNvPr>
          <p:cNvSpPr>
            <a:spLocks noGrp="1"/>
          </p:cNvSpPr>
          <p:nvPr>
            <p:ph type="body" sz="quarter" idx="23" hasCustomPrompt="1"/>
          </p:nvPr>
        </p:nvSpPr>
        <p:spPr>
          <a:xfrm>
            <a:off x="2772195"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69" name="Text Placeholder 3">
            <a:extLst>
              <a:ext uri="{FF2B5EF4-FFF2-40B4-BE49-F238E27FC236}">
                <a16:creationId xmlns:a16="http://schemas.microsoft.com/office/drawing/2014/main" id="{171A9E2E-06FA-F647-965F-19FE8DF943DF}"/>
              </a:ext>
            </a:extLst>
          </p:cNvPr>
          <p:cNvSpPr>
            <a:spLocks noGrp="1"/>
          </p:cNvSpPr>
          <p:nvPr>
            <p:ph type="body" sz="quarter" idx="24" hasCustomPrompt="1"/>
          </p:nvPr>
        </p:nvSpPr>
        <p:spPr>
          <a:xfrm>
            <a:off x="5056542"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0" name="Text Placeholder 3">
            <a:extLst>
              <a:ext uri="{FF2B5EF4-FFF2-40B4-BE49-F238E27FC236}">
                <a16:creationId xmlns:a16="http://schemas.microsoft.com/office/drawing/2014/main" id="{8CF08C04-DAC1-4846-8251-D6F9574076FE}"/>
              </a:ext>
            </a:extLst>
          </p:cNvPr>
          <p:cNvSpPr>
            <a:spLocks noGrp="1"/>
          </p:cNvSpPr>
          <p:nvPr>
            <p:ph type="body" sz="quarter" idx="25" hasCustomPrompt="1"/>
          </p:nvPr>
        </p:nvSpPr>
        <p:spPr>
          <a:xfrm>
            <a:off x="7340889"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1" name="Text Placeholder 3">
            <a:extLst>
              <a:ext uri="{FF2B5EF4-FFF2-40B4-BE49-F238E27FC236}">
                <a16:creationId xmlns:a16="http://schemas.microsoft.com/office/drawing/2014/main" id="{BBB08051-CCB8-0748-9FF1-E7693A66CABA}"/>
              </a:ext>
            </a:extLst>
          </p:cNvPr>
          <p:cNvSpPr>
            <a:spLocks noGrp="1"/>
          </p:cNvSpPr>
          <p:nvPr>
            <p:ph type="body" sz="quarter" idx="26" hasCustomPrompt="1"/>
          </p:nvPr>
        </p:nvSpPr>
        <p:spPr>
          <a:xfrm>
            <a:off x="9625238"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tx1"/>
                </a:solidFill>
              </a:defRPr>
            </a:lvl1pPr>
          </a:lstStyle>
          <a:p>
            <a:r>
              <a:rPr lang="en-US"/>
              <a:t>Slide title</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631747"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2916841"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5201935"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28" name="Text Placeholder 2">
            <a:extLst>
              <a:ext uri="{FF2B5EF4-FFF2-40B4-BE49-F238E27FC236}">
                <a16:creationId xmlns:a16="http://schemas.microsoft.com/office/drawing/2014/main" id="{A1AD0A15-F7E8-CA46-B543-2CAC6CE1B469}"/>
              </a:ext>
            </a:extLst>
          </p:cNvPr>
          <p:cNvSpPr>
            <a:spLocks noGrp="1"/>
          </p:cNvSpPr>
          <p:nvPr>
            <p:ph type="body" sz="quarter" idx="19" hasCustomPrompt="1"/>
          </p:nvPr>
        </p:nvSpPr>
        <p:spPr>
          <a:xfrm>
            <a:off x="7491741"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786259"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54" name="Text Placeholder 2">
            <a:extLst>
              <a:ext uri="{FF2B5EF4-FFF2-40B4-BE49-F238E27FC236}">
                <a16:creationId xmlns:a16="http://schemas.microsoft.com/office/drawing/2014/main" id="{531E973E-E72E-6647-B4E6-FE09044FADAD}"/>
              </a:ext>
            </a:extLst>
          </p:cNvPr>
          <p:cNvSpPr>
            <a:spLocks noGrp="1"/>
          </p:cNvSpPr>
          <p:nvPr>
            <p:ph type="body" sz="quarter" idx="37" hasCustomPrompt="1"/>
          </p:nvPr>
        </p:nvSpPr>
        <p:spPr>
          <a:xfrm>
            <a:off x="471051" y="1408951"/>
            <a:ext cx="11217272" cy="384336"/>
          </a:xfrm>
        </p:spPr>
        <p:txBody>
          <a:bodyPr>
            <a:noAutofit/>
          </a:bodyPr>
          <a:lstStyle>
            <a:lvl1pPr marL="0" indent="0">
              <a:lnSpc>
                <a:spcPct val="110000"/>
              </a:lnSpc>
              <a:spcBef>
                <a:spcPts val="0"/>
              </a:spcBef>
              <a:spcAft>
                <a:spcPts val="1600"/>
              </a:spcAft>
              <a:buFont typeface="Arial" panose="020B0604020202020204" pitchFamily="34" charset="0"/>
              <a:buNone/>
              <a:defRPr sz="20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Subtitle goes here:</a:t>
            </a:r>
          </a:p>
        </p:txBody>
      </p:sp>
      <p:sp>
        <p:nvSpPr>
          <p:cNvPr id="55" name="Text Placeholder 3">
            <a:extLst>
              <a:ext uri="{FF2B5EF4-FFF2-40B4-BE49-F238E27FC236}">
                <a16:creationId xmlns:a16="http://schemas.microsoft.com/office/drawing/2014/main" id="{2DBB5C8F-FC94-F247-AD2F-BE536FFAB334}"/>
              </a:ext>
            </a:extLst>
          </p:cNvPr>
          <p:cNvSpPr>
            <a:spLocks noGrp="1"/>
          </p:cNvSpPr>
          <p:nvPr>
            <p:ph type="body" sz="quarter" idx="11" hasCustomPrompt="1"/>
          </p:nvPr>
        </p:nvSpPr>
        <p:spPr>
          <a:xfrm>
            <a:off x="629432"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1.</a:t>
            </a:r>
            <a:endParaRPr lang="en-CA"/>
          </a:p>
        </p:txBody>
      </p:sp>
      <p:sp>
        <p:nvSpPr>
          <p:cNvPr id="56" name="Text Placeholder 3">
            <a:extLst>
              <a:ext uri="{FF2B5EF4-FFF2-40B4-BE49-F238E27FC236}">
                <a16:creationId xmlns:a16="http://schemas.microsoft.com/office/drawing/2014/main" id="{89809B24-F072-B94D-9F2F-4FBC77A98D0B}"/>
              </a:ext>
            </a:extLst>
          </p:cNvPr>
          <p:cNvSpPr>
            <a:spLocks noGrp="1"/>
          </p:cNvSpPr>
          <p:nvPr>
            <p:ph type="body" sz="quarter" idx="38" hasCustomPrompt="1"/>
          </p:nvPr>
        </p:nvSpPr>
        <p:spPr>
          <a:xfrm>
            <a:off x="2916841"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2.</a:t>
            </a:r>
            <a:endParaRPr lang="en-CA"/>
          </a:p>
        </p:txBody>
      </p:sp>
      <p:sp>
        <p:nvSpPr>
          <p:cNvPr id="57" name="Text Placeholder 3">
            <a:extLst>
              <a:ext uri="{FF2B5EF4-FFF2-40B4-BE49-F238E27FC236}">
                <a16:creationId xmlns:a16="http://schemas.microsoft.com/office/drawing/2014/main" id="{B32BF1FB-87B8-2C44-95A0-81FADB41F339}"/>
              </a:ext>
            </a:extLst>
          </p:cNvPr>
          <p:cNvSpPr>
            <a:spLocks noGrp="1"/>
          </p:cNvSpPr>
          <p:nvPr>
            <p:ph type="body" sz="quarter" idx="39" hasCustomPrompt="1"/>
          </p:nvPr>
        </p:nvSpPr>
        <p:spPr>
          <a:xfrm>
            <a:off x="5194634"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3.</a:t>
            </a:r>
            <a:endParaRPr lang="en-CA"/>
          </a:p>
        </p:txBody>
      </p:sp>
      <p:sp>
        <p:nvSpPr>
          <p:cNvPr id="58" name="Text Placeholder 3">
            <a:extLst>
              <a:ext uri="{FF2B5EF4-FFF2-40B4-BE49-F238E27FC236}">
                <a16:creationId xmlns:a16="http://schemas.microsoft.com/office/drawing/2014/main" id="{11C3B6AA-5C5C-4C44-B346-370E08869DEF}"/>
              </a:ext>
            </a:extLst>
          </p:cNvPr>
          <p:cNvSpPr>
            <a:spLocks noGrp="1"/>
          </p:cNvSpPr>
          <p:nvPr>
            <p:ph type="body" sz="quarter" idx="40" hasCustomPrompt="1"/>
          </p:nvPr>
        </p:nvSpPr>
        <p:spPr>
          <a:xfrm>
            <a:off x="7485544"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4.</a:t>
            </a:r>
            <a:endParaRPr lang="en-CA"/>
          </a:p>
        </p:txBody>
      </p:sp>
      <p:sp>
        <p:nvSpPr>
          <p:cNvPr id="59" name="Text Placeholder 3">
            <a:extLst>
              <a:ext uri="{FF2B5EF4-FFF2-40B4-BE49-F238E27FC236}">
                <a16:creationId xmlns:a16="http://schemas.microsoft.com/office/drawing/2014/main" id="{71C1B6DF-9169-AC49-AE92-F4BBE3141C49}"/>
              </a:ext>
            </a:extLst>
          </p:cNvPr>
          <p:cNvSpPr>
            <a:spLocks noGrp="1"/>
          </p:cNvSpPr>
          <p:nvPr>
            <p:ph type="body" sz="quarter" idx="41" hasCustomPrompt="1"/>
          </p:nvPr>
        </p:nvSpPr>
        <p:spPr>
          <a:xfrm>
            <a:off x="9779291"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5.</a:t>
            </a:r>
            <a:endParaRPr lang="en-CA"/>
          </a:p>
        </p:txBody>
      </p:sp>
    </p:spTree>
    <p:extLst>
      <p:ext uri="{BB962C8B-B14F-4D97-AF65-F5344CB8AC3E}">
        <p14:creationId xmlns:p14="http://schemas.microsoft.com/office/powerpoint/2010/main" val="157206972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 subheads - Neutral">
    <p:bg>
      <p:bgPr>
        <a:solidFill>
          <a:srgbClr val="F6F6F6"/>
        </a:solidFill>
        <a:effectLst/>
      </p:bgPr>
    </p:bg>
    <p:spTree>
      <p:nvGrpSpPr>
        <p:cNvPr id="1" name=""/>
        <p:cNvGrpSpPr/>
        <p:nvPr/>
      </p:nvGrpSpPr>
      <p:grpSpPr>
        <a:xfrm>
          <a:off x="0" y="0"/>
          <a:ext cx="0" cy="0"/>
          <a:chOff x="0" y="0"/>
          <a:chExt cx="0" cy="0"/>
        </a:xfrm>
      </p:grpSpPr>
      <p:sp>
        <p:nvSpPr>
          <p:cNvPr id="67" name="Text Placeholder 3">
            <a:extLst>
              <a:ext uri="{FF2B5EF4-FFF2-40B4-BE49-F238E27FC236}">
                <a16:creationId xmlns:a16="http://schemas.microsoft.com/office/drawing/2014/main" id="{96B9C4A8-C0C9-B442-8305-4BE33620E3E9}"/>
              </a:ext>
            </a:extLst>
          </p:cNvPr>
          <p:cNvSpPr>
            <a:spLocks noGrp="1"/>
          </p:cNvSpPr>
          <p:nvPr>
            <p:ph type="body" sz="quarter" idx="22" hasCustomPrompt="1"/>
          </p:nvPr>
        </p:nvSpPr>
        <p:spPr>
          <a:xfrm>
            <a:off x="487848"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68" name="Text Placeholder 3">
            <a:extLst>
              <a:ext uri="{FF2B5EF4-FFF2-40B4-BE49-F238E27FC236}">
                <a16:creationId xmlns:a16="http://schemas.microsoft.com/office/drawing/2014/main" id="{A17BEE10-8C37-E740-BB1D-922BF20FE555}"/>
              </a:ext>
            </a:extLst>
          </p:cNvPr>
          <p:cNvSpPr>
            <a:spLocks noGrp="1"/>
          </p:cNvSpPr>
          <p:nvPr>
            <p:ph type="body" sz="quarter" idx="23" hasCustomPrompt="1"/>
          </p:nvPr>
        </p:nvSpPr>
        <p:spPr>
          <a:xfrm>
            <a:off x="2772195"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69" name="Text Placeholder 3">
            <a:extLst>
              <a:ext uri="{FF2B5EF4-FFF2-40B4-BE49-F238E27FC236}">
                <a16:creationId xmlns:a16="http://schemas.microsoft.com/office/drawing/2014/main" id="{171A9E2E-06FA-F647-965F-19FE8DF943DF}"/>
              </a:ext>
            </a:extLst>
          </p:cNvPr>
          <p:cNvSpPr>
            <a:spLocks noGrp="1"/>
          </p:cNvSpPr>
          <p:nvPr>
            <p:ph type="body" sz="quarter" idx="24" hasCustomPrompt="1"/>
          </p:nvPr>
        </p:nvSpPr>
        <p:spPr>
          <a:xfrm>
            <a:off x="5056542"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0" name="Text Placeholder 3">
            <a:extLst>
              <a:ext uri="{FF2B5EF4-FFF2-40B4-BE49-F238E27FC236}">
                <a16:creationId xmlns:a16="http://schemas.microsoft.com/office/drawing/2014/main" id="{8CF08C04-DAC1-4846-8251-D6F9574076FE}"/>
              </a:ext>
            </a:extLst>
          </p:cNvPr>
          <p:cNvSpPr>
            <a:spLocks noGrp="1"/>
          </p:cNvSpPr>
          <p:nvPr>
            <p:ph type="body" sz="quarter" idx="25" hasCustomPrompt="1"/>
          </p:nvPr>
        </p:nvSpPr>
        <p:spPr>
          <a:xfrm>
            <a:off x="7340889"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1" name="Text Placeholder 3">
            <a:extLst>
              <a:ext uri="{FF2B5EF4-FFF2-40B4-BE49-F238E27FC236}">
                <a16:creationId xmlns:a16="http://schemas.microsoft.com/office/drawing/2014/main" id="{BBB08051-CCB8-0748-9FF1-E7693A66CABA}"/>
              </a:ext>
            </a:extLst>
          </p:cNvPr>
          <p:cNvSpPr>
            <a:spLocks noGrp="1"/>
          </p:cNvSpPr>
          <p:nvPr>
            <p:ph type="body" sz="quarter" idx="26" hasCustomPrompt="1"/>
          </p:nvPr>
        </p:nvSpPr>
        <p:spPr>
          <a:xfrm>
            <a:off x="9625238"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tx1"/>
                </a:solidFill>
              </a:defRPr>
            </a:lvl1pPr>
          </a:lstStyle>
          <a:p>
            <a:r>
              <a:rPr lang="en-US"/>
              <a:t>Slide title</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631747"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endParaRPr lang="en-US"/>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2916841"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5201935"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8" name="Text Placeholder 2">
            <a:extLst>
              <a:ext uri="{FF2B5EF4-FFF2-40B4-BE49-F238E27FC236}">
                <a16:creationId xmlns:a16="http://schemas.microsoft.com/office/drawing/2014/main" id="{A1AD0A15-F7E8-CA46-B543-2CAC6CE1B469}"/>
              </a:ext>
            </a:extLst>
          </p:cNvPr>
          <p:cNvSpPr>
            <a:spLocks noGrp="1"/>
          </p:cNvSpPr>
          <p:nvPr>
            <p:ph type="body" sz="quarter" idx="19" hasCustomPrompt="1"/>
          </p:nvPr>
        </p:nvSpPr>
        <p:spPr>
          <a:xfrm>
            <a:off x="7491741"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786259"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Tree>
    <p:extLst>
      <p:ext uri="{BB962C8B-B14F-4D97-AF65-F5344CB8AC3E}">
        <p14:creationId xmlns:p14="http://schemas.microsoft.com/office/powerpoint/2010/main" val="355098719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 subheads - Neutral">
    <p:bg>
      <p:bgPr>
        <a:solidFill>
          <a:srgbClr val="F6F6F6"/>
        </a:solidFill>
        <a:effectLst/>
      </p:bgPr>
    </p:bg>
    <p:spTree>
      <p:nvGrpSpPr>
        <p:cNvPr id="1" name=""/>
        <p:cNvGrpSpPr/>
        <p:nvPr/>
      </p:nvGrpSpPr>
      <p:grpSpPr>
        <a:xfrm>
          <a:off x="0" y="0"/>
          <a:ext cx="0" cy="0"/>
          <a:chOff x="0" y="0"/>
          <a:chExt cx="0" cy="0"/>
        </a:xfrm>
      </p:grpSpPr>
      <p:sp>
        <p:nvSpPr>
          <p:cNvPr id="54" name="Text Placeholder 3">
            <a:extLst>
              <a:ext uri="{FF2B5EF4-FFF2-40B4-BE49-F238E27FC236}">
                <a16:creationId xmlns:a16="http://schemas.microsoft.com/office/drawing/2014/main" id="{DFC3CDE7-21EE-A541-96CE-FE89913E2B06}"/>
              </a:ext>
            </a:extLst>
          </p:cNvPr>
          <p:cNvSpPr>
            <a:spLocks noGrp="1"/>
          </p:cNvSpPr>
          <p:nvPr>
            <p:ph type="body" sz="quarter" idx="26" hasCustomPrompt="1"/>
          </p:nvPr>
        </p:nvSpPr>
        <p:spPr>
          <a:xfrm>
            <a:off x="6323718"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56" name="Text Placeholder 3">
            <a:extLst>
              <a:ext uri="{FF2B5EF4-FFF2-40B4-BE49-F238E27FC236}">
                <a16:creationId xmlns:a16="http://schemas.microsoft.com/office/drawing/2014/main" id="{DA1914B8-643E-2345-BBE9-C4F83934B1B4}"/>
              </a:ext>
            </a:extLst>
          </p:cNvPr>
          <p:cNvSpPr>
            <a:spLocks noGrp="1"/>
          </p:cNvSpPr>
          <p:nvPr>
            <p:ph type="body" sz="quarter" idx="28" hasCustomPrompt="1"/>
          </p:nvPr>
        </p:nvSpPr>
        <p:spPr>
          <a:xfrm>
            <a:off x="3415626"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58" name="Text Placeholder 3">
            <a:extLst>
              <a:ext uri="{FF2B5EF4-FFF2-40B4-BE49-F238E27FC236}">
                <a16:creationId xmlns:a16="http://schemas.microsoft.com/office/drawing/2014/main" id="{E4B8C640-9C51-674D-BABB-766E3130ADC6}"/>
              </a:ext>
            </a:extLst>
          </p:cNvPr>
          <p:cNvSpPr>
            <a:spLocks noGrp="1"/>
          </p:cNvSpPr>
          <p:nvPr>
            <p:ph type="body" sz="quarter" idx="30" hasCustomPrompt="1"/>
          </p:nvPr>
        </p:nvSpPr>
        <p:spPr>
          <a:xfrm>
            <a:off x="507534"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0" name="Text Placeholder 3">
            <a:extLst>
              <a:ext uri="{FF2B5EF4-FFF2-40B4-BE49-F238E27FC236}">
                <a16:creationId xmlns:a16="http://schemas.microsoft.com/office/drawing/2014/main" id="{8CF08C04-DAC1-4846-8251-D6F9574076FE}"/>
              </a:ext>
            </a:extLst>
          </p:cNvPr>
          <p:cNvSpPr>
            <a:spLocks noGrp="1"/>
          </p:cNvSpPr>
          <p:nvPr>
            <p:ph type="body" sz="quarter" idx="25" hasCustomPrompt="1"/>
          </p:nvPr>
        </p:nvSpPr>
        <p:spPr>
          <a:xfrm>
            <a:off x="9231810"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tx1"/>
                </a:solidFill>
              </a:defRPr>
            </a:lvl1pPr>
          </a:lstStyle>
          <a:p>
            <a:r>
              <a:rPr lang="en-US"/>
              <a:t>Slide title</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8" name="Text Placeholder 7">
            <a:extLst>
              <a:ext uri="{FF2B5EF4-FFF2-40B4-BE49-F238E27FC236}">
                <a16:creationId xmlns:a16="http://schemas.microsoft.com/office/drawing/2014/main" id="{545527A9-D7C2-824A-B89C-9708DAE24119}"/>
              </a:ext>
            </a:extLst>
          </p:cNvPr>
          <p:cNvSpPr>
            <a:spLocks noGrp="1"/>
          </p:cNvSpPr>
          <p:nvPr>
            <p:ph type="body" sz="quarter" idx="32" hasCustomPrompt="1"/>
          </p:nvPr>
        </p:nvSpPr>
        <p:spPr>
          <a:xfrm>
            <a:off x="682625" y="3942830"/>
            <a:ext cx="2128838" cy="1542142"/>
          </a:xfrm>
        </p:spPr>
        <p:txBody>
          <a:bodyPr>
            <a:noAutofit/>
          </a:bodyPr>
          <a:lstStyle>
            <a:lvl1pPr marL="0" indent="0">
              <a:lnSpc>
                <a:spcPct val="110000"/>
              </a:lnSpc>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
        <p:nvSpPr>
          <p:cNvPr id="60" name="Text Placeholder 7">
            <a:extLst>
              <a:ext uri="{FF2B5EF4-FFF2-40B4-BE49-F238E27FC236}">
                <a16:creationId xmlns:a16="http://schemas.microsoft.com/office/drawing/2014/main" id="{1C255310-4273-234D-AFFD-8BFE56779DA3}"/>
              </a:ext>
            </a:extLst>
          </p:cNvPr>
          <p:cNvSpPr>
            <a:spLocks noGrp="1"/>
          </p:cNvSpPr>
          <p:nvPr>
            <p:ph type="body" sz="quarter" idx="33" hasCustomPrompt="1"/>
          </p:nvPr>
        </p:nvSpPr>
        <p:spPr>
          <a:xfrm>
            <a:off x="3590717" y="3973227"/>
            <a:ext cx="2128838" cy="1542142"/>
          </a:xfrm>
        </p:spPr>
        <p:txBody>
          <a:bodyPr>
            <a:noAutofit/>
          </a:bodyPr>
          <a:lstStyle>
            <a:lvl1pPr marL="0" indent="0">
              <a:lnSpc>
                <a:spcPct val="110000"/>
              </a:lnSpc>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
        <p:nvSpPr>
          <p:cNvPr id="61" name="Text Placeholder 7">
            <a:extLst>
              <a:ext uri="{FF2B5EF4-FFF2-40B4-BE49-F238E27FC236}">
                <a16:creationId xmlns:a16="http://schemas.microsoft.com/office/drawing/2014/main" id="{6D9BEBBB-2849-D145-BCBA-BD13D004B183}"/>
              </a:ext>
            </a:extLst>
          </p:cNvPr>
          <p:cNvSpPr>
            <a:spLocks noGrp="1"/>
          </p:cNvSpPr>
          <p:nvPr>
            <p:ph type="body" sz="quarter" idx="34" hasCustomPrompt="1"/>
          </p:nvPr>
        </p:nvSpPr>
        <p:spPr>
          <a:xfrm>
            <a:off x="6499076" y="3973227"/>
            <a:ext cx="2128838" cy="1542142"/>
          </a:xfrm>
        </p:spPr>
        <p:txBody>
          <a:bodyPr>
            <a:noAutofit/>
          </a:bodyPr>
          <a:lstStyle>
            <a:lvl1pPr marL="0" indent="0">
              <a:lnSpc>
                <a:spcPct val="110000"/>
              </a:lnSpc>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
        <p:nvSpPr>
          <p:cNvPr id="62" name="Text Placeholder 7">
            <a:extLst>
              <a:ext uri="{FF2B5EF4-FFF2-40B4-BE49-F238E27FC236}">
                <a16:creationId xmlns:a16="http://schemas.microsoft.com/office/drawing/2014/main" id="{F46A0D93-41DB-754F-AC1F-24960C31A3DE}"/>
              </a:ext>
            </a:extLst>
          </p:cNvPr>
          <p:cNvSpPr>
            <a:spLocks noGrp="1"/>
          </p:cNvSpPr>
          <p:nvPr>
            <p:ph type="body" sz="quarter" idx="35" hasCustomPrompt="1"/>
          </p:nvPr>
        </p:nvSpPr>
        <p:spPr>
          <a:xfrm>
            <a:off x="9407168" y="3973227"/>
            <a:ext cx="2128838" cy="1542142"/>
          </a:xfrm>
        </p:spPr>
        <p:txBody>
          <a:bodyPr>
            <a:noAutofit/>
          </a:bodyPr>
          <a:lstStyle>
            <a:lvl1pPr marL="0" indent="0">
              <a:lnSpc>
                <a:spcPct val="110000"/>
              </a:lnSpc>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Tree>
    <p:extLst>
      <p:ext uri="{BB962C8B-B14F-4D97-AF65-F5344CB8AC3E}">
        <p14:creationId xmlns:p14="http://schemas.microsoft.com/office/powerpoint/2010/main" val="17902531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alf text half image">
    <p:bg>
      <p:bgPr>
        <a:solidFill>
          <a:srgbClr val="F6F6F6"/>
        </a:solidFill>
        <a:effectLst/>
      </p:bgPr>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BB2C3381-E344-0E4F-A0BA-73BB5887462C}"/>
              </a:ext>
            </a:extLst>
          </p:cNvPr>
          <p:cNvSpPr/>
          <p:nvPr userDrawn="1"/>
        </p:nvSpPr>
        <p:spPr>
          <a:xfrm>
            <a:off x="8031877" y="0"/>
            <a:ext cx="4159725" cy="6858000"/>
          </a:xfrm>
          <a:prstGeom prst="rect">
            <a:avLst/>
          </a:prstGeom>
          <a:solidFill>
            <a:schemeClr val="bg1"/>
          </a:solidFill>
          <a:ln w="12700">
            <a:miter lim="400000"/>
          </a:ln>
        </p:spPr>
        <p:txBody>
          <a:bodyPr lIns="45716" rIns="45716" anchor="ctr"/>
          <a:lstStyle/>
          <a:p>
            <a:pPr defTabSz="914355">
              <a:defRPr>
                <a:solidFill>
                  <a:srgbClr val="1FA2DC"/>
                </a:solidFill>
              </a:defRPr>
            </a:pPr>
            <a:endParaRPr sz="3600">
              <a:solidFill>
                <a:srgbClr val="1FA2DC"/>
              </a:solidFill>
              <a:latin typeface="Scotia Regular" panose="020B0503020203020204" pitchFamily="34" charset="0"/>
            </a:endParaRPr>
          </a:p>
        </p:txBody>
      </p:sp>
      <p:sp>
        <p:nvSpPr>
          <p:cNvPr id="4" name="Picture Placeholder 3">
            <a:extLst>
              <a:ext uri="{FF2B5EF4-FFF2-40B4-BE49-F238E27FC236}">
                <a16:creationId xmlns:a16="http://schemas.microsoft.com/office/drawing/2014/main" id="{6D30E432-2DC3-5545-8BDE-731303857A80}"/>
              </a:ext>
            </a:extLst>
          </p:cNvPr>
          <p:cNvSpPr>
            <a:spLocks noGrp="1"/>
          </p:cNvSpPr>
          <p:nvPr>
            <p:ph type="pic" sz="quarter" idx="12" hasCustomPrompt="1"/>
          </p:nvPr>
        </p:nvSpPr>
        <p:spPr>
          <a:xfrm>
            <a:off x="8031876" y="0"/>
            <a:ext cx="4160124" cy="6858000"/>
          </a:xfrm>
        </p:spPr>
        <p:txBody>
          <a:bodyPr anchor="ctr"/>
          <a:lstStyle>
            <a:lvl1pPr marL="0" indent="0" algn="ctr">
              <a:buNone/>
              <a:defRPr>
                <a:latin typeface="+mj-lt"/>
              </a:defRPr>
            </a:lvl1pPr>
          </a:lstStyle>
          <a:p>
            <a:r>
              <a:rPr lang="en-CA"/>
              <a:t>Photo/illustration</a:t>
            </a:r>
          </a:p>
        </p:txBody>
      </p:sp>
      <p:sp>
        <p:nvSpPr>
          <p:cNvPr id="2" name="Title 1">
            <a:extLst>
              <a:ext uri="{FF2B5EF4-FFF2-40B4-BE49-F238E27FC236}">
                <a16:creationId xmlns:a16="http://schemas.microsoft.com/office/drawing/2014/main" id="{86191B29-D3CA-8644-9CB9-79D1A03C934E}"/>
              </a:ext>
            </a:extLst>
          </p:cNvPr>
          <p:cNvSpPr>
            <a:spLocks noGrp="1"/>
          </p:cNvSpPr>
          <p:nvPr>
            <p:ph type="title" hasCustomPrompt="1"/>
          </p:nvPr>
        </p:nvSpPr>
        <p:spPr>
          <a:xfrm>
            <a:off x="471050" y="817861"/>
            <a:ext cx="7136249" cy="483229"/>
          </a:xfrm>
        </p:spPr>
        <p:txBody>
          <a:bodyPr anchor="t">
            <a:noAutofit/>
          </a:bodyPr>
          <a:lstStyle/>
          <a:p>
            <a:r>
              <a:rPr lang="en-US"/>
              <a:t>Slide title goes here</a:t>
            </a:r>
          </a:p>
        </p:txBody>
      </p:sp>
      <p:sp>
        <p:nvSpPr>
          <p:cNvPr id="12" name="TextBox 11">
            <a:extLst>
              <a:ext uri="{FF2B5EF4-FFF2-40B4-BE49-F238E27FC236}">
                <a16:creationId xmlns:a16="http://schemas.microsoft.com/office/drawing/2014/main" id="{597E7282-3BC7-4544-8051-E534A579460C}"/>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7" name="Graphic 16">
            <a:extLst>
              <a:ext uri="{FF2B5EF4-FFF2-40B4-BE49-F238E27FC236}">
                <a16:creationId xmlns:a16="http://schemas.microsoft.com/office/drawing/2014/main" id="{A0F7AAFC-8746-104F-92FA-0C832699D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 Placeholder 2">
            <a:extLst>
              <a:ext uri="{FF2B5EF4-FFF2-40B4-BE49-F238E27FC236}">
                <a16:creationId xmlns:a16="http://schemas.microsoft.com/office/drawing/2014/main" id="{FD3D621D-DFA8-974C-BE2B-3AAB183B143A}"/>
              </a:ext>
            </a:extLst>
          </p:cNvPr>
          <p:cNvSpPr>
            <a:spLocks noGrp="1"/>
          </p:cNvSpPr>
          <p:nvPr>
            <p:ph type="body" sz="quarter" idx="11" hasCustomPrompt="1"/>
          </p:nvPr>
        </p:nvSpPr>
        <p:spPr>
          <a:xfrm>
            <a:off x="471051" y="2658764"/>
            <a:ext cx="7135811" cy="3381375"/>
          </a:xfrm>
        </p:spPr>
        <p:txBody>
          <a:bodyPr>
            <a:noAutofit/>
          </a:bodyPr>
          <a:lstStyle>
            <a:lvl1pPr marL="285750" indent="-285750">
              <a:lnSpc>
                <a:spcPct val="110000"/>
              </a:lnSpc>
              <a:spcBef>
                <a:spcPts val="0"/>
              </a:spcBef>
              <a:spcAft>
                <a:spcPts val="1600"/>
              </a:spcAft>
              <a:buFont typeface="Arial" panose="020B0604020202020204" pitchFamily="34" charset="0"/>
              <a:buChar char="•"/>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a:p>
            <a:pPr lvl="0"/>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3" name="Text Placeholder 4">
            <a:extLst>
              <a:ext uri="{FF2B5EF4-FFF2-40B4-BE49-F238E27FC236}">
                <a16:creationId xmlns:a16="http://schemas.microsoft.com/office/drawing/2014/main" id="{309248FD-67F1-AD4A-B7EF-7BF1519A6E07}"/>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5" name="Text Placeholder 4">
            <a:extLst>
              <a:ext uri="{FF2B5EF4-FFF2-40B4-BE49-F238E27FC236}">
                <a16:creationId xmlns:a16="http://schemas.microsoft.com/office/drawing/2014/main" id="{2B9AF6B4-F268-3443-8C40-72EA278FAE4C}"/>
              </a:ext>
            </a:extLst>
          </p:cNvPr>
          <p:cNvSpPr>
            <a:spLocks noGrp="1"/>
          </p:cNvSpPr>
          <p:nvPr>
            <p:ph type="body" sz="quarter" idx="13" hasCustomPrompt="1"/>
          </p:nvPr>
        </p:nvSpPr>
        <p:spPr>
          <a:xfrm>
            <a:off x="471488" y="1411633"/>
            <a:ext cx="7135812" cy="476250"/>
          </a:xfrm>
        </p:spPr>
        <p:txBody>
          <a:bodyPr>
            <a:normAutofit/>
          </a:bodyPr>
          <a:lstStyle>
            <a:lvl1pPr marL="0" indent="0">
              <a:buNone/>
              <a:defRPr sz="2800"/>
            </a:lvl1pPr>
            <a:lvl2pPr marL="457200" indent="0">
              <a:buNone/>
              <a:defRPr/>
            </a:lvl2pPr>
            <a:lvl3pPr marL="914400" indent="0">
              <a:buNone/>
              <a:defRPr/>
            </a:lvl3pPr>
            <a:lvl4pPr marL="1371600" indent="0">
              <a:buNone/>
              <a:defRPr/>
            </a:lvl4pPr>
            <a:lvl5pPr marL="1828800" indent="0">
              <a:buNone/>
              <a:defRPr/>
            </a:lvl5pPr>
          </a:lstStyle>
          <a:p>
            <a:pPr lvl="0"/>
            <a:r>
              <a:rPr lang="en-US"/>
              <a:t>An important subheading goes here</a:t>
            </a:r>
            <a:endParaRPr lang="en-CA"/>
          </a:p>
        </p:txBody>
      </p:sp>
    </p:spTree>
    <p:extLst>
      <p:ext uri="{BB962C8B-B14F-4D97-AF65-F5344CB8AC3E}">
        <p14:creationId xmlns:p14="http://schemas.microsoft.com/office/powerpoint/2010/main" val="196564476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arge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88BECD-73E5-6C40-91D1-3BAD9F87B8AD}"/>
              </a:ext>
            </a:extLst>
          </p:cNvPr>
          <p:cNvSpPr/>
          <p:nvPr userDrawn="1"/>
        </p:nvSpPr>
        <p:spPr>
          <a:xfrm>
            <a:off x="398" y="0"/>
            <a:ext cx="12191206" cy="2971800"/>
          </a:xfrm>
          <a:prstGeom prst="rect">
            <a:avLst/>
          </a:prstGeom>
          <a:solidFill>
            <a:srgbClr val="F6F6F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hangingPunct="0"/>
            <a:endParaRPr lang="en-US" sz="900">
              <a:solidFill>
                <a:srgbClr val="323232"/>
              </a:solidFill>
              <a:latin typeface="Gotham Bold"/>
              <a:ea typeface="Gotham Bold"/>
              <a:cs typeface="Gotham Bold"/>
              <a:sym typeface="Gotham"/>
            </a:endParaRP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1362543" y="1498223"/>
            <a:ext cx="9466914" cy="1040061"/>
          </a:xfrm>
        </p:spPr>
        <p:txBody>
          <a:bodyPr anchor="t">
            <a:noAutofit/>
          </a:bodyPr>
          <a:lstStyle>
            <a:lvl1pPr algn="ctr">
              <a:lnSpc>
                <a:spcPct val="100000"/>
              </a:lnSpc>
              <a:defRPr lang="es-ES_tradnl" sz="3000" b="1" kern="1200" dirty="0">
                <a:solidFill>
                  <a:srgbClr val="333333"/>
                </a:solidFill>
                <a:latin typeface="Scotia Headline"/>
                <a:ea typeface="Gilroy ExtraBold Italic"/>
                <a:cs typeface="Gilroy ExtraBold Italic"/>
              </a:defRPr>
            </a:lvl1pPr>
          </a:lstStyle>
          <a:p>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endParaRPr lang="en-US"/>
          </a:p>
        </p:txBody>
      </p:sp>
      <p:sp>
        <p:nvSpPr>
          <p:cNvPr id="9" name="Text Placeholder 11">
            <a:extLst>
              <a:ext uri="{FF2B5EF4-FFF2-40B4-BE49-F238E27FC236}">
                <a16:creationId xmlns:a16="http://schemas.microsoft.com/office/drawing/2014/main" id="{6EF7400F-D872-5144-AD1D-927764ABB84E}"/>
              </a:ext>
            </a:extLst>
          </p:cNvPr>
          <p:cNvSpPr>
            <a:spLocks noGrp="1"/>
          </p:cNvSpPr>
          <p:nvPr>
            <p:ph type="body" sz="quarter" idx="11" hasCustomPrompt="1"/>
          </p:nvPr>
        </p:nvSpPr>
        <p:spPr>
          <a:xfrm>
            <a:off x="2095826" y="1061305"/>
            <a:ext cx="8000347" cy="321189"/>
          </a:xfrm>
          <a:ln w="12700">
            <a:miter lim="400000"/>
          </a:ln>
        </p:spPr>
        <p:txBody>
          <a:bodyPr wrap="square" lIns="0" tIns="0" rIns="0" bIns="0">
            <a:noAutofit/>
          </a:bodyPr>
          <a:lstStyle>
            <a:lvl1pPr marL="0" indent="0" algn="ctr">
              <a:buNone/>
              <a:defRPr lang="en-US" sz="1800" b="1" cap="all" spc="300" baseline="0" smtClean="0">
                <a:solidFill>
                  <a:srgbClr val="757575"/>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a:t>
            </a:r>
          </a:p>
        </p:txBody>
      </p:sp>
      <p:pic>
        <p:nvPicPr>
          <p:cNvPr id="10" name="Graphic 9">
            <a:extLst>
              <a:ext uri="{FF2B5EF4-FFF2-40B4-BE49-F238E27FC236}">
                <a16:creationId xmlns:a16="http://schemas.microsoft.com/office/drawing/2014/main" id="{ECDAE827-A5E1-234A-88B6-8A65094BF7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019573B0-D955-4B4C-8BB5-C6735698A5C7}"/>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333333"/>
                </a:solidFill>
                <a:latin typeface="Scotia" panose="020B0503020203020204" pitchFamily="34" charset="0"/>
              </a:rPr>
              <a:pPr algn="r"/>
              <a:t>‹#›</a:t>
            </a:fld>
            <a:endParaRPr lang="en-CA" sz="800">
              <a:solidFill>
                <a:srgbClr val="333333"/>
              </a:solidFill>
              <a:latin typeface="Scotia" panose="020B0503020203020204" pitchFamily="34" charset="0"/>
            </a:endParaRPr>
          </a:p>
        </p:txBody>
      </p:sp>
      <p:sp>
        <p:nvSpPr>
          <p:cNvPr id="13" name="Text Placeholder 4">
            <a:extLst>
              <a:ext uri="{FF2B5EF4-FFF2-40B4-BE49-F238E27FC236}">
                <a16:creationId xmlns:a16="http://schemas.microsoft.com/office/drawing/2014/main" id="{9831DDF5-2C59-9540-A7DF-1D1666C371D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333333"/>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24" name="Text Placeholder 2">
            <a:extLst>
              <a:ext uri="{FF2B5EF4-FFF2-40B4-BE49-F238E27FC236}">
                <a16:creationId xmlns:a16="http://schemas.microsoft.com/office/drawing/2014/main" id="{43BE8F44-776C-9E4E-8DFB-C8883F977AC0}"/>
              </a:ext>
            </a:extLst>
          </p:cNvPr>
          <p:cNvSpPr>
            <a:spLocks noGrp="1"/>
          </p:cNvSpPr>
          <p:nvPr>
            <p:ph type="body" sz="quarter" idx="13" hasCustomPrompt="1"/>
          </p:nvPr>
        </p:nvSpPr>
        <p:spPr>
          <a:xfrm>
            <a:off x="1067376" y="5121952"/>
            <a:ext cx="2762450" cy="705578"/>
          </a:xfrm>
        </p:spPr>
        <p:txBody>
          <a:bodyPr>
            <a:noAutofit/>
          </a:bodyPr>
          <a:lstStyle>
            <a:lvl1pPr marL="0" indent="0" algn="ctr">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Duis </a:t>
            </a:r>
            <a:r>
              <a:rPr lang="en-US" err="1"/>
              <a:t>aute</a:t>
            </a:r>
            <a:r>
              <a:rPr lang="en-US"/>
              <a:t> </a:t>
            </a:r>
            <a:r>
              <a:rPr lang="en-US" err="1"/>
              <a:t>irure</a:t>
            </a:r>
            <a:r>
              <a:rPr lang="en-US"/>
              <a:t> dolor in </a:t>
            </a:r>
            <a:r>
              <a:rPr lang="en-US" err="1"/>
              <a:t>reprehender</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p>
          <a:p>
            <a:pPr lvl="0"/>
            <a:endParaRPr lang="en-US"/>
          </a:p>
        </p:txBody>
      </p:sp>
      <p:sp>
        <p:nvSpPr>
          <p:cNvPr id="25" name="Text Placeholder 3">
            <a:extLst>
              <a:ext uri="{FF2B5EF4-FFF2-40B4-BE49-F238E27FC236}">
                <a16:creationId xmlns:a16="http://schemas.microsoft.com/office/drawing/2014/main" id="{54497E9B-3C93-324F-8C52-087F09B1E465}"/>
              </a:ext>
            </a:extLst>
          </p:cNvPr>
          <p:cNvSpPr>
            <a:spLocks noGrp="1"/>
          </p:cNvSpPr>
          <p:nvPr>
            <p:ph type="body" sz="quarter" idx="14" hasCustomPrompt="1"/>
          </p:nvPr>
        </p:nvSpPr>
        <p:spPr>
          <a:xfrm>
            <a:off x="1067375" y="3629948"/>
            <a:ext cx="2762451" cy="945339"/>
          </a:xfrm>
        </p:spPr>
        <p:txBody>
          <a:bodyPr>
            <a:noAutofit/>
          </a:bodyPr>
          <a:lstStyle>
            <a:lvl1pPr marL="0" indent="0" algn="ctr">
              <a:buNone/>
              <a:defRPr sz="8000" b="1" i="0" spc="-100" baseline="0">
                <a:solidFill>
                  <a:srgbClr val="7849B8"/>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XX</a:t>
            </a:r>
            <a:endParaRPr lang="en-CA"/>
          </a:p>
        </p:txBody>
      </p:sp>
      <p:sp>
        <p:nvSpPr>
          <p:cNvPr id="26" name="Text Placeholder 3">
            <a:extLst>
              <a:ext uri="{FF2B5EF4-FFF2-40B4-BE49-F238E27FC236}">
                <a16:creationId xmlns:a16="http://schemas.microsoft.com/office/drawing/2014/main" id="{0C7331D7-A440-EB4E-92CB-F43E4C6DD9A9}"/>
              </a:ext>
            </a:extLst>
          </p:cNvPr>
          <p:cNvSpPr>
            <a:spLocks noGrp="1"/>
          </p:cNvSpPr>
          <p:nvPr>
            <p:ph type="body" sz="quarter" idx="12" hasCustomPrompt="1"/>
          </p:nvPr>
        </p:nvSpPr>
        <p:spPr>
          <a:xfrm>
            <a:off x="1067375" y="4620283"/>
            <a:ext cx="2762450" cy="342997"/>
          </a:xfrm>
        </p:spPr>
        <p:txBody>
          <a:bodyPr>
            <a:noAutofit/>
          </a:bodyPr>
          <a:lstStyle>
            <a:lvl1pPr marL="0" indent="0" algn="ctr">
              <a:spcBef>
                <a:spcPts val="0"/>
              </a:spcBef>
              <a:buNone/>
              <a:defRPr sz="2400" b="1" i="0">
                <a:solidFill>
                  <a:srgbClr val="7849B8"/>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Lorem ipsum</a:t>
            </a:r>
            <a:endParaRPr lang="en-CA"/>
          </a:p>
        </p:txBody>
      </p:sp>
      <p:sp>
        <p:nvSpPr>
          <p:cNvPr id="27" name="Text Placeholder 2">
            <a:extLst>
              <a:ext uri="{FF2B5EF4-FFF2-40B4-BE49-F238E27FC236}">
                <a16:creationId xmlns:a16="http://schemas.microsoft.com/office/drawing/2014/main" id="{82361FA8-DF94-8D4C-8E8F-870DA43C4DBF}"/>
              </a:ext>
            </a:extLst>
          </p:cNvPr>
          <p:cNvSpPr>
            <a:spLocks noGrp="1"/>
          </p:cNvSpPr>
          <p:nvPr>
            <p:ph type="body" sz="quarter" idx="15" hasCustomPrompt="1"/>
          </p:nvPr>
        </p:nvSpPr>
        <p:spPr>
          <a:xfrm>
            <a:off x="4714776" y="5121952"/>
            <a:ext cx="2762450" cy="705578"/>
          </a:xfrm>
        </p:spPr>
        <p:txBody>
          <a:bodyPr>
            <a:noAutofit/>
          </a:bodyPr>
          <a:lstStyle>
            <a:lvl1pPr marL="0" indent="0" algn="ctr">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Duis </a:t>
            </a:r>
            <a:r>
              <a:rPr lang="en-US" err="1"/>
              <a:t>aute</a:t>
            </a:r>
            <a:r>
              <a:rPr lang="en-US"/>
              <a:t> </a:t>
            </a:r>
            <a:r>
              <a:rPr lang="en-US" err="1"/>
              <a:t>irure</a:t>
            </a:r>
            <a:r>
              <a:rPr lang="en-US"/>
              <a:t> dolor in </a:t>
            </a:r>
            <a:r>
              <a:rPr lang="en-US" err="1"/>
              <a:t>reprehender</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p>
          <a:p>
            <a:pPr lvl="0"/>
            <a:endParaRPr lang="en-US"/>
          </a:p>
        </p:txBody>
      </p:sp>
      <p:sp>
        <p:nvSpPr>
          <p:cNvPr id="28" name="Text Placeholder 3">
            <a:extLst>
              <a:ext uri="{FF2B5EF4-FFF2-40B4-BE49-F238E27FC236}">
                <a16:creationId xmlns:a16="http://schemas.microsoft.com/office/drawing/2014/main" id="{EDE995C6-8558-0446-A50E-3867B7D5F2FF}"/>
              </a:ext>
            </a:extLst>
          </p:cNvPr>
          <p:cNvSpPr>
            <a:spLocks noGrp="1"/>
          </p:cNvSpPr>
          <p:nvPr>
            <p:ph type="body" sz="quarter" idx="16" hasCustomPrompt="1"/>
          </p:nvPr>
        </p:nvSpPr>
        <p:spPr>
          <a:xfrm>
            <a:off x="4714775" y="3629948"/>
            <a:ext cx="2762451" cy="945339"/>
          </a:xfrm>
        </p:spPr>
        <p:txBody>
          <a:bodyPr>
            <a:noAutofit/>
          </a:bodyPr>
          <a:lstStyle>
            <a:lvl1pPr marL="0" indent="0" algn="ctr">
              <a:buNone/>
              <a:defRPr sz="8000" b="1" i="0" spc="-100" baseline="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XX</a:t>
            </a:r>
            <a:endParaRPr lang="en-CA"/>
          </a:p>
        </p:txBody>
      </p:sp>
      <p:sp>
        <p:nvSpPr>
          <p:cNvPr id="29" name="Text Placeholder 3">
            <a:extLst>
              <a:ext uri="{FF2B5EF4-FFF2-40B4-BE49-F238E27FC236}">
                <a16:creationId xmlns:a16="http://schemas.microsoft.com/office/drawing/2014/main" id="{972D70EC-03B4-4449-A0CF-7186183E5469}"/>
              </a:ext>
            </a:extLst>
          </p:cNvPr>
          <p:cNvSpPr>
            <a:spLocks noGrp="1"/>
          </p:cNvSpPr>
          <p:nvPr>
            <p:ph type="body" sz="quarter" idx="17" hasCustomPrompt="1"/>
          </p:nvPr>
        </p:nvSpPr>
        <p:spPr>
          <a:xfrm>
            <a:off x="4714775" y="4620283"/>
            <a:ext cx="2762450" cy="342997"/>
          </a:xfrm>
        </p:spPr>
        <p:txBody>
          <a:bodyPr>
            <a:noAutofit/>
          </a:bodyPr>
          <a:lstStyle>
            <a:lvl1pPr marL="0" indent="0" algn="ctr">
              <a:spcBef>
                <a:spcPts val="0"/>
              </a:spcBef>
              <a:buNone/>
              <a:defRPr sz="24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Lorem ipsum</a:t>
            </a:r>
            <a:endParaRPr lang="en-CA"/>
          </a:p>
        </p:txBody>
      </p:sp>
      <p:sp>
        <p:nvSpPr>
          <p:cNvPr id="30" name="Text Placeholder 2">
            <a:extLst>
              <a:ext uri="{FF2B5EF4-FFF2-40B4-BE49-F238E27FC236}">
                <a16:creationId xmlns:a16="http://schemas.microsoft.com/office/drawing/2014/main" id="{B7BB1A3C-40FF-0B4D-BEED-DF0DDD8FBCA3}"/>
              </a:ext>
            </a:extLst>
          </p:cNvPr>
          <p:cNvSpPr>
            <a:spLocks noGrp="1"/>
          </p:cNvSpPr>
          <p:nvPr>
            <p:ph type="body" sz="quarter" idx="18" hasCustomPrompt="1"/>
          </p:nvPr>
        </p:nvSpPr>
        <p:spPr>
          <a:xfrm>
            <a:off x="8360987" y="5121952"/>
            <a:ext cx="2762450" cy="705578"/>
          </a:xfrm>
        </p:spPr>
        <p:txBody>
          <a:bodyPr>
            <a:noAutofit/>
          </a:bodyPr>
          <a:lstStyle>
            <a:lvl1pPr marL="0" indent="0" algn="ctr">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Duis </a:t>
            </a:r>
            <a:r>
              <a:rPr lang="en-US" err="1"/>
              <a:t>aute</a:t>
            </a:r>
            <a:r>
              <a:rPr lang="en-US"/>
              <a:t> </a:t>
            </a:r>
            <a:r>
              <a:rPr lang="en-US" err="1"/>
              <a:t>irure</a:t>
            </a:r>
            <a:r>
              <a:rPr lang="en-US"/>
              <a:t> dolor in </a:t>
            </a:r>
            <a:r>
              <a:rPr lang="en-US" err="1"/>
              <a:t>reprehender</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p>
          <a:p>
            <a:pPr lvl="0"/>
            <a:endParaRPr lang="en-US"/>
          </a:p>
        </p:txBody>
      </p:sp>
      <p:sp>
        <p:nvSpPr>
          <p:cNvPr id="31" name="Text Placeholder 3">
            <a:extLst>
              <a:ext uri="{FF2B5EF4-FFF2-40B4-BE49-F238E27FC236}">
                <a16:creationId xmlns:a16="http://schemas.microsoft.com/office/drawing/2014/main" id="{C8459BDF-AF85-904F-99EF-E5B7937CD8CF}"/>
              </a:ext>
            </a:extLst>
          </p:cNvPr>
          <p:cNvSpPr>
            <a:spLocks noGrp="1"/>
          </p:cNvSpPr>
          <p:nvPr>
            <p:ph type="body" sz="quarter" idx="19" hasCustomPrompt="1"/>
          </p:nvPr>
        </p:nvSpPr>
        <p:spPr>
          <a:xfrm>
            <a:off x="8360986" y="3629948"/>
            <a:ext cx="2762451" cy="945339"/>
          </a:xfrm>
        </p:spPr>
        <p:txBody>
          <a:bodyPr>
            <a:noAutofit/>
          </a:bodyPr>
          <a:lstStyle>
            <a:lvl1pPr marL="0" indent="0" algn="ctr">
              <a:buNone/>
              <a:defRPr sz="8000" b="1" i="0" spc="-100" baseline="0">
                <a:solidFill>
                  <a:srgbClr val="F2609E"/>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XX</a:t>
            </a:r>
            <a:endParaRPr lang="en-CA"/>
          </a:p>
        </p:txBody>
      </p:sp>
      <p:sp>
        <p:nvSpPr>
          <p:cNvPr id="32" name="Text Placeholder 3">
            <a:extLst>
              <a:ext uri="{FF2B5EF4-FFF2-40B4-BE49-F238E27FC236}">
                <a16:creationId xmlns:a16="http://schemas.microsoft.com/office/drawing/2014/main" id="{A247C184-AFBC-D541-AB2C-FD13CF3219FD}"/>
              </a:ext>
            </a:extLst>
          </p:cNvPr>
          <p:cNvSpPr>
            <a:spLocks noGrp="1"/>
          </p:cNvSpPr>
          <p:nvPr>
            <p:ph type="body" sz="quarter" idx="20" hasCustomPrompt="1"/>
          </p:nvPr>
        </p:nvSpPr>
        <p:spPr>
          <a:xfrm>
            <a:off x="8360986" y="4620283"/>
            <a:ext cx="2762450" cy="342997"/>
          </a:xfrm>
        </p:spPr>
        <p:txBody>
          <a:bodyPr>
            <a:noAutofit/>
          </a:bodyPr>
          <a:lstStyle>
            <a:lvl1pPr marL="0" indent="0" algn="ctr">
              <a:spcBef>
                <a:spcPts val="0"/>
              </a:spcBef>
              <a:buNone/>
              <a:defRPr sz="2400" b="1" i="0">
                <a:solidFill>
                  <a:srgbClr val="F2609E"/>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Lorem ipsum</a:t>
            </a:r>
            <a:endParaRPr lang="en-CA"/>
          </a:p>
        </p:txBody>
      </p:sp>
    </p:spTree>
    <p:extLst>
      <p:ext uri="{BB962C8B-B14F-4D97-AF65-F5344CB8AC3E}">
        <p14:creationId xmlns:p14="http://schemas.microsoft.com/office/powerpoint/2010/main" val="317778035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mage Left + Tex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D30E432-2DC3-5545-8BDE-731303857A80}"/>
              </a:ext>
            </a:extLst>
          </p:cNvPr>
          <p:cNvSpPr>
            <a:spLocks noGrp="1"/>
          </p:cNvSpPr>
          <p:nvPr>
            <p:ph type="pic" sz="quarter" idx="12" hasCustomPrompt="1"/>
          </p:nvPr>
        </p:nvSpPr>
        <p:spPr>
          <a:xfrm>
            <a:off x="-1" y="0"/>
            <a:ext cx="3179489" cy="6858000"/>
          </a:xfrm>
          <a:solidFill>
            <a:srgbClr val="F6F6F6"/>
          </a:solidFill>
        </p:spPr>
        <p:txBody>
          <a:bodyPr anchor="ctr"/>
          <a:lstStyle>
            <a:lvl1pPr marL="0" indent="0" algn="ctr">
              <a:buNone/>
              <a:defRPr>
                <a:solidFill>
                  <a:schemeClr val="tx1"/>
                </a:solidFill>
                <a:latin typeface="+mj-lt"/>
              </a:defRPr>
            </a:lvl1pPr>
          </a:lstStyle>
          <a:p>
            <a:r>
              <a:rPr lang="en-CA"/>
              <a:t>Photo</a:t>
            </a:r>
          </a:p>
        </p:txBody>
      </p:sp>
      <p:sp>
        <p:nvSpPr>
          <p:cNvPr id="2" name="Title 1">
            <a:extLst>
              <a:ext uri="{FF2B5EF4-FFF2-40B4-BE49-F238E27FC236}">
                <a16:creationId xmlns:a16="http://schemas.microsoft.com/office/drawing/2014/main" id="{86191B29-D3CA-8644-9CB9-79D1A03C934E}"/>
              </a:ext>
            </a:extLst>
          </p:cNvPr>
          <p:cNvSpPr>
            <a:spLocks noGrp="1"/>
          </p:cNvSpPr>
          <p:nvPr>
            <p:ph type="title" hasCustomPrompt="1"/>
          </p:nvPr>
        </p:nvSpPr>
        <p:spPr>
          <a:xfrm>
            <a:off x="3675112" y="1545640"/>
            <a:ext cx="8134096" cy="1249477"/>
          </a:xfrm>
        </p:spPr>
        <p:txBody>
          <a:bodyPr anchor="t">
            <a:noAutofit/>
          </a:bodyPr>
          <a:lstStyle>
            <a:lvl1pPr>
              <a:defRPr>
                <a:solidFill>
                  <a:schemeClr val="accent4"/>
                </a:solidFill>
              </a:defRPr>
            </a:lvl1pPr>
          </a:lstStyle>
          <a:p>
            <a:r>
              <a:rPr lang="en-US"/>
              <a:t>Slide has a longer header and can be on two lines or one</a:t>
            </a:r>
          </a:p>
        </p:txBody>
      </p:sp>
      <p:sp>
        <p:nvSpPr>
          <p:cNvPr id="12" name="TextBox 11">
            <a:extLst>
              <a:ext uri="{FF2B5EF4-FFF2-40B4-BE49-F238E27FC236}">
                <a16:creationId xmlns:a16="http://schemas.microsoft.com/office/drawing/2014/main" id="{597E7282-3BC7-4544-8051-E534A579460C}"/>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7" name="Graphic 16">
            <a:extLst>
              <a:ext uri="{FF2B5EF4-FFF2-40B4-BE49-F238E27FC236}">
                <a16:creationId xmlns:a16="http://schemas.microsoft.com/office/drawing/2014/main" id="{A0F7AAFC-8746-104F-92FA-0C832699D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 Placeholder 2">
            <a:extLst>
              <a:ext uri="{FF2B5EF4-FFF2-40B4-BE49-F238E27FC236}">
                <a16:creationId xmlns:a16="http://schemas.microsoft.com/office/drawing/2014/main" id="{FD3D621D-DFA8-974C-BE2B-3AAB183B143A}"/>
              </a:ext>
            </a:extLst>
          </p:cNvPr>
          <p:cNvSpPr>
            <a:spLocks noGrp="1"/>
          </p:cNvSpPr>
          <p:nvPr>
            <p:ph type="body" sz="quarter" idx="11" hasCustomPrompt="1"/>
          </p:nvPr>
        </p:nvSpPr>
        <p:spPr>
          <a:xfrm>
            <a:off x="3675112" y="3629640"/>
            <a:ext cx="3829491" cy="2794182"/>
          </a:xfrm>
        </p:spPr>
        <p:txBody>
          <a:bodyPr>
            <a:noAutofit/>
          </a:bodyPr>
          <a:lstStyle>
            <a:lvl1pPr marL="249750" indent="-249750">
              <a:lnSpc>
                <a:spcPct val="110000"/>
              </a:lnSpc>
              <a:spcBef>
                <a:spcPts val="0"/>
              </a:spcBef>
              <a:spcAft>
                <a:spcPts val="0"/>
              </a:spcAft>
              <a:buFont typeface="Arial" panose="020B0604020202020204" pitchFamily="34" charset="0"/>
              <a:buChar char="•"/>
              <a:defRPr sz="18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p>
          <a:p>
            <a:pPr lvl="0"/>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3" name="Text Placeholder 4">
            <a:extLst>
              <a:ext uri="{FF2B5EF4-FFF2-40B4-BE49-F238E27FC236}">
                <a16:creationId xmlns:a16="http://schemas.microsoft.com/office/drawing/2014/main" id="{309248FD-67F1-AD4A-B7EF-7BF1519A6E07}"/>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23" name="Text Placeholder 3">
            <a:extLst>
              <a:ext uri="{FF2B5EF4-FFF2-40B4-BE49-F238E27FC236}">
                <a16:creationId xmlns:a16="http://schemas.microsoft.com/office/drawing/2014/main" id="{8C559120-0F5C-344E-B80A-D68DC050F03C}"/>
              </a:ext>
            </a:extLst>
          </p:cNvPr>
          <p:cNvSpPr>
            <a:spLocks noGrp="1"/>
          </p:cNvSpPr>
          <p:nvPr>
            <p:ph type="body" sz="quarter" idx="14" hasCustomPrompt="1"/>
          </p:nvPr>
        </p:nvSpPr>
        <p:spPr>
          <a:xfrm>
            <a:off x="3675112" y="3151903"/>
            <a:ext cx="3829491" cy="492024"/>
          </a:xfrm>
        </p:spPr>
        <p:txBody>
          <a:bodyPr>
            <a:noAutofit/>
          </a:bodyPr>
          <a:lstStyle>
            <a:lvl1pPr marL="0" indent="0">
              <a:spcBef>
                <a:spcPts val="0"/>
              </a:spcBef>
              <a:buNone/>
              <a:defRPr sz="2000" b="1" i="0">
                <a:solidFill>
                  <a:schemeClr val="tx1"/>
                </a:solidFill>
                <a:latin typeface="+mn-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 for bullet notes</a:t>
            </a:r>
            <a:endParaRPr lang="en-CA"/>
          </a:p>
        </p:txBody>
      </p:sp>
      <p:sp>
        <p:nvSpPr>
          <p:cNvPr id="24" name="Text Placeholder 10">
            <a:extLst>
              <a:ext uri="{FF2B5EF4-FFF2-40B4-BE49-F238E27FC236}">
                <a16:creationId xmlns:a16="http://schemas.microsoft.com/office/drawing/2014/main" id="{D10D89BA-E318-1747-BD9A-17A64224B0B6}"/>
              </a:ext>
            </a:extLst>
          </p:cNvPr>
          <p:cNvSpPr>
            <a:spLocks noGrp="1"/>
          </p:cNvSpPr>
          <p:nvPr>
            <p:ph type="body" sz="quarter" idx="13" hasCustomPrompt="1"/>
          </p:nvPr>
        </p:nvSpPr>
        <p:spPr>
          <a:xfrm>
            <a:off x="3675112" y="1041137"/>
            <a:ext cx="6342707" cy="238281"/>
          </a:xfrm>
        </p:spPr>
        <p:txBody>
          <a:bodyPr wrap="square">
            <a:noAutofit/>
          </a:bodyPr>
          <a:lstStyle>
            <a:lvl1pPr marL="0" indent="0">
              <a:buNone/>
              <a:defRPr sz="1600" b="1" i="0" cap="all" spc="150" baseline="0">
                <a:solidFill>
                  <a:srgbClr val="4D4D4D"/>
                </a:solidFill>
                <a:latin typeface="+mj-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CA"/>
          </a:p>
        </p:txBody>
      </p:sp>
      <p:sp>
        <p:nvSpPr>
          <p:cNvPr id="25" name="Text Placeholder 2">
            <a:extLst>
              <a:ext uri="{FF2B5EF4-FFF2-40B4-BE49-F238E27FC236}">
                <a16:creationId xmlns:a16="http://schemas.microsoft.com/office/drawing/2014/main" id="{CB726F8E-1DF8-094E-86D2-23B25CAE9D77}"/>
              </a:ext>
            </a:extLst>
          </p:cNvPr>
          <p:cNvSpPr>
            <a:spLocks noGrp="1"/>
          </p:cNvSpPr>
          <p:nvPr>
            <p:ph type="body" sz="quarter" idx="15" hasCustomPrompt="1"/>
          </p:nvPr>
        </p:nvSpPr>
        <p:spPr>
          <a:xfrm>
            <a:off x="7975649" y="3629640"/>
            <a:ext cx="3829491" cy="2794182"/>
          </a:xfrm>
        </p:spPr>
        <p:txBody>
          <a:bodyPr>
            <a:noAutofit/>
          </a:bodyPr>
          <a:lstStyle>
            <a:lvl1pPr marL="249750" indent="-249750">
              <a:lnSpc>
                <a:spcPct val="110000"/>
              </a:lnSpc>
              <a:spcBef>
                <a:spcPts val="0"/>
              </a:spcBef>
              <a:spcAft>
                <a:spcPts val="0"/>
              </a:spcAft>
              <a:buFont typeface="Arial" panose="020B0604020202020204" pitchFamily="34" charset="0"/>
              <a:buChar char="•"/>
              <a:defRPr sz="18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p>
          <a:p>
            <a:pPr lvl="0"/>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26" name="Text Placeholder 3">
            <a:extLst>
              <a:ext uri="{FF2B5EF4-FFF2-40B4-BE49-F238E27FC236}">
                <a16:creationId xmlns:a16="http://schemas.microsoft.com/office/drawing/2014/main" id="{6D8760BB-94A5-E741-B1D0-AFED4944B5F8}"/>
              </a:ext>
            </a:extLst>
          </p:cNvPr>
          <p:cNvSpPr>
            <a:spLocks noGrp="1"/>
          </p:cNvSpPr>
          <p:nvPr>
            <p:ph type="body" sz="quarter" idx="16" hasCustomPrompt="1"/>
          </p:nvPr>
        </p:nvSpPr>
        <p:spPr>
          <a:xfrm>
            <a:off x="7975649" y="3151903"/>
            <a:ext cx="3829491" cy="492024"/>
          </a:xfrm>
        </p:spPr>
        <p:txBody>
          <a:bodyPr>
            <a:noAutofit/>
          </a:bodyPr>
          <a:lstStyle>
            <a:lvl1pPr marL="0" indent="0">
              <a:spcBef>
                <a:spcPts val="0"/>
              </a:spcBef>
              <a:buNone/>
              <a:defRPr sz="2000" b="1" i="0">
                <a:solidFill>
                  <a:schemeClr val="tx1"/>
                </a:solidFill>
                <a:latin typeface="+mn-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 for bullet notes</a:t>
            </a:r>
            <a:endParaRPr lang="en-CA"/>
          </a:p>
        </p:txBody>
      </p:sp>
    </p:spTree>
    <p:extLst>
      <p:ext uri="{BB962C8B-B14F-4D97-AF65-F5344CB8AC3E}">
        <p14:creationId xmlns:p14="http://schemas.microsoft.com/office/powerpoint/2010/main" val="373694376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 Image on right ">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6A00B60D-1408-1840-89F8-ED1E6C5588F4}"/>
              </a:ext>
            </a:extLst>
          </p:cNvPr>
          <p:cNvSpPr>
            <a:spLocks noGrp="1"/>
          </p:cNvSpPr>
          <p:nvPr>
            <p:ph type="pic" sz="quarter" idx="15" hasCustomPrompt="1"/>
          </p:nvPr>
        </p:nvSpPr>
        <p:spPr>
          <a:xfrm>
            <a:off x="6814159" y="0"/>
            <a:ext cx="5377842" cy="6858000"/>
          </a:xfrm>
          <a:solidFill>
            <a:srgbClr val="F6F6F6"/>
          </a:solidFill>
        </p:spPr>
        <p:txBody>
          <a:bodyPr anchor="ctr"/>
          <a:lstStyle>
            <a:lvl1pPr marL="0" indent="0" algn="ctr">
              <a:buNone/>
              <a:defRPr>
                <a:solidFill>
                  <a:schemeClr val="tx1"/>
                </a:solidFill>
                <a:latin typeface="+mj-lt"/>
              </a:defRPr>
            </a:lvl1pPr>
          </a:lstStyle>
          <a:p>
            <a:r>
              <a:rPr lang="en-CA"/>
              <a:t>Photo</a:t>
            </a:r>
          </a:p>
        </p:txBody>
      </p:sp>
      <p:sp>
        <p:nvSpPr>
          <p:cNvPr id="10" name="Text Placeholder 10">
            <a:extLst>
              <a:ext uri="{FF2B5EF4-FFF2-40B4-BE49-F238E27FC236}">
                <a16:creationId xmlns:a16="http://schemas.microsoft.com/office/drawing/2014/main" id="{A635C0F2-5C5E-8242-B5B8-272BDABFF2AF}"/>
              </a:ext>
            </a:extLst>
          </p:cNvPr>
          <p:cNvSpPr>
            <a:spLocks noGrp="1"/>
          </p:cNvSpPr>
          <p:nvPr>
            <p:ph type="body" sz="quarter" idx="14" hasCustomPrompt="1"/>
          </p:nvPr>
        </p:nvSpPr>
        <p:spPr>
          <a:xfrm>
            <a:off x="471452" y="3061339"/>
            <a:ext cx="5882052" cy="3397686"/>
          </a:xfrm>
        </p:spPr>
        <p:txBody>
          <a:bodyPr wrap="square">
            <a:noAutofit/>
          </a:bodyPr>
          <a:lstStyle>
            <a:lvl1pPr marL="0" indent="0">
              <a:lnSpc>
                <a:spcPct val="110000"/>
              </a:lnSpc>
              <a:spcBef>
                <a:spcPts val="0"/>
              </a:spcBef>
              <a:spcAft>
                <a:spcPts val="1400"/>
              </a:spcAft>
              <a:buFont typeface="Arial" panose="020B0604020202020204" pitchFamily="34" charset="0"/>
              <a:buNone/>
              <a:defRPr sz="18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a:t>
            </a:r>
          </a:p>
          <a:p>
            <a:pPr lvl="0"/>
            <a:r>
              <a:rPr lang="en-US"/>
              <a:t>Dolor sed viverra ipsum nunc aliquet bibendum enim facilisis. Feugiat in ante metus dictum. Venenatis urna cursus eget nunc. </a:t>
            </a:r>
          </a:p>
          <a:p>
            <a:pPr lvl="0"/>
            <a:r>
              <a:rPr lang="en-US"/>
              <a:t>Vitae purus </a:t>
            </a:r>
            <a:r>
              <a:rPr lang="en-US" err="1"/>
              <a:t>faucibus</a:t>
            </a:r>
            <a:r>
              <a:rPr lang="en-US"/>
              <a:t> </a:t>
            </a:r>
            <a:r>
              <a:rPr lang="en-US" err="1"/>
              <a:t>ornare</a:t>
            </a:r>
            <a:r>
              <a:rPr lang="en-US"/>
              <a:t> suspendisse sed nisi </a:t>
            </a:r>
            <a:r>
              <a:rPr lang="en-US" err="1"/>
              <a:t>lacus</a:t>
            </a:r>
            <a:r>
              <a:rPr lang="en-US"/>
              <a:t> sed. Diam </a:t>
            </a:r>
            <a:r>
              <a:rPr lang="en-US" err="1"/>
              <a:t>vulputate</a:t>
            </a:r>
            <a:r>
              <a:rPr lang="en-US"/>
              <a:t> ut pharetra sit. Sit amet </a:t>
            </a:r>
            <a:r>
              <a:rPr lang="en-US" err="1"/>
              <a:t>mattis</a:t>
            </a:r>
            <a:r>
              <a:rPr lang="en-US"/>
              <a:t> </a:t>
            </a:r>
            <a:r>
              <a:rPr lang="en-US" err="1"/>
              <a:t>vulputate</a:t>
            </a:r>
            <a:r>
              <a:rPr lang="en-US"/>
              <a:t> enim nulla aliquet </a:t>
            </a:r>
            <a:r>
              <a:rPr lang="en-US" err="1"/>
              <a:t>porttitor</a:t>
            </a:r>
            <a:r>
              <a:rPr lang="en-US"/>
              <a:t>. </a:t>
            </a:r>
          </a:p>
        </p:txBody>
      </p:sp>
      <p:pic>
        <p:nvPicPr>
          <p:cNvPr id="12" name="Graphic 11">
            <a:extLst>
              <a:ext uri="{FF2B5EF4-FFF2-40B4-BE49-F238E27FC236}">
                <a16:creationId xmlns:a16="http://schemas.microsoft.com/office/drawing/2014/main" id="{E00C02DB-FD9A-8E43-B53B-ADA65DFEDE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E6FB2951-E5F4-7B4D-83D4-CD64C3A1E112}"/>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13" name="Text Placeholder 4">
            <a:extLst>
              <a:ext uri="{FF2B5EF4-FFF2-40B4-BE49-F238E27FC236}">
                <a16:creationId xmlns:a16="http://schemas.microsoft.com/office/drawing/2014/main" id="{A3296BB6-B557-0D4D-8886-17AEE7E29BC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8" name="Title 1">
            <a:extLst>
              <a:ext uri="{FF2B5EF4-FFF2-40B4-BE49-F238E27FC236}">
                <a16:creationId xmlns:a16="http://schemas.microsoft.com/office/drawing/2014/main" id="{E93DF6EC-0806-144B-9410-36A09185D681}"/>
              </a:ext>
            </a:extLst>
          </p:cNvPr>
          <p:cNvSpPr>
            <a:spLocks noGrp="1"/>
          </p:cNvSpPr>
          <p:nvPr>
            <p:ph type="title" hasCustomPrompt="1"/>
          </p:nvPr>
        </p:nvSpPr>
        <p:spPr>
          <a:xfrm>
            <a:off x="471451" y="1545640"/>
            <a:ext cx="5882052" cy="1249477"/>
          </a:xfrm>
        </p:spPr>
        <p:txBody>
          <a:bodyPr anchor="t">
            <a:noAutofit/>
          </a:bodyPr>
          <a:lstStyle>
            <a:lvl1pPr>
              <a:defRPr>
                <a:solidFill>
                  <a:schemeClr val="accent6"/>
                </a:solidFill>
              </a:defRPr>
            </a:lvl1pPr>
          </a:lstStyle>
          <a:p>
            <a:r>
              <a:rPr lang="en-US"/>
              <a:t>Slide title can be on two lines or one</a:t>
            </a:r>
          </a:p>
        </p:txBody>
      </p:sp>
      <p:sp>
        <p:nvSpPr>
          <p:cNvPr id="19" name="Text Placeholder 10">
            <a:extLst>
              <a:ext uri="{FF2B5EF4-FFF2-40B4-BE49-F238E27FC236}">
                <a16:creationId xmlns:a16="http://schemas.microsoft.com/office/drawing/2014/main" id="{FABEBA2F-49A3-D24C-BBD1-FCC17DE9226E}"/>
              </a:ext>
            </a:extLst>
          </p:cNvPr>
          <p:cNvSpPr>
            <a:spLocks noGrp="1"/>
          </p:cNvSpPr>
          <p:nvPr>
            <p:ph type="body" sz="quarter" idx="13" hasCustomPrompt="1"/>
          </p:nvPr>
        </p:nvSpPr>
        <p:spPr>
          <a:xfrm>
            <a:off x="471452" y="1041137"/>
            <a:ext cx="5882052" cy="238281"/>
          </a:xfrm>
        </p:spPr>
        <p:txBody>
          <a:bodyPr wrap="square">
            <a:noAutofit/>
          </a:bodyPr>
          <a:lstStyle>
            <a:lvl1pPr marL="0" indent="0">
              <a:buNone/>
              <a:defRPr sz="1600" b="1" i="0" cap="all" spc="150" baseline="0">
                <a:solidFill>
                  <a:srgbClr val="4D4D4D"/>
                </a:solidFill>
                <a:latin typeface="+mj-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CA"/>
          </a:p>
        </p:txBody>
      </p:sp>
    </p:spTree>
    <p:extLst>
      <p:ext uri="{BB962C8B-B14F-4D97-AF65-F5344CB8AC3E}">
        <p14:creationId xmlns:p14="http://schemas.microsoft.com/office/powerpoint/2010/main" val="348394877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One vs. Two">
    <p:bg>
      <p:bgPr>
        <a:solidFill>
          <a:srgbClr val="F6F6F6"/>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4EF56B-BA64-9B43-8A0B-60A365D0D31B}"/>
              </a:ext>
            </a:extLst>
          </p:cNvPr>
          <p:cNvSpPr/>
          <p:nvPr userDrawn="1"/>
        </p:nvSpPr>
        <p:spPr>
          <a:xfrm>
            <a:off x="6096000" y="0"/>
            <a:ext cx="60956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cotia" panose="020F0502020204030204"/>
              <a:ea typeface="+mn-ea"/>
              <a:cs typeface="+mn-cs"/>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757958" y="1236693"/>
            <a:ext cx="4120199" cy="530090"/>
          </a:xfrm>
        </p:spPr>
        <p:txBody>
          <a:bodyPr anchor="t">
            <a:noAutofit/>
          </a:bodyPr>
          <a:lstStyle>
            <a:lvl1pPr>
              <a:defRPr>
                <a:solidFill>
                  <a:srgbClr val="333333"/>
                </a:solidFill>
              </a:defRPr>
            </a:lvl1pPr>
          </a:lstStyle>
          <a:p>
            <a:r>
              <a:rPr lang="en-US"/>
              <a:t>One thing:</a:t>
            </a:r>
          </a:p>
        </p:txBody>
      </p:sp>
      <p:sp>
        <p:nvSpPr>
          <p:cNvPr id="6" name="Text Placeholder 5">
            <a:extLst>
              <a:ext uri="{FF2B5EF4-FFF2-40B4-BE49-F238E27FC236}">
                <a16:creationId xmlns:a16="http://schemas.microsoft.com/office/drawing/2014/main" id="{C2C82983-362E-744D-BB48-BA9384580D59}"/>
              </a:ext>
            </a:extLst>
          </p:cNvPr>
          <p:cNvSpPr>
            <a:spLocks noGrp="1"/>
          </p:cNvSpPr>
          <p:nvPr>
            <p:ph type="body" sz="quarter" idx="11" hasCustomPrompt="1"/>
          </p:nvPr>
        </p:nvSpPr>
        <p:spPr>
          <a:xfrm>
            <a:off x="755650" y="2268538"/>
            <a:ext cx="4489450" cy="4081462"/>
          </a:xfrm>
        </p:spPr>
        <p:txBody>
          <a:bodyPr/>
          <a:lstStyle>
            <a:lvl1pPr marL="371475" marR="0" indent="-371475" algn="l" defTabSz="914400" rtl="0" eaLnBrk="1" fontAlgn="base" latinLnBrk="0" hangingPunct="1">
              <a:lnSpc>
                <a:spcPct val="110000"/>
              </a:lnSpc>
              <a:spcBef>
                <a:spcPts val="0"/>
              </a:spcBef>
              <a:spcAft>
                <a:spcPts val="1800"/>
              </a:spcAft>
              <a:buClrTx/>
              <a:buSzTx/>
              <a:buFont typeface="+mj-lt"/>
              <a:buAutoNum type="arabicPeriod"/>
              <a:tabLst/>
              <a:defRPr sz="1600"/>
            </a:lvl1pPr>
            <a:lvl2pPr marL="914400" indent="-457200">
              <a:buFont typeface="+mj-lt"/>
              <a:buAutoNum type="arabicPeriod"/>
              <a:defRPr sz="1600"/>
            </a:lvl2pPr>
            <a:lvl3pPr marL="1257300" indent="-342900">
              <a:buFont typeface="+mj-lt"/>
              <a:buAutoNum type="arabicPeriod"/>
              <a:defRPr sz="1600"/>
            </a:lvl3pPr>
            <a:lvl4pPr marL="1714500" indent="-342900">
              <a:buFont typeface="+mj-lt"/>
              <a:buAutoNum type="arabicPeriod"/>
              <a:defRPr sz="1600"/>
            </a:lvl4pPr>
            <a:lvl5pPr marL="2171700" indent="-342900">
              <a:buFont typeface="+mj-lt"/>
              <a:buAutoNum type="arabicPeriod"/>
              <a:defRPr sz="1600"/>
            </a:lvl5pPr>
          </a:lstStyle>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c</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tt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Ultricies</a:t>
            </a:r>
            <a:r>
              <a:rPr kumimoji="0" lang="en-CA" sz="1600" b="0" i="0" u="none" strike="noStrike" kern="1200" cap="none" spc="0" normalizeH="0" baseline="0" noProof="0">
                <a:ln>
                  <a:noFill/>
                </a:ln>
                <a:solidFill>
                  <a:srgbClr val="333333"/>
                </a:solidFill>
                <a:effectLst/>
                <a:uLnTx/>
                <a:uFillTx/>
                <a:latin typeface="+mn-lt"/>
                <a:ea typeface="+mn-ea"/>
                <a:cs typeface="+mn-cs"/>
              </a:rPr>
              <a:t> mi </a:t>
            </a:r>
            <a:r>
              <a:rPr kumimoji="0" lang="en-CA" sz="1600" b="0" i="0" u="none" strike="noStrike" kern="1200" cap="none" spc="0" normalizeH="0" baseline="0" noProof="0" err="1">
                <a:ln>
                  <a:noFill/>
                </a:ln>
                <a:solidFill>
                  <a:srgbClr val="333333"/>
                </a:solidFill>
                <a:effectLst/>
                <a:uLnTx/>
                <a:uFillTx/>
                <a:latin typeface="+mn-lt"/>
                <a:ea typeface="+mn-ea"/>
                <a:cs typeface="+mn-cs"/>
              </a:rPr>
              <a:t>qu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hendrerit</a:t>
            </a:r>
            <a:r>
              <a:rPr kumimoji="0" lang="en-CA" sz="1600" b="0" i="0" u="none" strike="noStrike" kern="1200" cap="none" spc="0" normalizeH="0" baseline="0" noProof="0">
                <a:ln>
                  <a:noFill/>
                </a:ln>
                <a:solidFill>
                  <a:srgbClr val="333333"/>
                </a:solidFill>
                <a:effectLst/>
                <a:uLnTx/>
                <a:uFillTx/>
                <a:latin typeface="+mn-lt"/>
                <a:ea typeface="+mn-ea"/>
                <a:cs typeface="+mn-cs"/>
              </a:rPr>
              <a:t> dolor magna </a:t>
            </a:r>
            <a:r>
              <a:rPr kumimoji="0" lang="en-CA" sz="1600" b="0" i="0" u="none" strike="noStrike" kern="1200" cap="none" spc="0" normalizeH="0" baseline="0" noProof="0" err="1">
                <a:ln>
                  <a:noFill/>
                </a:ln>
                <a:solidFill>
                  <a:srgbClr val="333333"/>
                </a:solidFill>
                <a:effectLst/>
                <a:uLnTx/>
                <a:uFillTx/>
                <a:latin typeface="+mn-lt"/>
                <a:ea typeface="+mn-ea"/>
                <a:cs typeface="+mn-cs"/>
              </a:rPr>
              <a:t>ege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st</a:t>
            </a:r>
            <a:r>
              <a:rPr kumimoji="0" lang="en-CA" sz="1600" b="0" i="0" u="none" strike="noStrike" kern="1200" cap="none" spc="0" normalizeH="0" baseline="0" noProof="0">
                <a:ln>
                  <a:noFill/>
                </a:ln>
                <a:solidFill>
                  <a:srgbClr val="333333"/>
                </a:solidFill>
                <a:effectLst/>
                <a:uLnTx/>
                <a:uFillTx/>
                <a:latin typeface="+mn-lt"/>
                <a:ea typeface="+mn-ea"/>
                <a:cs typeface="+mn-cs"/>
              </a:rPr>
              <a:t> lorem.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Id </a:t>
            </a:r>
            <a:r>
              <a:rPr kumimoji="0" lang="en-CA" sz="1600" b="0" i="0" u="none" strike="noStrike" kern="1200" cap="none" spc="0" normalizeH="0" baseline="0" noProof="0" err="1">
                <a:ln>
                  <a:noFill/>
                </a:ln>
                <a:solidFill>
                  <a:srgbClr val="333333"/>
                </a:solidFill>
                <a:effectLst/>
                <a:uLnTx/>
                <a:uFillTx/>
                <a:latin typeface="+mn-lt"/>
                <a:ea typeface="+mn-ea"/>
                <a:cs typeface="+mn-cs"/>
              </a:rPr>
              <a:t>donec</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ltric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incidun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arcu</a:t>
            </a:r>
            <a:r>
              <a:rPr kumimoji="0" lang="en-CA" sz="1600" b="0" i="0" u="none" strike="noStrike" kern="1200" cap="none" spc="0" normalizeH="0" baseline="0" noProof="0">
                <a:ln>
                  <a:noFill/>
                </a:ln>
                <a:solidFill>
                  <a:srgbClr val="333333"/>
                </a:solidFill>
                <a:effectLst/>
                <a:uLnTx/>
                <a:uFillTx/>
                <a:latin typeface="+mn-lt"/>
                <a:ea typeface="+mn-ea"/>
                <a:cs typeface="+mn-cs"/>
              </a:rPr>
              <a:t> non.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Ut </a:t>
            </a:r>
            <a:r>
              <a:rPr kumimoji="0" lang="en-CA" sz="1600" b="0" i="0" u="none" strike="noStrike" kern="1200" cap="none" spc="0" normalizeH="0" baseline="0" noProof="0" err="1">
                <a:ln>
                  <a:noFill/>
                </a:ln>
                <a:solidFill>
                  <a:srgbClr val="333333"/>
                </a:solidFill>
                <a:effectLst/>
                <a:uLnTx/>
                <a:uFillTx/>
                <a:latin typeface="+mn-lt"/>
                <a:ea typeface="+mn-ea"/>
                <a:cs typeface="+mn-cs"/>
              </a:rPr>
              <a:t>faucibus</a:t>
            </a:r>
            <a:r>
              <a:rPr kumimoji="0" lang="en-CA" sz="1600" b="0" i="0" u="none" strike="noStrike" kern="1200" cap="none" spc="0" normalizeH="0" baseline="0" noProof="0">
                <a:ln>
                  <a:noFill/>
                </a:ln>
                <a:solidFill>
                  <a:srgbClr val="333333"/>
                </a:solidFill>
                <a:effectLst/>
                <a:uLnTx/>
                <a:uFillTx/>
                <a:latin typeface="+mn-lt"/>
                <a:ea typeface="+mn-ea"/>
                <a:cs typeface="+mn-cs"/>
              </a:rPr>
              <a:t> pulvinar </a:t>
            </a:r>
            <a:r>
              <a:rPr kumimoji="0" lang="en-CA" sz="1600" b="0" i="0" u="none" strike="noStrike" kern="1200" cap="none" spc="0" normalizeH="0" baseline="0" noProof="0" err="1">
                <a:ln>
                  <a:noFill/>
                </a:ln>
                <a:solidFill>
                  <a:srgbClr val="333333"/>
                </a:solidFill>
                <a:effectLst/>
                <a:uLnTx/>
                <a:uFillTx/>
                <a:latin typeface="+mn-lt"/>
                <a:ea typeface="+mn-ea"/>
                <a:cs typeface="+mn-cs"/>
              </a:rPr>
              <a:t>elementum</a:t>
            </a:r>
            <a:r>
              <a:rPr kumimoji="0" lang="en-CA" sz="1600" b="0" i="0" u="none" strike="noStrike" kern="1200" cap="none" spc="0" normalizeH="0" baseline="0" noProof="0">
                <a:ln>
                  <a:noFill/>
                </a:ln>
                <a:solidFill>
                  <a:srgbClr val="333333"/>
                </a:solidFill>
                <a:effectLst/>
                <a:uLnTx/>
                <a:uFillTx/>
                <a:latin typeface="+mn-lt"/>
                <a:ea typeface="+mn-ea"/>
                <a:cs typeface="+mn-cs"/>
              </a:rPr>
              <a:t> integer </a:t>
            </a: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Aenean sed adipiscing diam </a:t>
            </a:r>
            <a:r>
              <a:rPr kumimoji="0" lang="en-CA" sz="1600" b="0" i="0" u="none" strike="noStrike" kern="1200" cap="none" spc="0" normalizeH="0" baseline="0" noProof="0" err="1">
                <a:ln>
                  <a:noFill/>
                </a:ln>
                <a:solidFill>
                  <a:srgbClr val="333333"/>
                </a:solidFill>
                <a:effectLst/>
                <a:uLnTx/>
                <a:uFillTx/>
                <a:latin typeface="+mn-lt"/>
                <a:ea typeface="+mn-ea"/>
                <a:cs typeface="+mn-cs"/>
              </a:rPr>
              <a:t>donec</a:t>
            </a:r>
            <a:r>
              <a:rPr kumimoji="0" lang="en-CA" sz="1600" b="0" i="0" u="none" strike="noStrike" kern="1200" cap="none" spc="0" normalizeH="0" baseline="0" noProof="0">
                <a:ln>
                  <a:noFill/>
                </a:ln>
                <a:solidFill>
                  <a:srgbClr val="333333"/>
                </a:solidFill>
                <a:effectLst/>
                <a:uLnTx/>
                <a:uFillTx/>
                <a:latin typeface="+mn-lt"/>
                <a:ea typeface="+mn-ea"/>
                <a:cs typeface="+mn-cs"/>
              </a:rPr>
              <a:t> adipiscing.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Odio</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empor</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orci</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dapibu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ltrices</a:t>
            </a:r>
            <a:r>
              <a:rPr kumimoji="0" lang="en-CA" sz="1600" b="0" i="0" u="none" strike="noStrike" kern="1200" cap="none" spc="0" normalizeH="0" baseline="0" noProof="0">
                <a:ln>
                  <a:noFill/>
                </a:ln>
                <a:solidFill>
                  <a:srgbClr val="333333"/>
                </a:solidFill>
                <a:effectLst/>
                <a:uLnTx/>
                <a:uFillTx/>
                <a:latin typeface="+mn-lt"/>
                <a:ea typeface="+mn-ea"/>
                <a:cs typeface="+mn-cs"/>
              </a:rPr>
              <a:t> in </a:t>
            </a:r>
            <a:r>
              <a:rPr kumimoji="0" lang="en-CA" sz="1600" b="0" i="0" u="none" strike="noStrike" kern="1200" cap="none" spc="0" normalizeH="0" baseline="0" noProof="0" err="1">
                <a:ln>
                  <a:noFill/>
                </a:ln>
                <a:solidFill>
                  <a:srgbClr val="333333"/>
                </a:solidFill>
                <a:effectLst/>
                <a:uLnTx/>
                <a:uFillTx/>
                <a:latin typeface="+mn-lt"/>
                <a:ea typeface="+mn-ea"/>
                <a:cs typeface="+mn-cs"/>
              </a:rPr>
              <a:t>iacul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sed </a:t>
            </a:r>
            <a:r>
              <a:rPr kumimoji="0" lang="en-CA" sz="1600" b="0" i="0" u="none" strike="noStrike" kern="1200" cap="none" spc="0" normalizeH="0" baseline="0" noProof="0" err="1">
                <a:ln>
                  <a:noFill/>
                </a:ln>
                <a:solidFill>
                  <a:srgbClr val="333333"/>
                </a:solidFill>
                <a:effectLst/>
                <a:uLnTx/>
                <a:uFillTx/>
                <a:latin typeface="+mn-lt"/>
                <a:ea typeface="+mn-ea"/>
                <a:cs typeface="+mn-cs"/>
              </a:rPr>
              <a:t>augue</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lvl="4"/>
            <a:endParaRPr lang="en-CA"/>
          </a:p>
        </p:txBody>
      </p:sp>
      <p:sp>
        <p:nvSpPr>
          <p:cNvPr id="39" name="Text Placeholder 5">
            <a:extLst>
              <a:ext uri="{FF2B5EF4-FFF2-40B4-BE49-F238E27FC236}">
                <a16:creationId xmlns:a16="http://schemas.microsoft.com/office/drawing/2014/main" id="{0D24C5D1-610B-474C-8D57-3FC31F36658A}"/>
              </a:ext>
            </a:extLst>
          </p:cNvPr>
          <p:cNvSpPr>
            <a:spLocks noGrp="1"/>
          </p:cNvSpPr>
          <p:nvPr>
            <p:ph type="body" sz="quarter" idx="12" hasCustomPrompt="1"/>
          </p:nvPr>
        </p:nvSpPr>
        <p:spPr>
          <a:xfrm>
            <a:off x="7082500" y="2268538"/>
            <a:ext cx="4351542" cy="4081462"/>
          </a:xfrm>
        </p:spPr>
        <p:txBody>
          <a:bodyPr/>
          <a:lstStyle>
            <a:lvl1pPr marL="0" marR="0" indent="0" algn="l" defTabSz="914400" rtl="0" eaLnBrk="1" fontAlgn="base" latinLnBrk="0" hangingPunct="1">
              <a:lnSpc>
                <a:spcPct val="110000"/>
              </a:lnSpc>
              <a:spcBef>
                <a:spcPts val="0"/>
              </a:spcBef>
              <a:spcAft>
                <a:spcPts val="1800"/>
              </a:spcAft>
              <a:buClrTx/>
              <a:buSzTx/>
              <a:buFont typeface="+mj-lt"/>
              <a:buNone/>
              <a:tabLst/>
              <a:defRPr sz="1600"/>
            </a:lvl1pPr>
            <a:lvl2pPr marL="914400" indent="-457200">
              <a:buFont typeface="+mj-lt"/>
              <a:buAutoNum type="arabicPeriod"/>
              <a:defRPr sz="1600"/>
            </a:lvl2pPr>
            <a:lvl3pPr marL="1257300" indent="-342900">
              <a:buFont typeface="+mj-lt"/>
              <a:buAutoNum type="arabicPeriod"/>
              <a:defRPr sz="1600"/>
            </a:lvl3pPr>
            <a:lvl4pPr marL="1714500" indent="-342900">
              <a:buFont typeface="+mj-lt"/>
              <a:buAutoNum type="arabicPeriod"/>
              <a:defRPr sz="1600"/>
            </a:lvl4pPr>
            <a:lvl5pPr marL="1828800" indent="0">
              <a:buFont typeface="+mj-lt"/>
              <a:buNone/>
              <a:defRPr sz="1600"/>
            </a:lvl5pPr>
          </a:lstStyle>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Molesti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non </a:t>
            </a:r>
            <a:r>
              <a:rPr kumimoji="0" lang="en-CA" sz="1600" b="0" i="0" u="none" strike="noStrike" kern="1200" cap="none" spc="0" normalizeH="0" baseline="0" noProof="0" err="1">
                <a:ln>
                  <a:noFill/>
                </a:ln>
                <a:solidFill>
                  <a:srgbClr val="333333"/>
                </a:solidFill>
                <a:effectLst/>
                <a:uLnTx/>
                <a:uFillTx/>
                <a:latin typeface="+mn-lt"/>
                <a:ea typeface="+mn-ea"/>
                <a:cs typeface="+mn-cs"/>
              </a:rPr>
              <a:t>blandi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ssa</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c</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ttis</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Felis </a:t>
            </a:r>
            <a:r>
              <a:rPr kumimoji="0" lang="en-CA" sz="1600" b="0" i="0" u="none" strike="noStrike" kern="1200" cap="none" spc="0" normalizeH="0" baseline="0" noProof="0" err="1">
                <a:ln>
                  <a:noFill/>
                </a:ln>
                <a:solidFill>
                  <a:srgbClr val="333333"/>
                </a:solidFill>
                <a:effectLst/>
                <a:uLnTx/>
                <a:uFillTx/>
                <a:latin typeface="+mn-lt"/>
                <a:ea typeface="+mn-ea"/>
                <a:cs typeface="+mn-cs"/>
              </a:rPr>
              <a:t>bibendu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ristique</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quis</a:t>
            </a:r>
            <a:r>
              <a:rPr kumimoji="0" lang="en-CA" sz="1600" b="0" i="0" u="none" strike="noStrike" kern="1200" cap="none" spc="0" normalizeH="0" baseline="0" noProof="0">
                <a:ln>
                  <a:noFill/>
                </a:ln>
                <a:solidFill>
                  <a:srgbClr val="333333"/>
                </a:solidFill>
                <a:effectLst/>
                <a:uLnTx/>
                <a:uFillTx/>
                <a:latin typeface="+mn-lt"/>
                <a:ea typeface="+mn-ea"/>
                <a:cs typeface="+mn-cs"/>
              </a:rPr>
              <a:t> ipsum </a:t>
            </a:r>
            <a:r>
              <a:rPr kumimoji="0" lang="en-CA" sz="1600" b="0" i="0" u="none" strike="noStrike" kern="1200" cap="none" spc="0" normalizeH="0" baseline="0" noProof="0" err="1">
                <a:ln>
                  <a:noFill/>
                </a:ln>
                <a:solidFill>
                  <a:srgbClr val="333333"/>
                </a:solidFill>
                <a:effectLst/>
                <a:uLnTx/>
                <a:uFillTx/>
                <a:latin typeface="+mn-lt"/>
                <a:ea typeface="+mn-ea"/>
                <a:cs typeface="+mn-cs"/>
              </a:rPr>
              <a:t>suspendisse</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Sed </a:t>
            </a:r>
            <a:r>
              <a:rPr kumimoji="0" lang="en-CA" sz="1600" b="0" i="0" u="none" strike="noStrike" kern="1200" cap="none" spc="0" normalizeH="0" baseline="0" noProof="0" err="1">
                <a:ln>
                  <a:noFill/>
                </a:ln>
                <a:solidFill>
                  <a:srgbClr val="333333"/>
                </a:solidFill>
                <a:effectLst/>
                <a:uLnTx/>
                <a:uFillTx/>
                <a:latin typeface="+mn-lt"/>
                <a:ea typeface="+mn-ea"/>
                <a:cs typeface="+mn-cs"/>
              </a:rPr>
              <a:t>blandit</a:t>
            </a:r>
            <a:r>
              <a:rPr kumimoji="0" lang="en-CA" sz="1600" b="0" i="0" u="none" strike="noStrike" kern="1200" cap="none" spc="0" normalizeH="0" baseline="0" noProof="0">
                <a:ln>
                  <a:noFill/>
                </a:ln>
                <a:solidFill>
                  <a:srgbClr val="333333"/>
                </a:solidFill>
                <a:effectLst/>
                <a:uLnTx/>
                <a:uFillTx/>
                <a:latin typeface="+mn-lt"/>
                <a:ea typeface="+mn-ea"/>
                <a:cs typeface="+mn-cs"/>
              </a:rPr>
              <a:t> libero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sed. </a:t>
            </a:r>
            <a:r>
              <a:rPr kumimoji="0" lang="en-CA" sz="1600" b="0" i="0" u="none" strike="noStrike" kern="1200" cap="none" spc="0" normalizeH="0" baseline="0" noProof="0" err="1">
                <a:ln>
                  <a:noFill/>
                </a:ln>
                <a:solidFill>
                  <a:srgbClr val="333333"/>
                </a:solidFill>
                <a:effectLst/>
                <a:uLnTx/>
                <a:uFillTx/>
                <a:latin typeface="+mn-lt"/>
                <a:ea typeface="+mn-ea"/>
                <a:cs typeface="+mn-cs"/>
              </a:rPr>
              <a:t>Sodal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sodal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tiam</a:t>
            </a:r>
            <a:r>
              <a:rPr kumimoji="0" lang="en-CA" sz="1600" b="0" i="0" u="none" strike="noStrike" kern="1200" cap="none" spc="0" normalizeH="0" baseline="0" noProof="0">
                <a:ln>
                  <a:noFill/>
                </a:ln>
                <a:solidFill>
                  <a:srgbClr val="333333"/>
                </a:solidFill>
                <a:effectLst/>
                <a:uLnTx/>
                <a:uFillTx/>
                <a:latin typeface="+mn-lt"/>
                <a:ea typeface="+mn-ea"/>
                <a:cs typeface="+mn-cs"/>
              </a:rPr>
              <a:t> sit </a:t>
            </a:r>
            <a:r>
              <a:rPr kumimoji="0" lang="en-CA" sz="1600" b="0" i="0" u="none" strike="noStrike" kern="1200" cap="none" spc="0" normalizeH="0" baseline="0" noProof="0" err="1">
                <a:ln>
                  <a:noFill/>
                </a:ln>
                <a:solidFill>
                  <a:srgbClr val="333333"/>
                </a:solidFill>
                <a:effectLst/>
                <a:uLnTx/>
                <a:uFillTx/>
                <a:latin typeface="+mn-lt"/>
                <a:ea typeface="+mn-ea"/>
                <a:cs typeface="+mn-cs"/>
              </a:rPr>
              <a:t>amet</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Turp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incidunt</a:t>
            </a:r>
            <a:r>
              <a:rPr kumimoji="0" lang="en-CA" sz="1600" b="0" i="0" u="none" strike="noStrike" kern="1200" cap="none" spc="0" normalizeH="0" baseline="0" noProof="0">
                <a:ln>
                  <a:noFill/>
                </a:ln>
                <a:solidFill>
                  <a:srgbClr val="333333"/>
                </a:solidFill>
                <a:effectLst/>
                <a:uLnTx/>
                <a:uFillTx/>
                <a:latin typeface="+mn-lt"/>
                <a:ea typeface="+mn-ea"/>
                <a:cs typeface="+mn-cs"/>
              </a:rPr>
              <a:t> id </a:t>
            </a:r>
            <a:r>
              <a:rPr kumimoji="0" lang="en-CA" sz="1600" b="0" i="0" u="none" strike="noStrike" kern="1200" cap="none" spc="0" normalizeH="0" baseline="0" noProof="0" err="1">
                <a:ln>
                  <a:noFill/>
                </a:ln>
                <a:solidFill>
                  <a:srgbClr val="333333"/>
                </a:solidFill>
                <a:effectLst/>
                <a:uLnTx/>
                <a:uFillTx/>
                <a:latin typeface="+mn-lt"/>
                <a:ea typeface="+mn-ea"/>
                <a:cs typeface="+mn-cs"/>
              </a:rPr>
              <a:t>alique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risus</a:t>
            </a:r>
            <a:r>
              <a:rPr kumimoji="0" lang="en-CA" sz="1600" b="0" i="0" u="none" strike="noStrike" kern="1200" cap="none" spc="0" normalizeH="0" baseline="0" noProof="0">
                <a:ln>
                  <a:noFill/>
                </a:ln>
                <a:solidFill>
                  <a:srgbClr val="333333"/>
                </a:solidFill>
                <a:effectLst/>
                <a:uLnTx/>
                <a:uFillTx/>
                <a:latin typeface="+mn-lt"/>
                <a:ea typeface="+mn-ea"/>
                <a:cs typeface="+mn-cs"/>
              </a:rPr>
              <a:t>. Morbi </a:t>
            </a:r>
            <a:r>
              <a:rPr kumimoji="0" lang="en-CA" sz="1600" b="0" i="0" u="none" strike="noStrike" kern="1200" cap="none" spc="0" normalizeH="0" baseline="0" noProof="0" err="1">
                <a:ln>
                  <a:noFill/>
                </a:ln>
                <a:solidFill>
                  <a:srgbClr val="333333"/>
                </a:solidFill>
                <a:effectLst/>
                <a:uLnTx/>
                <a:uFillTx/>
                <a:latin typeface="+mn-lt"/>
                <a:ea typeface="+mn-ea"/>
                <a:cs typeface="+mn-cs"/>
              </a:rPr>
              <a:t>tristi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senectus</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netus</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malesuada</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Accumsan</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lacus</a:t>
            </a:r>
            <a:r>
              <a:rPr kumimoji="0" lang="en-CA" sz="1600" b="0" i="0" u="none" strike="noStrike" kern="1200" cap="none" spc="0" normalizeH="0" baseline="0" noProof="0">
                <a:ln>
                  <a:noFill/>
                </a:ln>
                <a:solidFill>
                  <a:srgbClr val="333333"/>
                </a:solidFill>
                <a:effectLst/>
                <a:uLnTx/>
                <a:uFillTx/>
                <a:latin typeface="+mn-lt"/>
                <a:ea typeface="+mn-ea"/>
                <a:cs typeface="+mn-cs"/>
              </a:rPr>
              <a:t> vel </a:t>
            </a:r>
            <a:r>
              <a:rPr kumimoji="0" lang="en-CA" sz="1600" b="0" i="0" u="none" strike="noStrike" kern="1200" cap="none" spc="0" normalizeH="0" baseline="0" noProof="0" err="1">
                <a:ln>
                  <a:noFill/>
                </a:ln>
                <a:solidFill>
                  <a:srgbClr val="333333"/>
                </a:solidFill>
                <a:effectLst/>
                <a:uLnTx/>
                <a:uFillTx/>
                <a:latin typeface="+mn-lt"/>
                <a:ea typeface="+mn-ea"/>
                <a:cs typeface="+mn-cs"/>
              </a:rPr>
              <a:t>facilis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s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eli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Elementum</a:t>
            </a:r>
            <a:r>
              <a:rPr kumimoji="0" lang="en-CA" sz="1600" b="0" i="0" u="none" strike="noStrike" kern="1200" cap="none" spc="0" normalizeH="0" baseline="0" noProof="0">
                <a:ln>
                  <a:noFill/>
                </a:ln>
                <a:solidFill>
                  <a:srgbClr val="333333"/>
                </a:solidFill>
                <a:effectLst/>
                <a:uLnTx/>
                <a:uFillTx/>
                <a:latin typeface="+mn-lt"/>
                <a:ea typeface="+mn-ea"/>
                <a:cs typeface="+mn-cs"/>
              </a:rPr>
              <a:t> tempus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sed sed </a:t>
            </a:r>
            <a:r>
              <a:rPr kumimoji="0" lang="en-CA" sz="1600" b="0" i="0" u="none" strike="noStrike" kern="1200" cap="none" spc="0" normalizeH="0" baseline="0" noProof="0" err="1">
                <a:ln>
                  <a:noFill/>
                </a:ln>
                <a:solidFill>
                  <a:srgbClr val="333333"/>
                </a:solidFill>
                <a:effectLst/>
                <a:uLnTx/>
                <a:uFillTx/>
                <a:latin typeface="+mn-lt"/>
                <a:ea typeface="+mn-ea"/>
                <a:cs typeface="+mn-cs"/>
              </a:rPr>
              <a:t>risus</a:t>
            </a:r>
            <a:r>
              <a:rPr kumimoji="0" lang="en-CA" sz="1600" b="0" i="0" u="none" strike="noStrike" kern="1200" cap="none" spc="0" normalizeH="0" baseline="0" noProof="0">
                <a:ln>
                  <a:noFill/>
                </a:ln>
                <a:solidFill>
                  <a:srgbClr val="333333"/>
                </a:solidFill>
                <a:effectLst/>
                <a:uLnTx/>
                <a:uFillTx/>
                <a:latin typeface="+mn-lt"/>
                <a:ea typeface="+mn-ea"/>
                <a:cs typeface="+mn-cs"/>
              </a:rPr>
              <a:t>.</a:t>
            </a:r>
            <a:endParaRPr kumimoji="0" lang="en-CA" sz="1400" b="0" i="0" u="none" strike="noStrike" kern="1200" cap="none" spc="0" normalizeH="0" baseline="0" noProof="0">
              <a:ln>
                <a:noFill/>
              </a:ln>
              <a:solidFill>
                <a:srgbClr val="333333"/>
              </a:solidFill>
              <a:effectLst/>
              <a:uLnTx/>
              <a:uFillTx/>
              <a:latin typeface="+mn-lt"/>
              <a:ea typeface="+mn-ea"/>
              <a:cs typeface="+mn-cs"/>
            </a:endParaRPr>
          </a:p>
        </p:txBody>
      </p:sp>
      <p:sp>
        <p:nvSpPr>
          <p:cNvPr id="9" name="Text Placeholder 8">
            <a:extLst>
              <a:ext uri="{FF2B5EF4-FFF2-40B4-BE49-F238E27FC236}">
                <a16:creationId xmlns:a16="http://schemas.microsoft.com/office/drawing/2014/main" id="{990A04F8-56E6-3B4E-824D-8E614727089E}"/>
              </a:ext>
            </a:extLst>
          </p:cNvPr>
          <p:cNvSpPr>
            <a:spLocks noGrp="1"/>
          </p:cNvSpPr>
          <p:nvPr>
            <p:ph type="body" sz="quarter" idx="13" hasCustomPrompt="1"/>
          </p:nvPr>
        </p:nvSpPr>
        <p:spPr>
          <a:xfrm>
            <a:off x="7076355" y="1236663"/>
            <a:ext cx="4357687" cy="563562"/>
          </a:xfrm>
        </p:spPr>
        <p:txBody>
          <a:bodyPr>
            <a:noAutofit/>
          </a:bodyPr>
          <a:lstStyle>
            <a:lvl1pPr marL="0" indent="0">
              <a:buNone/>
              <a:defRPr sz="40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Another thing:</a:t>
            </a:r>
            <a:endParaRPr lang="en-CA"/>
          </a:p>
        </p:txBody>
      </p:sp>
      <p:sp>
        <p:nvSpPr>
          <p:cNvPr id="11" name="Content Placeholder 10">
            <a:extLst>
              <a:ext uri="{FF2B5EF4-FFF2-40B4-BE49-F238E27FC236}">
                <a16:creationId xmlns:a16="http://schemas.microsoft.com/office/drawing/2014/main" id="{520F7B7B-6B3A-A644-BBBF-797B3B69F647}"/>
              </a:ext>
            </a:extLst>
          </p:cNvPr>
          <p:cNvSpPr>
            <a:spLocks noGrp="1" noChangeAspect="1"/>
          </p:cNvSpPr>
          <p:nvPr>
            <p:ph sz="quarter" idx="14" hasCustomPrompt="1"/>
          </p:nvPr>
        </p:nvSpPr>
        <p:spPr>
          <a:xfrm>
            <a:off x="5634931" y="991101"/>
            <a:ext cx="925200" cy="925200"/>
          </a:xfrm>
          <a:prstGeom prst="ellipse">
            <a:avLst/>
          </a:prstGeom>
          <a:solidFill>
            <a:schemeClr val="accent1"/>
          </a:solidFill>
        </p:spPr>
        <p:txBody>
          <a:bodyPr tIns="72000" anchor="ctr"/>
          <a:lstStyle>
            <a:lvl1pPr marL="0" indent="0" algn="ctr">
              <a:buNone/>
              <a:defRPr>
                <a:solidFill>
                  <a:schemeClr val="bg1"/>
                </a:solidFill>
                <a:latin typeface="+mj-lt"/>
              </a:defRPr>
            </a:lvl1pPr>
          </a:lstStyle>
          <a:p>
            <a:pPr lvl="0"/>
            <a:r>
              <a:rPr lang="en-US"/>
              <a:t>VS</a:t>
            </a:r>
            <a:endParaRPr lang="en-CA"/>
          </a:p>
        </p:txBody>
      </p:sp>
    </p:spTree>
    <p:extLst>
      <p:ext uri="{BB962C8B-B14F-4D97-AF65-F5344CB8AC3E}">
        <p14:creationId xmlns:p14="http://schemas.microsoft.com/office/powerpoint/2010/main" val="412707542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Large impact text - Centred Neutral">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2095827" y="2809674"/>
            <a:ext cx="8000346" cy="2074222"/>
          </a:xfrm>
        </p:spPr>
        <p:txBody>
          <a:bodyPr anchor="t">
            <a:noAutofit/>
          </a:bodyPr>
          <a:lstStyle>
            <a:lvl1pPr algn="ctr">
              <a:lnSpc>
                <a:spcPct val="100000"/>
              </a:lnSpc>
              <a:defRPr lang="es-ES_tradnl" sz="3000" b="1" kern="1200" dirty="0">
                <a:solidFill>
                  <a:srgbClr val="333333"/>
                </a:solidFill>
                <a:latin typeface="Scotia Headline"/>
                <a:ea typeface="Gilroy ExtraBold Italic"/>
                <a:cs typeface="Gilroy ExtraBold Italic"/>
              </a:defRPr>
            </a:lvl1pPr>
          </a:lstStyle>
          <a:p>
            <a:r>
              <a:rPr lang="en-US"/>
              <a:t>Lage impact text goes here.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p:txBody>
      </p:sp>
      <p:sp>
        <p:nvSpPr>
          <p:cNvPr id="9" name="Text Placeholder 11">
            <a:extLst>
              <a:ext uri="{FF2B5EF4-FFF2-40B4-BE49-F238E27FC236}">
                <a16:creationId xmlns:a16="http://schemas.microsoft.com/office/drawing/2014/main" id="{6EF7400F-D872-5144-AD1D-927764ABB84E}"/>
              </a:ext>
            </a:extLst>
          </p:cNvPr>
          <p:cNvSpPr>
            <a:spLocks noGrp="1"/>
          </p:cNvSpPr>
          <p:nvPr>
            <p:ph type="body" sz="quarter" idx="11" hasCustomPrompt="1"/>
          </p:nvPr>
        </p:nvSpPr>
        <p:spPr>
          <a:xfrm>
            <a:off x="2095826" y="2242129"/>
            <a:ext cx="8000347" cy="321189"/>
          </a:xfrm>
          <a:ln w="12700">
            <a:miter lim="400000"/>
          </a:ln>
        </p:spPr>
        <p:txBody>
          <a:bodyPr wrap="square" lIns="0" tIns="0" rIns="0" bIns="0">
            <a:noAutofit/>
          </a:bodyPr>
          <a:lstStyle>
            <a:lvl1pPr marL="0" indent="0" algn="ctr">
              <a:buNone/>
              <a:defRPr lang="en-US" sz="1800" b="1" cap="all" spc="300" baseline="0" smtClean="0">
                <a:solidFill>
                  <a:schemeClr val="accent2"/>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a:t>
            </a:r>
          </a:p>
        </p:txBody>
      </p:sp>
      <p:pic>
        <p:nvPicPr>
          <p:cNvPr id="10" name="Graphic 9">
            <a:extLst>
              <a:ext uri="{FF2B5EF4-FFF2-40B4-BE49-F238E27FC236}">
                <a16:creationId xmlns:a16="http://schemas.microsoft.com/office/drawing/2014/main" id="{ECDAE827-A5E1-234A-88B6-8A65094BF7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019573B0-D955-4B4C-8BB5-C6735698A5C7}"/>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333333"/>
                </a:solidFill>
                <a:latin typeface="Scotia" panose="020B0503020203020204" pitchFamily="34" charset="0"/>
              </a:rPr>
              <a:pPr algn="r"/>
              <a:t>‹#›</a:t>
            </a:fld>
            <a:endParaRPr lang="en-CA" sz="800">
              <a:solidFill>
                <a:srgbClr val="333333"/>
              </a:solidFill>
              <a:latin typeface="Scotia" panose="020B0503020203020204" pitchFamily="34" charset="0"/>
            </a:endParaRPr>
          </a:p>
        </p:txBody>
      </p:sp>
      <p:sp>
        <p:nvSpPr>
          <p:cNvPr id="13" name="Text Placeholder 4">
            <a:extLst>
              <a:ext uri="{FF2B5EF4-FFF2-40B4-BE49-F238E27FC236}">
                <a16:creationId xmlns:a16="http://schemas.microsoft.com/office/drawing/2014/main" id="{9831DDF5-2C59-9540-A7DF-1D1666C371D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333333"/>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1131048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Full colour backgroun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8CD8353-339B-A949-9962-88420B3D5814}"/>
              </a:ext>
            </a:extLst>
          </p:cNvPr>
          <p:cNvSpPr txBox="1">
            <a:spLocks/>
          </p:cNvSpPr>
          <p:nvPr/>
        </p:nvSpPr>
        <p:spPr>
          <a:xfrm>
            <a:off x="11575704" y="332531"/>
            <a:ext cx="233505"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bg1"/>
                </a:solidFill>
                <a:latin typeface="Scotia" panose="020B0503020203020204" pitchFamily="34" charset="0"/>
              </a:rPr>
              <a:pPr algn="r"/>
              <a:t>‹#›</a:t>
            </a:fld>
            <a:endParaRPr lang="en-CA" sz="600">
              <a:solidFill>
                <a:schemeClr val="bg1"/>
              </a:solidFill>
              <a:latin typeface="Scotia" panose="020B0503020203020204" pitchFamily="34" charset="0"/>
            </a:endParaRPr>
          </a:p>
        </p:txBody>
      </p:sp>
      <p:sp>
        <p:nvSpPr>
          <p:cNvPr id="10" name="TextBox 7">
            <a:extLst>
              <a:ext uri="{FF2B5EF4-FFF2-40B4-BE49-F238E27FC236}">
                <a16:creationId xmlns:a16="http://schemas.microsoft.com/office/drawing/2014/main" id="{60AD4FC9-0E4A-BB47-90EB-8736D75D9CDA}"/>
              </a:ext>
            </a:extLst>
          </p:cNvPr>
          <p:cNvSpPr txBox="1">
            <a:spLocks/>
          </p:cNvSpPr>
          <p:nvPr/>
        </p:nvSpPr>
        <p:spPr>
          <a:xfrm>
            <a:off x="11575704" y="332307"/>
            <a:ext cx="233505"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bg1"/>
                </a:solidFill>
                <a:latin typeface="Scotia" panose="020B0503020203020204" pitchFamily="34" charset="0"/>
              </a:rPr>
              <a:pPr algn="r"/>
              <a:t>‹#›</a:t>
            </a:fld>
            <a:endParaRPr lang="en-CA" sz="600">
              <a:solidFill>
                <a:schemeClr val="bg1"/>
              </a:solidFill>
              <a:latin typeface="Scotia" panose="020B0503020203020204" pitchFamily="34" charset="0"/>
            </a:endParaRPr>
          </a:p>
        </p:txBody>
      </p:sp>
      <p:grpSp>
        <p:nvGrpSpPr>
          <p:cNvPr id="7" name="Group 6">
            <a:extLst>
              <a:ext uri="{FF2B5EF4-FFF2-40B4-BE49-F238E27FC236}">
                <a16:creationId xmlns:a16="http://schemas.microsoft.com/office/drawing/2014/main" id="{B000A1F6-DE07-6149-BE17-6DA2C7D5BFFB}"/>
              </a:ext>
            </a:extLst>
          </p:cNvPr>
          <p:cNvGrpSpPr/>
          <p:nvPr/>
        </p:nvGrpSpPr>
        <p:grpSpPr>
          <a:xfrm>
            <a:off x="11800685" y="6466711"/>
            <a:ext cx="391316" cy="391291"/>
            <a:chOff x="23599832" y="12933419"/>
            <a:chExt cx="782581" cy="782581"/>
          </a:xfrm>
        </p:grpSpPr>
        <p:sp>
          <p:nvSpPr>
            <p:cNvPr id="9" name="Rectangle 8">
              <a:extLst>
                <a:ext uri="{FF2B5EF4-FFF2-40B4-BE49-F238E27FC236}">
                  <a16:creationId xmlns:a16="http://schemas.microsoft.com/office/drawing/2014/main" id="{3C3B9BCE-8FA0-4749-809B-426CF819D5F8}"/>
                </a:ext>
              </a:extLst>
            </p:cNvPr>
            <p:cNvSpPr/>
            <p:nvPr/>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11" name="Picture 10">
              <a:extLst>
                <a:ext uri="{FF2B5EF4-FFF2-40B4-BE49-F238E27FC236}">
                  <a16:creationId xmlns:a16="http://schemas.microsoft.com/office/drawing/2014/main" id="{26FD635D-FCD5-F340-A9C1-013EBBE18734}"/>
                </a:ext>
              </a:extLst>
            </p:cNvPr>
            <p:cNvPicPr>
              <a:picLocks noChangeAspect="1"/>
            </p:cNvPicPr>
            <p:nvPr/>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2183624855"/>
      </p:ext>
    </p:extLst>
  </p:cSld>
  <p:clrMapOvr>
    <a:masterClrMapping/>
  </p:clrMapOvr>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Large impact text - Neutral">
    <p:bg>
      <p:bgPr>
        <a:solidFill>
          <a:srgbClr val="F6F6F6"/>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D67F74-3A1E-6E4C-977D-AAF946BF3588}"/>
              </a:ext>
            </a:extLst>
          </p:cNvPr>
          <p:cNvSpPr/>
          <p:nvPr userDrawn="1"/>
        </p:nvSpPr>
        <p:spPr>
          <a:xfrm>
            <a:off x="594757" y="716280"/>
            <a:ext cx="10980589" cy="5577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1900833" y="2289070"/>
            <a:ext cx="8370623" cy="1171473"/>
          </a:xfrm>
        </p:spPr>
        <p:txBody>
          <a:bodyPr anchor="t">
            <a:noAutofit/>
          </a:bodyPr>
          <a:lstStyle>
            <a:lvl1pPr algn="ctr">
              <a:defRPr lang="es-ES_tradnl" sz="4400" b="1" kern="1200" dirty="0">
                <a:solidFill>
                  <a:schemeClr val="accent1"/>
                </a:solidFill>
                <a:latin typeface="Scotia Headline"/>
                <a:ea typeface="Gilroy ExtraBold Italic"/>
                <a:cs typeface="Gilroy ExtraBold Italic"/>
              </a:defRPr>
            </a:lvl1pPr>
          </a:lstStyle>
          <a:p>
            <a:r>
              <a:rPr lang="en-US"/>
              <a:t>Impactful title and text that deserves its own slide</a:t>
            </a:r>
          </a:p>
        </p:txBody>
      </p:sp>
      <p:sp>
        <p:nvSpPr>
          <p:cNvPr id="3" name="Text Placeholder 2">
            <a:extLst>
              <a:ext uri="{FF2B5EF4-FFF2-40B4-BE49-F238E27FC236}">
                <a16:creationId xmlns:a16="http://schemas.microsoft.com/office/drawing/2014/main" id="{46600663-9684-2E4C-B2ED-A00D40588E60}"/>
              </a:ext>
            </a:extLst>
          </p:cNvPr>
          <p:cNvSpPr>
            <a:spLocks noGrp="1"/>
          </p:cNvSpPr>
          <p:nvPr>
            <p:ph type="body" sz="quarter" idx="11" hasCustomPrompt="1"/>
          </p:nvPr>
        </p:nvSpPr>
        <p:spPr>
          <a:xfrm>
            <a:off x="1937460" y="3926111"/>
            <a:ext cx="8317080" cy="1171474"/>
          </a:xfrm>
        </p:spPr>
        <p:txBody>
          <a:bodyPr>
            <a:noAutofit/>
          </a:bodyPr>
          <a:lstStyle>
            <a:lvl1pPr marL="0" indent="0" algn="ctr" fontAlgn="base">
              <a:lnSpc>
                <a:spcPct val="110000"/>
              </a:lnSpc>
              <a:spcBef>
                <a:spcPts val="0"/>
              </a:spcBef>
              <a:spcAft>
                <a:spcPts val="1800"/>
              </a:spcAft>
              <a:buNone/>
              <a:defRPr sz="1800" b="0"/>
            </a:lvl1pPr>
            <a:lvl2pPr marL="457200" indent="0">
              <a:buNone/>
              <a:defRPr b="0"/>
            </a:lvl2pPr>
            <a:lvl3pPr marL="914400" indent="0">
              <a:buNone/>
              <a:defRPr b="0"/>
            </a:lvl3pPr>
            <a:lvl4pPr marL="1371600" indent="0">
              <a:buNone/>
              <a:defRPr b="0"/>
            </a:lvl4pPr>
            <a:lvl5pPr marL="1828800" indent="0">
              <a:buNone/>
              <a:defRPr b="0"/>
            </a:lvl5pPr>
          </a:lstStyle>
          <a:p>
            <a:pPr algn="ctr" fontAlgn="base">
              <a:lnSpc>
                <a:spcPct val="110000"/>
              </a:lnSpc>
              <a:spcAft>
                <a:spcPts val="1800"/>
              </a:spcAft>
            </a:pPr>
            <a:r>
              <a:rPr lang="en-CA"/>
              <a:t>Lorem ipsum dolor sit </a:t>
            </a:r>
            <a:r>
              <a:rPr lang="en-CA" err="1"/>
              <a:t>amet</a:t>
            </a:r>
            <a:r>
              <a:rPr lang="en-CA"/>
              <a:t>, </a:t>
            </a:r>
            <a:r>
              <a:rPr lang="en-CA" err="1"/>
              <a:t>consectetur</a:t>
            </a:r>
            <a:r>
              <a:rPr lang="en-CA"/>
              <a:t> adipiscing </a:t>
            </a:r>
            <a:r>
              <a:rPr lang="en-CA" err="1"/>
              <a:t>elit</a:t>
            </a:r>
            <a:r>
              <a:rPr lang="en-CA"/>
              <a:t>, sed do </a:t>
            </a:r>
            <a:r>
              <a:rPr lang="en-CA" err="1"/>
              <a:t>eiusmod</a:t>
            </a:r>
            <a:r>
              <a:rPr lang="en-CA"/>
              <a:t> </a:t>
            </a:r>
            <a:r>
              <a:rPr lang="en-CA" err="1"/>
              <a:t>tempor</a:t>
            </a:r>
            <a:r>
              <a:rPr lang="en-CA"/>
              <a:t> </a:t>
            </a:r>
            <a:r>
              <a:rPr lang="en-CA" err="1"/>
              <a:t>incididunt</a:t>
            </a:r>
            <a:r>
              <a:rPr lang="en-CA"/>
              <a:t> </a:t>
            </a:r>
            <a:r>
              <a:rPr lang="en-CA" err="1"/>
              <a:t>ut</a:t>
            </a:r>
            <a:r>
              <a:rPr lang="en-CA"/>
              <a:t> </a:t>
            </a:r>
            <a:r>
              <a:rPr lang="en-CA" err="1"/>
              <a:t>labore</a:t>
            </a:r>
            <a:r>
              <a:rPr lang="en-CA"/>
              <a:t> et dolore magna </a:t>
            </a:r>
            <a:r>
              <a:rPr lang="en-CA" err="1"/>
              <a:t>aliqua</a:t>
            </a:r>
            <a:r>
              <a:rPr lang="en-CA"/>
              <a:t>. Ut </a:t>
            </a:r>
            <a:r>
              <a:rPr lang="en-CA" err="1"/>
              <a:t>enim</a:t>
            </a:r>
            <a:r>
              <a:rPr lang="en-CA"/>
              <a:t> ad minim </a:t>
            </a:r>
            <a:r>
              <a:rPr lang="en-CA" err="1"/>
              <a:t>veniam</a:t>
            </a:r>
            <a:r>
              <a:rPr lang="en-CA"/>
              <a:t>, </a:t>
            </a:r>
            <a:r>
              <a:rPr lang="en-CA" err="1"/>
              <a:t>quis</a:t>
            </a:r>
            <a:r>
              <a:rPr lang="en-CA"/>
              <a:t> </a:t>
            </a:r>
            <a:r>
              <a:rPr lang="en-CA" err="1"/>
              <a:t>nostrud</a:t>
            </a:r>
            <a:r>
              <a:rPr lang="en-CA"/>
              <a:t> exercitation </a:t>
            </a:r>
            <a:r>
              <a:rPr lang="en-CA" err="1"/>
              <a:t>ullamco</a:t>
            </a:r>
            <a:r>
              <a:rPr lang="en-CA"/>
              <a:t> </a:t>
            </a:r>
            <a:r>
              <a:rPr lang="en-CA" err="1"/>
              <a:t>laboris</a:t>
            </a:r>
            <a:r>
              <a:rPr lang="en-CA"/>
              <a:t> nisi </a:t>
            </a:r>
            <a:r>
              <a:rPr lang="en-CA" err="1"/>
              <a:t>ut</a:t>
            </a:r>
            <a:r>
              <a:rPr lang="en-CA"/>
              <a:t> </a:t>
            </a:r>
            <a:r>
              <a:rPr lang="en-CA" err="1"/>
              <a:t>aliquip</a:t>
            </a:r>
            <a:r>
              <a:rPr lang="en-CA"/>
              <a:t> ex </a:t>
            </a:r>
            <a:r>
              <a:rPr lang="en-CA" err="1"/>
              <a:t>ea</a:t>
            </a:r>
            <a:r>
              <a:rPr lang="en-CA"/>
              <a:t> </a:t>
            </a:r>
            <a:r>
              <a:rPr lang="en-CA" err="1"/>
              <a:t>commodo</a:t>
            </a:r>
            <a:r>
              <a:rPr lang="en-CA"/>
              <a:t> </a:t>
            </a:r>
            <a:r>
              <a:rPr lang="en-CA" err="1"/>
              <a:t>consequat</a:t>
            </a:r>
            <a:r>
              <a:rPr lang="en-CA"/>
              <a:t>. Duis </a:t>
            </a:r>
            <a:r>
              <a:rPr lang="en-CA" err="1"/>
              <a:t>aute</a:t>
            </a:r>
            <a:r>
              <a:rPr lang="en-CA"/>
              <a:t> </a:t>
            </a:r>
            <a:r>
              <a:rPr lang="en-CA" err="1"/>
              <a:t>irure</a:t>
            </a:r>
            <a:r>
              <a:rPr lang="en-CA"/>
              <a:t> dolor in </a:t>
            </a:r>
            <a:r>
              <a:rPr lang="en-CA" err="1"/>
              <a:t>reprehenderit</a:t>
            </a:r>
            <a:r>
              <a:rPr lang="en-CA"/>
              <a:t> in </a:t>
            </a:r>
            <a:r>
              <a:rPr lang="en-CA" err="1"/>
              <a:t>voluptate</a:t>
            </a:r>
            <a:r>
              <a:rPr lang="en-CA"/>
              <a:t> </a:t>
            </a:r>
            <a:r>
              <a:rPr lang="en-CA" err="1"/>
              <a:t>velit</a:t>
            </a:r>
            <a:r>
              <a:rPr lang="en-CA"/>
              <a:t> </a:t>
            </a:r>
            <a:r>
              <a:rPr lang="en-CA" err="1"/>
              <a:t>esse</a:t>
            </a:r>
            <a:r>
              <a:rPr lang="en-CA"/>
              <a:t> </a:t>
            </a:r>
            <a:r>
              <a:rPr lang="en-CA" err="1"/>
              <a:t>cillum</a:t>
            </a:r>
            <a:r>
              <a:rPr lang="en-CA"/>
              <a:t> </a:t>
            </a:r>
            <a:r>
              <a:rPr lang="en-CA" err="1"/>
              <a:t>dolorre</a:t>
            </a:r>
            <a:r>
              <a:rPr lang="en-CA"/>
              <a:t>.</a:t>
            </a:r>
          </a:p>
        </p:txBody>
      </p:sp>
      <p:sp>
        <p:nvSpPr>
          <p:cNvPr id="10" name="TextBox 9">
            <a:extLst>
              <a:ext uri="{FF2B5EF4-FFF2-40B4-BE49-F238E27FC236}">
                <a16:creationId xmlns:a16="http://schemas.microsoft.com/office/drawing/2014/main" id="{A7C18734-B11F-344D-BA62-183D3A0AC429}"/>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1" name="Graphic 10">
            <a:extLst>
              <a:ext uri="{FF2B5EF4-FFF2-40B4-BE49-F238E27FC236}">
                <a16:creationId xmlns:a16="http://schemas.microsoft.com/office/drawing/2014/main" id="{5A446BF3-4FB6-6F49-BA55-762B22429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213542787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Phone Screen - white">
    <p:spTree>
      <p:nvGrpSpPr>
        <p:cNvPr id="1" name=""/>
        <p:cNvGrpSpPr/>
        <p:nvPr/>
      </p:nvGrpSpPr>
      <p:grpSpPr>
        <a:xfrm>
          <a:off x="0" y="0"/>
          <a:ext cx="0" cy="0"/>
          <a:chOff x="0" y="0"/>
          <a:chExt cx="0" cy="0"/>
        </a:xfrm>
      </p:grpSpPr>
      <p:pic>
        <p:nvPicPr>
          <p:cNvPr id="5" name="Picture 4" descr="Shape, square&#10;&#10;Description automatically generated">
            <a:extLst>
              <a:ext uri="{FF2B5EF4-FFF2-40B4-BE49-F238E27FC236}">
                <a16:creationId xmlns:a16="http://schemas.microsoft.com/office/drawing/2014/main" id="{C62BF168-0AD4-AA43-8170-B2B53003BF75}"/>
              </a:ext>
            </a:extLst>
          </p:cNvPr>
          <p:cNvPicPr>
            <a:picLocks noChangeAspect="1"/>
          </p:cNvPicPr>
          <p:nvPr userDrawn="1"/>
        </p:nvPicPr>
        <p:blipFill>
          <a:blip r:embed="rId2"/>
          <a:stretch>
            <a:fillRect/>
          </a:stretch>
        </p:blipFill>
        <p:spPr>
          <a:xfrm>
            <a:off x="8501478" y="657289"/>
            <a:ext cx="2746579" cy="5543422"/>
          </a:xfrm>
          <a:prstGeom prst="rect">
            <a:avLst/>
          </a:prstGeom>
        </p:spPr>
      </p:pic>
      <p:sp>
        <p:nvSpPr>
          <p:cNvPr id="22" name="Picture Placeholder 21">
            <a:extLst>
              <a:ext uri="{FF2B5EF4-FFF2-40B4-BE49-F238E27FC236}">
                <a16:creationId xmlns:a16="http://schemas.microsoft.com/office/drawing/2014/main" id="{BC361F5E-DA4A-6849-8D60-251F84D30BAE}"/>
              </a:ext>
            </a:extLst>
          </p:cNvPr>
          <p:cNvSpPr>
            <a:spLocks noGrp="1"/>
          </p:cNvSpPr>
          <p:nvPr>
            <p:ph type="pic" sz="quarter" idx="11" hasCustomPrompt="1"/>
          </p:nvPr>
        </p:nvSpPr>
        <p:spPr>
          <a:xfrm>
            <a:off x="8660329" y="793750"/>
            <a:ext cx="2428875" cy="5270500"/>
          </a:xfrm>
          <a:custGeom>
            <a:avLst/>
            <a:gdLst>
              <a:gd name="connsiteX0" fmla="*/ 287927 w 2428875"/>
              <a:gd name="connsiteY0" fmla="*/ 0 h 5270500"/>
              <a:gd name="connsiteX1" fmla="*/ 517912 w 2428875"/>
              <a:gd name="connsiteY1" fmla="*/ 0 h 5270500"/>
              <a:gd name="connsiteX2" fmla="*/ 541984 w 2428875"/>
              <a:gd name="connsiteY2" fmla="*/ 9967 h 5270500"/>
              <a:gd name="connsiteX3" fmla="*/ 552493 w 2428875"/>
              <a:gd name="connsiteY3" fmla="*/ 35324 h 5270500"/>
              <a:gd name="connsiteX4" fmla="*/ 552493 w 2428875"/>
              <a:gd name="connsiteY4" fmla="*/ 67599 h 5270500"/>
              <a:gd name="connsiteX5" fmla="*/ 681651 w 2428875"/>
              <a:gd name="connsiteY5" fmla="*/ 196699 h 5270500"/>
              <a:gd name="connsiteX6" fmla="*/ 1732856 w 2428875"/>
              <a:gd name="connsiteY6" fmla="*/ 196699 h 5270500"/>
              <a:gd name="connsiteX7" fmla="*/ 1862014 w 2428875"/>
              <a:gd name="connsiteY7" fmla="*/ 67599 h 5270500"/>
              <a:gd name="connsiteX8" fmla="*/ 1862014 w 2428875"/>
              <a:gd name="connsiteY8" fmla="*/ 35324 h 5270500"/>
              <a:gd name="connsiteX9" fmla="*/ 1872522 w 2428875"/>
              <a:gd name="connsiteY9" fmla="*/ 9967 h 5270500"/>
              <a:gd name="connsiteX10" fmla="*/ 1896594 w 2428875"/>
              <a:gd name="connsiteY10" fmla="*/ 0 h 5270500"/>
              <a:gd name="connsiteX11" fmla="*/ 2130169 w 2428875"/>
              <a:gd name="connsiteY11" fmla="*/ 0 h 5270500"/>
              <a:gd name="connsiteX12" fmla="*/ 2244814 w 2428875"/>
              <a:gd name="connsiteY12" fmla="*/ 23135 h 5270500"/>
              <a:gd name="connsiteX13" fmla="*/ 2422753 w 2428875"/>
              <a:gd name="connsiteY13" fmla="*/ 239987 h 5270500"/>
              <a:gd name="connsiteX14" fmla="*/ 2428875 w 2428875"/>
              <a:gd name="connsiteY14" fmla="*/ 300686 h 5270500"/>
              <a:gd name="connsiteX15" fmla="*/ 2428875 w 2428875"/>
              <a:gd name="connsiteY15" fmla="*/ 4969814 h 5270500"/>
              <a:gd name="connsiteX16" fmla="*/ 2422753 w 2428875"/>
              <a:gd name="connsiteY16" fmla="*/ 5030512 h 5270500"/>
              <a:gd name="connsiteX17" fmla="*/ 2244814 w 2428875"/>
              <a:gd name="connsiteY17" fmla="*/ 5247364 h 5270500"/>
              <a:gd name="connsiteX18" fmla="*/ 2130168 w 2428875"/>
              <a:gd name="connsiteY18" fmla="*/ 5270500 h 5270500"/>
              <a:gd name="connsiteX19" fmla="*/ 287927 w 2428875"/>
              <a:gd name="connsiteY19" fmla="*/ 5270500 h 5270500"/>
              <a:gd name="connsiteX20" fmla="*/ 173281 w 2428875"/>
              <a:gd name="connsiteY20" fmla="*/ 5247364 h 5270500"/>
              <a:gd name="connsiteX21" fmla="*/ 12901 w 2428875"/>
              <a:gd name="connsiteY21" fmla="*/ 5087055 h 5270500"/>
              <a:gd name="connsiteX22" fmla="*/ 0 w 2428875"/>
              <a:gd name="connsiteY22" fmla="*/ 5045514 h 5270500"/>
              <a:gd name="connsiteX23" fmla="*/ 0 w 2428875"/>
              <a:gd name="connsiteY23" fmla="*/ 224984 h 5270500"/>
              <a:gd name="connsiteX24" fmla="*/ 12901 w 2428875"/>
              <a:gd name="connsiteY24" fmla="*/ 183442 h 5270500"/>
              <a:gd name="connsiteX25" fmla="*/ 173281 w 2428875"/>
              <a:gd name="connsiteY25" fmla="*/ 23135 h 527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8875" h="5270500">
                <a:moveTo>
                  <a:pt x="287927" y="0"/>
                </a:moveTo>
                <a:lnTo>
                  <a:pt x="517912" y="0"/>
                </a:lnTo>
                <a:lnTo>
                  <a:pt x="541984" y="9967"/>
                </a:lnTo>
                <a:cubicBezTo>
                  <a:pt x="548477" y="16456"/>
                  <a:pt x="552493" y="25421"/>
                  <a:pt x="552493" y="35324"/>
                </a:cubicBezTo>
                <a:lnTo>
                  <a:pt x="552493" y="67599"/>
                </a:lnTo>
                <a:cubicBezTo>
                  <a:pt x="552493" y="138898"/>
                  <a:pt x="610319" y="196699"/>
                  <a:pt x="681651" y="196699"/>
                </a:cubicBezTo>
                <a:lnTo>
                  <a:pt x="1732856" y="196699"/>
                </a:lnTo>
                <a:cubicBezTo>
                  <a:pt x="1804188" y="196699"/>
                  <a:pt x="1862014" y="138898"/>
                  <a:pt x="1862014" y="67599"/>
                </a:cubicBezTo>
                <a:lnTo>
                  <a:pt x="1862014" y="35324"/>
                </a:lnTo>
                <a:cubicBezTo>
                  <a:pt x="1862014" y="25421"/>
                  <a:pt x="1866030" y="16456"/>
                  <a:pt x="1872522" y="9967"/>
                </a:cubicBezTo>
                <a:lnTo>
                  <a:pt x="1896594" y="0"/>
                </a:lnTo>
                <a:lnTo>
                  <a:pt x="2130169" y="0"/>
                </a:lnTo>
                <a:lnTo>
                  <a:pt x="2244814" y="23135"/>
                </a:lnTo>
                <a:cubicBezTo>
                  <a:pt x="2334952" y="61243"/>
                  <a:pt x="2402681" y="141939"/>
                  <a:pt x="2422753" y="239987"/>
                </a:cubicBezTo>
                <a:lnTo>
                  <a:pt x="2428875" y="300686"/>
                </a:lnTo>
                <a:lnTo>
                  <a:pt x="2428875" y="4969814"/>
                </a:lnTo>
                <a:lnTo>
                  <a:pt x="2422753" y="5030512"/>
                </a:lnTo>
                <a:cubicBezTo>
                  <a:pt x="2402681" y="5128557"/>
                  <a:pt x="2334952" y="5209255"/>
                  <a:pt x="2244814" y="5247364"/>
                </a:cubicBezTo>
                <a:lnTo>
                  <a:pt x="2130168" y="5270500"/>
                </a:lnTo>
                <a:lnTo>
                  <a:pt x="287927" y="5270500"/>
                </a:lnTo>
                <a:lnTo>
                  <a:pt x="173281" y="5247364"/>
                </a:lnTo>
                <a:cubicBezTo>
                  <a:pt x="101170" y="5216876"/>
                  <a:pt x="43401" y="5159132"/>
                  <a:pt x="12901" y="5087055"/>
                </a:cubicBezTo>
                <a:lnTo>
                  <a:pt x="0" y="5045514"/>
                </a:lnTo>
                <a:lnTo>
                  <a:pt x="0" y="224984"/>
                </a:lnTo>
                <a:lnTo>
                  <a:pt x="12901" y="183442"/>
                </a:lnTo>
                <a:cubicBezTo>
                  <a:pt x="43401" y="111364"/>
                  <a:pt x="101170" y="53622"/>
                  <a:pt x="173281" y="23135"/>
                </a:cubicBezTo>
                <a:close/>
              </a:path>
            </a:pathLst>
          </a:custGeom>
          <a:ln w="12700">
            <a:solidFill>
              <a:srgbClr val="CCCCCC"/>
            </a:solidFill>
          </a:ln>
        </p:spPr>
        <p:txBody>
          <a:bodyPr wrap="square" lIns="180000" rIns="180000" anchor="ctr">
            <a:noAutofit/>
          </a:bodyPr>
          <a:lstStyle>
            <a:lvl1pPr marL="0" indent="0" algn="ctr">
              <a:lnSpc>
                <a:spcPct val="100000"/>
              </a:lnSpc>
              <a:spcBef>
                <a:spcPts val="0"/>
              </a:spcBef>
              <a:buNone/>
              <a:defRPr sz="2000" b="1"/>
            </a:lvl1pPr>
          </a:lstStyle>
          <a:p>
            <a:r>
              <a:rPr lang="en-US"/>
              <a:t>Drag and drop iPhone screen here</a:t>
            </a:r>
          </a:p>
        </p:txBody>
      </p:sp>
      <p:sp>
        <p:nvSpPr>
          <p:cNvPr id="25" name="Rectangle 24">
            <a:extLst>
              <a:ext uri="{FF2B5EF4-FFF2-40B4-BE49-F238E27FC236}">
                <a16:creationId xmlns:a16="http://schemas.microsoft.com/office/drawing/2014/main" id="{C844FDC9-1D30-DD4B-9A24-1686F43AF929}"/>
              </a:ext>
            </a:extLst>
          </p:cNvPr>
          <p:cNvSpPr/>
          <p:nvPr userDrawn="1"/>
        </p:nvSpPr>
        <p:spPr>
          <a:xfrm>
            <a:off x="0" y="0"/>
            <a:ext cx="7505205"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10">
            <a:extLst>
              <a:ext uri="{FF2B5EF4-FFF2-40B4-BE49-F238E27FC236}">
                <a16:creationId xmlns:a16="http://schemas.microsoft.com/office/drawing/2014/main" id="{25A992F2-12A0-AD45-8D80-5994BCB586D2}"/>
              </a:ext>
            </a:extLst>
          </p:cNvPr>
          <p:cNvSpPr>
            <a:spLocks noGrp="1"/>
          </p:cNvSpPr>
          <p:nvPr>
            <p:ph type="body" sz="quarter" idx="14" hasCustomPrompt="1"/>
          </p:nvPr>
        </p:nvSpPr>
        <p:spPr>
          <a:xfrm>
            <a:off x="471451" y="2564703"/>
            <a:ext cx="6342707" cy="3397686"/>
          </a:xfrm>
        </p:spPr>
        <p:txBody>
          <a:bodyPr wrap="square">
            <a:noAutofit/>
          </a:bodyPr>
          <a:lstStyle>
            <a:lvl1pPr marL="285750" indent="-285750">
              <a:lnSpc>
                <a:spcPct val="110000"/>
              </a:lnSpc>
              <a:spcBef>
                <a:spcPts val="0"/>
              </a:spcBef>
              <a:spcAft>
                <a:spcPts val="1400"/>
              </a:spcAft>
              <a:buFont typeface="Arial" panose="020B0604020202020204" pitchFamily="34" charset="0"/>
              <a:buChar char="•"/>
              <a:defRPr sz="14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a:t>
            </a:r>
          </a:p>
          <a:p>
            <a:pPr lvl="0"/>
            <a:r>
              <a:rPr lang="en-US"/>
              <a:t>Dolor sed viverra ipsum nunc aliquet bibendum enim facilisis. Feugiat in ante metus dictum. Venenatis urna cursus eget nunc. </a:t>
            </a:r>
          </a:p>
          <a:p>
            <a:pPr lvl="0"/>
            <a:r>
              <a:rPr lang="en-US"/>
              <a:t>Vitae purus </a:t>
            </a:r>
            <a:r>
              <a:rPr lang="en-US" err="1"/>
              <a:t>faucibus</a:t>
            </a:r>
            <a:r>
              <a:rPr lang="en-US"/>
              <a:t> </a:t>
            </a:r>
            <a:r>
              <a:rPr lang="en-US" err="1"/>
              <a:t>ornare</a:t>
            </a:r>
            <a:r>
              <a:rPr lang="en-US"/>
              <a:t> suspendisse sed nisi </a:t>
            </a:r>
            <a:r>
              <a:rPr lang="en-US" err="1"/>
              <a:t>lacus</a:t>
            </a:r>
            <a:r>
              <a:rPr lang="en-US"/>
              <a:t> sed. Diam </a:t>
            </a:r>
            <a:r>
              <a:rPr lang="en-US" err="1"/>
              <a:t>vulputate</a:t>
            </a:r>
            <a:r>
              <a:rPr lang="en-US"/>
              <a:t> ut pharetra sit. Sit amet </a:t>
            </a:r>
            <a:r>
              <a:rPr lang="en-US" err="1"/>
              <a:t>mattis</a:t>
            </a:r>
            <a:r>
              <a:rPr lang="en-US"/>
              <a:t> </a:t>
            </a:r>
            <a:r>
              <a:rPr lang="en-US" err="1"/>
              <a:t>vulputate</a:t>
            </a:r>
            <a:r>
              <a:rPr lang="en-US"/>
              <a:t> enim nulla aliquet </a:t>
            </a:r>
            <a:r>
              <a:rPr lang="en-US" err="1"/>
              <a:t>porttitor</a:t>
            </a:r>
            <a:r>
              <a:rPr lang="en-US"/>
              <a:t>.</a:t>
            </a:r>
          </a:p>
          <a:p>
            <a:pPr lvl="0"/>
            <a:r>
              <a:rPr lang="en-US"/>
              <a:t>Tortor </a:t>
            </a:r>
            <a:r>
              <a:rPr lang="en-US" err="1"/>
              <a:t>posuere</a:t>
            </a:r>
            <a:r>
              <a:rPr lang="en-US"/>
              <a:t> ac ut </a:t>
            </a:r>
            <a:r>
              <a:rPr lang="en-US" err="1"/>
              <a:t>consequat</a:t>
            </a:r>
            <a:r>
              <a:rPr lang="en-US"/>
              <a:t> semper. Vestibulum sed arcu non odio </a:t>
            </a:r>
            <a:r>
              <a:rPr lang="en-US" err="1"/>
              <a:t>euismod</a:t>
            </a:r>
            <a:r>
              <a:rPr lang="en-US"/>
              <a:t> lacinia. </a:t>
            </a:r>
          </a:p>
          <a:p>
            <a:pPr lvl="0"/>
            <a:r>
              <a:rPr lang="en-US" err="1"/>
              <a:t>Condimentum</a:t>
            </a:r>
            <a:r>
              <a:rPr lang="en-US"/>
              <a:t> vitae </a:t>
            </a:r>
            <a:r>
              <a:rPr lang="en-US" err="1"/>
              <a:t>sapien</a:t>
            </a:r>
            <a:r>
              <a:rPr lang="en-US"/>
              <a:t> pellentesque habitant morbi </a:t>
            </a:r>
            <a:r>
              <a:rPr lang="en-US" err="1"/>
              <a:t>tristique</a:t>
            </a:r>
            <a:r>
              <a:rPr lang="en-US"/>
              <a:t>. Sit amet </a:t>
            </a:r>
            <a:r>
              <a:rPr lang="en-US" err="1"/>
              <a:t>mauris</a:t>
            </a:r>
            <a:r>
              <a:rPr lang="en-US"/>
              <a:t> commodo quis. Elementum eu facilisis sed odio morbi quis commodo odio </a:t>
            </a:r>
            <a:r>
              <a:rPr lang="en-US" err="1"/>
              <a:t>aenean</a:t>
            </a:r>
            <a:r>
              <a:rPr lang="en-US"/>
              <a:t>. </a:t>
            </a:r>
          </a:p>
        </p:txBody>
      </p:sp>
      <p:pic>
        <p:nvPicPr>
          <p:cNvPr id="10" name="Graphic 9">
            <a:extLst>
              <a:ext uri="{FF2B5EF4-FFF2-40B4-BE49-F238E27FC236}">
                <a16:creationId xmlns:a16="http://schemas.microsoft.com/office/drawing/2014/main" id="{3605220B-EF3A-C341-85BE-C20E10FEF29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800288" y="6466685"/>
            <a:ext cx="391315" cy="391315"/>
          </a:xfrm>
          <a:prstGeom prst="rect">
            <a:avLst/>
          </a:prstGeom>
        </p:spPr>
      </p:pic>
      <p:sp>
        <p:nvSpPr>
          <p:cNvPr id="9" name="TextBox 8">
            <a:extLst>
              <a:ext uri="{FF2B5EF4-FFF2-40B4-BE49-F238E27FC236}">
                <a16:creationId xmlns:a16="http://schemas.microsoft.com/office/drawing/2014/main" id="{FAEE1FDF-908F-F046-9247-4419999157F6}"/>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11" name="Text Placeholder 4">
            <a:extLst>
              <a:ext uri="{FF2B5EF4-FFF2-40B4-BE49-F238E27FC236}">
                <a16:creationId xmlns:a16="http://schemas.microsoft.com/office/drawing/2014/main" id="{9001D69B-6A70-864A-AF2E-4DD199151F75}"/>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2" name="Title 1">
            <a:extLst>
              <a:ext uri="{FF2B5EF4-FFF2-40B4-BE49-F238E27FC236}">
                <a16:creationId xmlns:a16="http://schemas.microsoft.com/office/drawing/2014/main" id="{585D8A3C-5A7D-9A48-B413-AFFD8981536A}"/>
              </a:ext>
            </a:extLst>
          </p:cNvPr>
          <p:cNvSpPr>
            <a:spLocks noGrp="1"/>
          </p:cNvSpPr>
          <p:nvPr>
            <p:ph type="title" hasCustomPrompt="1"/>
          </p:nvPr>
        </p:nvSpPr>
        <p:spPr>
          <a:xfrm>
            <a:off x="467422" y="816110"/>
            <a:ext cx="6085777" cy="530090"/>
          </a:xfrm>
        </p:spPr>
        <p:txBody>
          <a:bodyPr anchor="t">
            <a:noAutofit/>
          </a:bodyPr>
          <a:lstStyle>
            <a:lvl1pPr>
              <a:defRPr>
                <a:solidFill>
                  <a:srgbClr val="333333"/>
                </a:solidFill>
              </a:defRPr>
            </a:lvl1pPr>
          </a:lstStyle>
          <a:p>
            <a:r>
              <a:rPr lang="en-US"/>
              <a:t>Slide title</a:t>
            </a:r>
          </a:p>
        </p:txBody>
      </p:sp>
      <p:sp>
        <p:nvSpPr>
          <p:cNvPr id="13" name="Text Placeholder 2">
            <a:extLst>
              <a:ext uri="{FF2B5EF4-FFF2-40B4-BE49-F238E27FC236}">
                <a16:creationId xmlns:a16="http://schemas.microsoft.com/office/drawing/2014/main" id="{134ED864-2F6B-9841-93B4-72E9B4AF382D}"/>
              </a:ext>
            </a:extLst>
          </p:cNvPr>
          <p:cNvSpPr>
            <a:spLocks noGrp="1"/>
          </p:cNvSpPr>
          <p:nvPr>
            <p:ph type="body" sz="quarter" idx="23" hasCustomPrompt="1"/>
          </p:nvPr>
        </p:nvSpPr>
        <p:spPr>
          <a:xfrm>
            <a:off x="471051" y="1389073"/>
            <a:ext cx="6082148" cy="384336"/>
          </a:xfrm>
        </p:spPr>
        <p:txBody>
          <a:bodyPr>
            <a:noAutofit/>
          </a:bodyPr>
          <a:lstStyle>
            <a:lvl1pPr marL="0" indent="0">
              <a:lnSpc>
                <a:spcPct val="110000"/>
              </a:lnSpc>
              <a:spcBef>
                <a:spcPts val="0"/>
              </a:spcBef>
              <a:spcAft>
                <a:spcPts val="1600"/>
              </a:spcAft>
              <a:buFont typeface="Arial" panose="020B0604020202020204" pitchFamily="34" charset="0"/>
              <a:buNone/>
              <a:defRPr sz="24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Important subheading goes here:</a:t>
            </a:r>
          </a:p>
        </p:txBody>
      </p:sp>
    </p:spTree>
    <p:extLst>
      <p:ext uri="{BB962C8B-B14F-4D97-AF65-F5344CB8AC3E}">
        <p14:creationId xmlns:p14="http://schemas.microsoft.com/office/powerpoint/2010/main" val="271575024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Phone Screen - black">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844FDC9-1D30-DD4B-9A24-1686F43AF929}"/>
              </a:ext>
            </a:extLst>
          </p:cNvPr>
          <p:cNvSpPr/>
          <p:nvPr userDrawn="1"/>
        </p:nvSpPr>
        <p:spPr>
          <a:xfrm flipH="1">
            <a:off x="7505205" y="0"/>
            <a:ext cx="4686795"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text, mirror, car mirror, screenshot&#10;&#10;Description automatically generated">
            <a:extLst>
              <a:ext uri="{FF2B5EF4-FFF2-40B4-BE49-F238E27FC236}">
                <a16:creationId xmlns:a16="http://schemas.microsoft.com/office/drawing/2014/main" id="{78E1DDC5-B22A-C340-9A2B-8F61158B9AD0}"/>
              </a:ext>
            </a:extLst>
          </p:cNvPr>
          <p:cNvPicPr>
            <a:picLocks noChangeAspect="1"/>
          </p:cNvPicPr>
          <p:nvPr userDrawn="1"/>
        </p:nvPicPr>
        <p:blipFill>
          <a:blip r:embed="rId2"/>
          <a:stretch>
            <a:fillRect/>
          </a:stretch>
        </p:blipFill>
        <p:spPr>
          <a:xfrm>
            <a:off x="8501476" y="657289"/>
            <a:ext cx="2746579" cy="5543422"/>
          </a:xfrm>
          <a:prstGeom prst="rect">
            <a:avLst/>
          </a:prstGeom>
        </p:spPr>
      </p:pic>
      <p:sp>
        <p:nvSpPr>
          <p:cNvPr id="22" name="Picture Placeholder 21">
            <a:extLst>
              <a:ext uri="{FF2B5EF4-FFF2-40B4-BE49-F238E27FC236}">
                <a16:creationId xmlns:a16="http://schemas.microsoft.com/office/drawing/2014/main" id="{BC361F5E-DA4A-6849-8D60-251F84D30BAE}"/>
              </a:ext>
            </a:extLst>
          </p:cNvPr>
          <p:cNvSpPr>
            <a:spLocks noGrp="1"/>
          </p:cNvSpPr>
          <p:nvPr>
            <p:ph type="pic" sz="quarter" idx="11" hasCustomPrompt="1"/>
          </p:nvPr>
        </p:nvSpPr>
        <p:spPr>
          <a:xfrm>
            <a:off x="8660329" y="793750"/>
            <a:ext cx="2428875" cy="5270500"/>
          </a:xfrm>
          <a:custGeom>
            <a:avLst/>
            <a:gdLst>
              <a:gd name="connsiteX0" fmla="*/ 287927 w 2428875"/>
              <a:gd name="connsiteY0" fmla="*/ 0 h 5270500"/>
              <a:gd name="connsiteX1" fmla="*/ 517912 w 2428875"/>
              <a:gd name="connsiteY1" fmla="*/ 0 h 5270500"/>
              <a:gd name="connsiteX2" fmla="*/ 541984 w 2428875"/>
              <a:gd name="connsiteY2" fmla="*/ 9967 h 5270500"/>
              <a:gd name="connsiteX3" fmla="*/ 552493 w 2428875"/>
              <a:gd name="connsiteY3" fmla="*/ 35324 h 5270500"/>
              <a:gd name="connsiteX4" fmla="*/ 552493 w 2428875"/>
              <a:gd name="connsiteY4" fmla="*/ 67599 h 5270500"/>
              <a:gd name="connsiteX5" fmla="*/ 681651 w 2428875"/>
              <a:gd name="connsiteY5" fmla="*/ 196699 h 5270500"/>
              <a:gd name="connsiteX6" fmla="*/ 1732856 w 2428875"/>
              <a:gd name="connsiteY6" fmla="*/ 196699 h 5270500"/>
              <a:gd name="connsiteX7" fmla="*/ 1862014 w 2428875"/>
              <a:gd name="connsiteY7" fmla="*/ 67599 h 5270500"/>
              <a:gd name="connsiteX8" fmla="*/ 1862014 w 2428875"/>
              <a:gd name="connsiteY8" fmla="*/ 35324 h 5270500"/>
              <a:gd name="connsiteX9" fmla="*/ 1872522 w 2428875"/>
              <a:gd name="connsiteY9" fmla="*/ 9967 h 5270500"/>
              <a:gd name="connsiteX10" fmla="*/ 1896594 w 2428875"/>
              <a:gd name="connsiteY10" fmla="*/ 0 h 5270500"/>
              <a:gd name="connsiteX11" fmla="*/ 2130169 w 2428875"/>
              <a:gd name="connsiteY11" fmla="*/ 0 h 5270500"/>
              <a:gd name="connsiteX12" fmla="*/ 2244814 w 2428875"/>
              <a:gd name="connsiteY12" fmla="*/ 23135 h 5270500"/>
              <a:gd name="connsiteX13" fmla="*/ 2422753 w 2428875"/>
              <a:gd name="connsiteY13" fmla="*/ 239987 h 5270500"/>
              <a:gd name="connsiteX14" fmla="*/ 2428875 w 2428875"/>
              <a:gd name="connsiteY14" fmla="*/ 300686 h 5270500"/>
              <a:gd name="connsiteX15" fmla="*/ 2428875 w 2428875"/>
              <a:gd name="connsiteY15" fmla="*/ 4969814 h 5270500"/>
              <a:gd name="connsiteX16" fmla="*/ 2422753 w 2428875"/>
              <a:gd name="connsiteY16" fmla="*/ 5030512 h 5270500"/>
              <a:gd name="connsiteX17" fmla="*/ 2244814 w 2428875"/>
              <a:gd name="connsiteY17" fmla="*/ 5247364 h 5270500"/>
              <a:gd name="connsiteX18" fmla="*/ 2130168 w 2428875"/>
              <a:gd name="connsiteY18" fmla="*/ 5270500 h 5270500"/>
              <a:gd name="connsiteX19" fmla="*/ 287927 w 2428875"/>
              <a:gd name="connsiteY19" fmla="*/ 5270500 h 5270500"/>
              <a:gd name="connsiteX20" fmla="*/ 173281 w 2428875"/>
              <a:gd name="connsiteY20" fmla="*/ 5247364 h 5270500"/>
              <a:gd name="connsiteX21" fmla="*/ 12901 w 2428875"/>
              <a:gd name="connsiteY21" fmla="*/ 5087055 h 5270500"/>
              <a:gd name="connsiteX22" fmla="*/ 0 w 2428875"/>
              <a:gd name="connsiteY22" fmla="*/ 5045514 h 5270500"/>
              <a:gd name="connsiteX23" fmla="*/ 0 w 2428875"/>
              <a:gd name="connsiteY23" fmla="*/ 224984 h 5270500"/>
              <a:gd name="connsiteX24" fmla="*/ 12901 w 2428875"/>
              <a:gd name="connsiteY24" fmla="*/ 183442 h 5270500"/>
              <a:gd name="connsiteX25" fmla="*/ 173281 w 2428875"/>
              <a:gd name="connsiteY25" fmla="*/ 23135 h 527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8875" h="5270500">
                <a:moveTo>
                  <a:pt x="287927" y="0"/>
                </a:moveTo>
                <a:lnTo>
                  <a:pt x="517912" y="0"/>
                </a:lnTo>
                <a:lnTo>
                  <a:pt x="541984" y="9967"/>
                </a:lnTo>
                <a:cubicBezTo>
                  <a:pt x="548477" y="16456"/>
                  <a:pt x="552493" y="25421"/>
                  <a:pt x="552493" y="35324"/>
                </a:cubicBezTo>
                <a:lnTo>
                  <a:pt x="552493" y="67599"/>
                </a:lnTo>
                <a:cubicBezTo>
                  <a:pt x="552493" y="138898"/>
                  <a:pt x="610319" y="196699"/>
                  <a:pt x="681651" y="196699"/>
                </a:cubicBezTo>
                <a:lnTo>
                  <a:pt x="1732856" y="196699"/>
                </a:lnTo>
                <a:cubicBezTo>
                  <a:pt x="1804188" y="196699"/>
                  <a:pt x="1862014" y="138898"/>
                  <a:pt x="1862014" y="67599"/>
                </a:cubicBezTo>
                <a:lnTo>
                  <a:pt x="1862014" y="35324"/>
                </a:lnTo>
                <a:cubicBezTo>
                  <a:pt x="1862014" y="25421"/>
                  <a:pt x="1866030" y="16456"/>
                  <a:pt x="1872522" y="9967"/>
                </a:cubicBezTo>
                <a:lnTo>
                  <a:pt x="1896594" y="0"/>
                </a:lnTo>
                <a:lnTo>
                  <a:pt x="2130169" y="0"/>
                </a:lnTo>
                <a:lnTo>
                  <a:pt x="2244814" y="23135"/>
                </a:lnTo>
                <a:cubicBezTo>
                  <a:pt x="2334952" y="61243"/>
                  <a:pt x="2402681" y="141939"/>
                  <a:pt x="2422753" y="239987"/>
                </a:cubicBezTo>
                <a:lnTo>
                  <a:pt x="2428875" y="300686"/>
                </a:lnTo>
                <a:lnTo>
                  <a:pt x="2428875" y="4969814"/>
                </a:lnTo>
                <a:lnTo>
                  <a:pt x="2422753" y="5030512"/>
                </a:lnTo>
                <a:cubicBezTo>
                  <a:pt x="2402681" y="5128557"/>
                  <a:pt x="2334952" y="5209255"/>
                  <a:pt x="2244814" y="5247364"/>
                </a:cubicBezTo>
                <a:lnTo>
                  <a:pt x="2130168" y="5270500"/>
                </a:lnTo>
                <a:lnTo>
                  <a:pt x="287927" y="5270500"/>
                </a:lnTo>
                <a:lnTo>
                  <a:pt x="173281" y="5247364"/>
                </a:lnTo>
                <a:cubicBezTo>
                  <a:pt x="101170" y="5216876"/>
                  <a:pt x="43401" y="5159132"/>
                  <a:pt x="12901" y="5087055"/>
                </a:cubicBezTo>
                <a:lnTo>
                  <a:pt x="0" y="5045514"/>
                </a:lnTo>
                <a:lnTo>
                  <a:pt x="0" y="224984"/>
                </a:lnTo>
                <a:lnTo>
                  <a:pt x="12901" y="183442"/>
                </a:lnTo>
                <a:cubicBezTo>
                  <a:pt x="43401" y="111364"/>
                  <a:pt x="101170" y="53622"/>
                  <a:pt x="173281" y="23135"/>
                </a:cubicBezTo>
                <a:close/>
              </a:path>
            </a:pathLst>
          </a:custGeom>
          <a:ln w="12700">
            <a:solidFill>
              <a:srgbClr val="4D4D4D"/>
            </a:solidFill>
          </a:ln>
        </p:spPr>
        <p:txBody>
          <a:bodyPr wrap="square" lIns="180000" rIns="180000" anchor="ctr">
            <a:noAutofit/>
          </a:bodyPr>
          <a:lstStyle>
            <a:lvl1pPr marL="0" indent="0" algn="ctr">
              <a:lnSpc>
                <a:spcPct val="100000"/>
              </a:lnSpc>
              <a:spcBef>
                <a:spcPts val="0"/>
              </a:spcBef>
              <a:buNone/>
              <a:defRPr sz="2000" b="1">
                <a:solidFill>
                  <a:schemeClr val="bg1"/>
                </a:solidFill>
              </a:defRPr>
            </a:lvl1pPr>
          </a:lstStyle>
          <a:p>
            <a:r>
              <a:rPr lang="en-US"/>
              <a:t>Drag and drop iPhone screen here</a:t>
            </a:r>
          </a:p>
        </p:txBody>
      </p:sp>
      <p:sp>
        <p:nvSpPr>
          <p:cNvPr id="9" name="Text Placeholder 10">
            <a:extLst>
              <a:ext uri="{FF2B5EF4-FFF2-40B4-BE49-F238E27FC236}">
                <a16:creationId xmlns:a16="http://schemas.microsoft.com/office/drawing/2014/main" id="{E1361928-BA60-0243-AF11-37EB60F3E288}"/>
              </a:ext>
            </a:extLst>
          </p:cNvPr>
          <p:cNvSpPr>
            <a:spLocks noGrp="1"/>
          </p:cNvSpPr>
          <p:nvPr>
            <p:ph type="body" sz="quarter" idx="13" hasCustomPrompt="1"/>
          </p:nvPr>
        </p:nvSpPr>
        <p:spPr>
          <a:xfrm>
            <a:off x="471451" y="519264"/>
            <a:ext cx="6342707" cy="238281"/>
          </a:xfrm>
        </p:spPr>
        <p:txBody>
          <a:bodyPr wrap="square">
            <a:noAutofit/>
          </a:bodyPr>
          <a:lstStyle>
            <a:lvl1pPr marL="0" indent="0">
              <a:buNone/>
              <a:defRPr sz="1600" b="1" i="0" cap="all" spc="100" baseline="0">
                <a:solidFill>
                  <a:srgbClr val="EC111A"/>
                </a:solidFill>
                <a:latin typeface="+mj-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CA"/>
          </a:p>
        </p:txBody>
      </p:sp>
      <p:sp>
        <p:nvSpPr>
          <p:cNvPr id="10" name="Text Placeholder 10">
            <a:extLst>
              <a:ext uri="{FF2B5EF4-FFF2-40B4-BE49-F238E27FC236}">
                <a16:creationId xmlns:a16="http://schemas.microsoft.com/office/drawing/2014/main" id="{A635C0F2-5C5E-8242-B5B8-272BDABFF2AF}"/>
              </a:ext>
            </a:extLst>
          </p:cNvPr>
          <p:cNvSpPr>
            <a:spLocks noGrp="1"/>
          </p:cNvSpPr>
          <p:nvPr>
            <p:ph type="body" sz="quarter" idx="14" hasCustomPrompt="1"/>
          </p:nvPr>
        </p:nvSpPr>
        <p:spPr>
          <a:xfrm>
            <a:off x="471451" y="2564703"/>
            <a:ext cx="6342707" cy="3397686"/>
          </a:xfrm>
        </p:spPr>
        <p:txBody>
          <a:bodyPr wrap="square">
            <a:noAutofit/>
          </a:bodyPr>
          <a:lstStyle>
            <a:lvl1pPr marL="285750" indent="-285750">
              <a:lnSpc>
                <a:spcPct val="110000"/>
              </a:lnSpc>
              <a:spcBef>
                <a:spcPts val="0"/>
              </a:spcBef>
              <a:spcAft>
                <a:spcPts val="1400"/>
              </a:spcAft>
              <a:buFont typeface="Arial" panose="020B0604020202020204" pitchFamily="34" charset="0"/>
              <a:buChar char="•"/>
              <a:defRPr sz="14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a:t>
            </a:r>
          </a:p>
          <a:p>
            <a:pPr lvl="0"/>
            <a:r>
              <a:rPr lang="en-US"/>
              <a:t>Dolor sed viverra ipsum nunc aliquet bibendum enim facilisis. Feugiat in ante metus dictum. Venenatis urna cursus eget nunc. </a:t>
            </a:r>
          </a:p>
          <a:p>
            <a:pPr lvl="0"/>
            <a:r>
              <a:rPr lang="en-US"/>
              <a:t>Vitae purus </a:t>
            </a:r>
            <a:r>
              <a:rPr lang="en-US" err="1"/>
              <a:t>faucibus</a:t>
            </a:r>
            <a:r>
              <a:rPr lang="en-US"/>
              <a:t> </a:t>
            </a:r>
            <a:r>
              <a:rPr lang="en-US" err="1"/>
              <a:t>ornare</a:t>
            </a:r>
            <a:r>
              <a:rPr lang="en-US"/>
              <a:t> suspendisse sed nisi </a:t>
            </a:r>
            <a:r>
              <a:rPr lang="en-US" err="1"/>
              <a:t>lacus</a:t>
            </a:r>
            <a:r>
              <a:rPr lang="en-US"/>
              <a:t> sed. Diam </a:t>
            </a:r>
            <a:r>
              <a:rPr lang="en-US" err="1"/>
              <a:t>vulputate</a:t>
            </a:r>
            <a:r>
              <a:rPr lang="en-US"/>
              <a:t> ut pharetra sit. Sit amet </a:t>
            </a:r>
            <a:r>
              <a:rPr lang="en-US" err="1"/>
              <a:t>mattis</a:t>
            </a:r>
            <a:r>
              <a:rPr lang="en-US"/>
              <a:t> </a:t>
            </a:r>
            <a:r>
              <a:rPr lang="en-US" err="1"/>
              <a:t>vulputate</a:t>
            </a:r>
            <a:r>
              <a:rPr lang="en-US"/>
              <a:t> enim nulla aliquet </a:t>
            </a:r>
            <a:r>
              <a:rPr lang="en-US" err="1"/>
              <a:t>porttitor</a:t>
            </a:r>
            <a:r>
              <a:rPr lang="en-US"/>
              <a:t>.</a:t>
            </a:r>
          </a:p>
          <a:p>
            <a:pPr lvl="0"/>
            <a:r>
              <a:rPr lang="en-US"/>
              <a:t>Tortor </a:t>
            </a:r>
            <a:r>
              <a:rPr lang="en-US" err="1"/>
              <a:t>posuere</a:t>
            </a:r>
            <a:r>
              <a:rPr lang="en-US"/>
              <a:t> ac ut </a:t>
            </a:r>
            <a:r>
              <a:rPr lang="en-US" err="1"/>
              <a:t>consequat</a:t>
            </a:r>
            <a:r>
              <a:rPr lang="en-US"/>
              <a:t> semper. Vestibulum sed arcu non odio </a:t>
            </a:r>
            <a:r>
              <a:rPr lang="en-US" err="1"/>
              <a:t>euismod</a:t>
            </a:r>
            <a:r>
              <a:rPr lang="en-US"/>
              <a:t> lacinia. </a:t>
            </a:r>
          </a:p>
          <a:p>
            <a:pPr lvl="0"/>
            <a:r>
              <a:rPr lang="en-US" err="1"/>
              <a:t>Condimentum</a:t>
            </a:r>
            <a:r>
              <a:rPr lang="en-US"/>
              <a:t> vitae </a:t>
            </a:r>
            <a:r>
              <a:rPr lang="en-US" err="1"/>
              <a:t>sapien</a:t>
            </a:r>
            <a:r>
              <a:rPr lang="en-US"/>
              <a:t> pellentesque habitant morbi </a:t>
            </a:r>
            <a:r>
              <a:rPr lang="en-US" err="1"/>
              <a:t>tristique</a:t>
            </a:r>
            <a:r>
              <a:rPr lang="en-US"/>
              <a:t>. Sit amet </a:t>
            </a:r>
            <a:r>
              <a:rPr lang="en-US" err="1"/>
              <a:t>mauris</a:t>
            </a:r>
            <a:r>
              <a:rPr lang="en-US"/>
              <a:t> commodo quis. Elementum eu facilisis sed odio morbi quis commodo odio </a:t>
            </a:r>
            <a:r>
              <a:rPr lang="en-US" err="1"/>
              <a:t>aenean</a:t>
            </a:r>
            <a:r>
              <a:rPr lang="en-US"/>
              <a:t>. </a:t>
            </a:r>
          </a:p>
        </p:txBody>
      </p:sp>
      <p:pic>
        <p:nvPicPr>
          <p:cNvPr id="12" name="Graphic 11">
            <a:extLst>
              <a:ext uri="{FF2B5EF4-FFF2-40B4-BE49-F238E27FC236}">
                <a16:creationId xmlns:a16="http://schemas.microsoft.com/office/drawing/2014/main" id="{E00C02DB-FD9A-8E43-B53B-ADA65DFEDE9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E6FB2951-E5F4-7B4D-83D4-CD64C3A1E112}"/>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13" name="Text Placeholder 4">
            <a:extLst>
              <a:ext uri="{FF2B5EF4-FFF2-40B4-BE49-F238E27FC236}">
                <a16:creationId xmlns:a16="http://schemas.microsoft.com/office/drawing/2014/main" id="{A3296BB6-B557-0D4D-8886-17AEE7E29BC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4" name="Title 1">
            <a:extLst>
              <a:ext uri="{FF2B5EF4-FFF2-40B4-BE49-F238E27FC236}">
                <a16:creationId xmlns:a16="http://schemas.microsoft.com/office/drawing/2014/main" id="{56E1E8A9-0A33-0549-8983-366E22AB619A}"/>
              </a:ext>
            </a:extLst>
          </p:cNvPr>
          <p:cNvSpPr>
            <a:spLocks noGrp="1"/>
          </p:cNvSpPr>
          <p:nvPr>
            <p:ph type="title" hasCustomPrompt="1"/>
          </p:nvPr>
        </p:nvSpPr>
        <p:spPr>
          <a:xfrm>
            <a:off x="467422" y="816110"/>
            <a:ext cx="6085777" cy="530090"/>
          </a:xfrm>
        </p:spPr>
        <p:txBody>
          <a:bodyPr anchor="t">
            <a:noAutofit/>
          </a:bodyPr>
          <a:lstStyle>
            <a:lvl1pPr>
              <a:defRPr>
                <a:solidFill>
                  <a:srgbClr val="333333"/>
                </a:solidFill>
              </a:defRPr>
            </a:lvl1pPr>
          </a:lstStyle>
          <a:p>
            <a:r>
              <a:rPr lang="en-US"/>
              <a:t>Slide title</a:t>
            </a:r>
          </a:p>
        </p:txBody>
      </p:sp>
    </p:spTree>
    <p:extLst>
      <p:ext uri="{BB962C8B-B14F-4D97-AF65-F5344CB8AC3E}">
        <p14:creationId xmlns:p14="http://schemas.microsoft.com/office/powerpoint/2010/main" val="193645129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ebsite Screen">
    <p:bg>
      <p:bgPr>
        <a:solidFill>
          <a:srgbClr val="F6F6F6"/>
        </a:solidFill>
        <a:effectLst/>
      </p:bgPr>
    </p:bg>
    <p:spTree>
      <p:nvGrpSpPr>
        <p:cNvPr id="1" name=""/>
        <p:cNvGrpSpPr/>
        <p:nvPr/>
      </p:nvGrpSpPr>
      <p:grpSpPr>
        <a:xfrm>
          <a:off x="0" y="0"/>
          <a:ext cx="0" cy="0"/>
          <a:chOff x="0" y="0"/>
          <a:chExt cx="0" cy="0"/>
        </a:xfrm>
      </p:grpSpPr>
      <p:pic>
        <p:nvPicPr>
          <p:cNvPr id="9" name="Picture 8" descr="Graphical user interface&#10;&#10;Description automatically generated with medium confidence">
            <a:extLst>
              <a:ext uri="{FF2B5EF4-FFF2-40B4-BE49-F238E27FC236}">
                <a16:creationId xmlns:a16="http://schemas.microsoft.com/office/drawing/2014/main" id="{2DBD3B92-7D7E-BC4D-B6D1-013C6338F0F5}"/>
              </a:ext>
            </a:extLst>
          </p:cNvPr>
          <p:cNvPicPr>
            <a:picLocks noChangeAspect="1"/>
          </p:cNvPicPr>
          <p:nvPr userDrawn="1"/>
        </p:nvPicPr>
        <p:blipFill>
          <a:blip r:embed="rId2"/>
          <a:stretch>
            <a:fillRect/>
          </a:stretch>
        </p:blipFill>
        <p:spPr>
          <a:xfrm>
            <a:off x="12665529" y="0"/>
            <a:ext cx="2715319" cy="3070679"/>
          </a:xfrm>
          <a:prstGeom prst="rect">
            <a:avLst/>
          </a:prstGeom>
        </p:spPr>
      </p:pic>
      <p:sp>
        <p:nvSpPr>
          <p:cNvPr id="3" name="Picture Placeholder 2">
            <a:extLst>
              <a:ext uri="{FF2B5EF4-FFF2-40B4-BE49-F238E27FC236}">
                <a16:creationId xmlns:a16="http://schemas.microsoft.com/office/drawing/2014/main" id="{4A1B2F42-E590-4748-88DA-26B2D332577C}"/>
              </a:ext>
            </a:extLst>
          </p:cNvPr>
          <p:cNvSpPr>
            <a:spLocks noGrp="1"/>
          </p:cNvSpPr>
          <p:nvPr>
            <p:ph type="pic" sz="quarter" idx="10" hasCustomPrompt="1"/>
          </p:nvPr>
        </p:nvSpPr>
        <p:spPr>
          <a:xfrm>
            <a:off x="905328" y="674557"/>
            <a:ext cx="5407025" cy="6197600"/>
          </a:xfrm>
          <a:noFill/>
          <a:effectLst>
            <a:outerShdw blurRad="254000" algn="ctr" rotWithShape="0">
              <a:srgbClr val="949494">
                <a:alpha val="15000"/>
              </a:srgbClr>
            </a:outerShdw>
          </a:effectLst>
        </p:spPr>
        <p:txBody>
          <a:bodyPr anchor="ctr"/>
          <a:lstStyle>
            <a:lvl1pPr marL="0" indent="0" algn="ctr">
              <a:buNone/>
              <a:defRPr b="1"/>
            </a:lvl1pPr>
          </a:lstStyle>
          <a:p>
            <a:r>
              <a:rPr lang="en-CA"/>
              <a:t>Website screengrab</a:t>
            </a:r>
          </a:p>
        </p:txBody>
      </p:sp>
      <p:pic>
        <p:nvPicPr>
          <p:cNvPr id="5" name="Picture 4" descr="A screenshot of a cell phone&#10;&#10;Description automatically generated with medium confidence">
            <a:extLst>
              <a:ext uri="{FF2B5EF4-FFF2-40B4-BE49-F238E27FC236}">
                <a16:creationId xmlns:a16="http://schemas.microsoft.com/office/drawing/2014/main" id="{79A56849-AD04-AC4F-AD7F-2065B2F00004}"/>
              </a:ext>
            </a:extLst>
          </p:cNvPr>
          <p:cNvPicPr>
            <a:picLocks noChangeAspect="1"/>
          </p:cNvPicPr>
          <p:nvPr userDrawn="1"/>
        </p:nvPicPr>
        <p:blipFill>
          <a:blip r:embed="rId3"/>
          <a:stretch>
            <a:fillRect/>
          </a:stretch>
        </p:blipFill>
        <p:spPr>
          <a:xfrm>
            <a:off x="12745330" y="3354963"/>
            <a:ext cx="1400760" cy="3321050"/>
          </a:xfrm>
          <a:prstGeom prst="rect">
            <a:avLst/>
          </a:prstGeom>
        </p:spPr>
      </p:pic>
      <p:sp>
        <p:nvSpPr>
          <p:cNvPr id="11" name="Text Placeholder 10">
            <a:extLst>
              <a:ext uri="{FF2B5EF4-FFF2-40B4-BE49-F238E27FC236}">
                <a16:creationId xmlns:a16="http://schemas.microsoft.com/office/drawing/2014/main" id="{F3845AFD-F9A0-FE4E-9A00-2213991468D2}"/>
              </a:ext>
            </a:extLst>
          </p:cNvPr>
          <p:cNvSpPr>
            <a:spLocks noGrp="1"/>
          </p:cNvSpPr>
          <p:nvPr>
            <p:ph type="body" sz="quarter" idx="11" hasCustomPrompt="1"/>
          </p:nvPr>
        </p:nvSpPr>
        <p:spPr>
          <a:xfrm>
            <a:off x="7046913" y="1853280"/>
            <a:ext cx="4351337" cy="476562"/>
          </a:xfrm>
        </p:spPr>
        <p:txBody>
          <a:bodyPr wrap="square">
            <a:noAutofit/>
          </a:bodyPr>
          <a:lstStyle>
            <a:lvl1pPr marL="0" indent="0">
              <a:buNone/>
              <a:defRPr sz="4000" b="1" i="0">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a:t>
            </a:r>
            <a:endParaRPr lang="en-CA"/>
          </a:p>
        </p:txBody>
      </p:sp>
      <p:sp>
        <p:nvSpPr>
          <p:cNvPr id="16" name="Text Placeholder 10">
            <a:extLst>
              <a:ext uri="{FF2B5EF4-FFF2-40B4-BE49-F238E27FC236}">
                <a16:creationId xmlns:a16="http://schemas.microsoft.com/office/drawing/2014/main" id="{D3867B6E-2903-BB4F-B131-3F8000AA5FD8}"/>
              </a:ext>
            </a:extLst>
          </p:cNvPr>
          <p:cNvSpPr>
            <a:spLocks noGrp="1"/>
          </p:cNvSpPr>
          <p:nvPr>
            <p:ph type="body" sz="quarter" idx="12" hasCustomPrompt="1"/>
          </p:nvPr>
        </p:nvSpPr>
        <p:spPr>
          <a:xfrm>
            <a:off x="7046913" y="2477173"/>
            <a:ext cx="4351337" cy="476562"/>
          </a:xfrm>
        </p:spPr>
        <p:txBody>
          <a:bodyPr wrap="square">
            <a:noAutofit/>
          </a:bodyPr>
          <a:lstStyle>
            <a:lvl1pPr marL="0" indent="0">
              <a:buNone/>
              <a:defRPr sz="28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mportant subheading</a:t>
            </a:r>
            <a:endParaRPr lang="en-CA"/>
          </a:p>
        </p:txBody>
      </p:sp>
      <p:sp>
        <p:nvSpPr>
          <p:cNvPr id="17" name="Text Placeholder 10">
            <a:extLst>
              <a:ext uri="{FF2B5EF4-FFF2-40B4-BE49-F238E27FC236}">
                <a16:creationId xmlns:a16="http://schemas.microsoft.com/office/drawing/2014/main" id="{1B11D73E-F7DC-8B48-98AD-45E2D2DCD6EB}"/>
              </a:ext>
            </a:extLst>
          </p:cNvPr>
          <p:cNvSpPr>
            <a:spLocks noGrp="1"/>
          </p:cNvSpPr>
          <p:nvPr>
            <p:ph type="body" sz="quarter" idx="13" hasCustomPrompt="1"/>
          </p:nvPr>
        </p:nvSpPr>
        <p:spPr>
          <a:xfrm>
            <a:off x="7046913" y="3429000"/>
            <a:ext cx="4351337" cy="1736173"/>
          </a:xfrm>
        </p:spPr>
        <p:txBody>
          <a:bodyPr wrap="square">
            <a:noAutofit/>
          </a:bodyPr>
          <a:lstStyle>
            <a:lvl1pPr marL="0" indent="0">
              <a:lnSpc>
                <a:spcPct val="110000"/>
              </a:lnSpc>
              <a:buNone/>
              <a:defRPr sz="14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Dolor sed viverra ipsum nunc aliquet bibendum enim facilisis. Feugiat in ante metus dictum. Venenatis urna cursus eget nunc. Vitae purus </a:t>
            </a:r>
            <a:r>
              <a:rPr lang="en-US" err="1"/>
              <a:t>faucibus</a:t>
            </a:r>
            <a:r>
              <a:rPr lang="en-US"/>
              <a:t> </a:t>
            </a:r>
            <a:r>
              <a:rPr lang="en-US" err="1"/>
              <a:t>ornare</a:t>
            </a:r>
            <a:r>
              <a:rPr lang="en-US"/>
              <a:t> suspendisse sed nisi </a:t>
            </a:r>
            <a:r>
              <a:rPr lang="en-US" err="1"/>
              <a:t>lacus</a:t>
            </a:r>
            <a:r>
              <a:rPr lang="en-US"/>
              <a:t> sed. Diam </a:t>
            </a:r>
            <a:r>
              <a:rPr lang="en-US" err="1"/>
              <a:t>vulputate</a:t>
            </a:r>
            <a:r>
              <a:rPr lang="en-US"/>
              <a:t> ut pharetra sit. Sit amet </a:t>
            </a:r>
            <a:r>
              <a:rPr lang="en-US" err="1"/>
              <a:t>mattis</a:t>
            </a:r>
            <a:r>
              <a:rPr lang="en-US"/>
              <a:t> </a:t>
            </a:r>
            <a:r>
              <a:rPr lang="en-US" err="1"/>
              <a:t>vulputate</a:t>
            </a:r>
            <a:r>
              <a:rPr lang="en-US"/>
              <a:t> enim nulla aliquet </a:t>
            </a:r>
            <a:r>
              <a:rPr lang="en-US" err="1"/>
              <a:t>porttitor</a:t>
            </a:r>
            <a:r>
              <a:rPr lang="en-US"/>
              <a:t>. </a:t>
            </a:r>
          </a:p>
        </p:txBody>
      </p:sp>
      <p:pic>
        <p:nvPicPr>
          <p:cNvPr id="12" name="Graphic 11">
            <a:extLst>
              <a:ext uri="{FF2B5EF4-FFF2-40B4-BE49-F238E27FC236}">
                <a16:creationId xmlns:a16="http://schemas.microsoft.com/office/drawing/2014/main" id="{378B910C-E7C3-8545-8AE6-AD2F5637405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800288" y="6466685"/>
            <a:ext cx="391315" cy="391315"/>
          </a:xfrm>
          <a:prstGeom prst="rect">
            <a:avLst/>
          </a:prstGeom>
        </p:spPr>
      </p:pic>
      <p:sp>
        <p:nvSpPr>
          <p:cNvPr id="10" name="TextBox 9">
            <a:extLst>
              <a:ext uri="{FF2B5EF4-FFF2-40B4-BE49-F238E27FC236}">
                <a16:creationId xmlns:a16="http://schemas.microsoft.com/office/drawing/2014/main" id="{07FCB904-5C2E-BE4B-AE7E-D148C3CCA0E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13" name="Text Placeholder 4">
            <a:extLst>
              <a:ext uri="{FF2B5EF4-FFF2-40B4-BE49-F238E27FC236}">
                <a16:creationId xmlns:a16="http://schemas.microsoft.com/office/drawing/2014/main" id="{2F11D801-3294-A048-8C6B-309FD3F2A6F7}"/>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39057908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ebsite Screen with laptop">
    <p:bg>
      <p:bgPr>
        <a:solidFill>
          <a:srgbClr val="F6F6F6"/>
        </a:solidFill>
        <a:effectLst/>
      </p:bgPr>
    </p:bg>
    <p:spTree>
      <p:nvGrpSpPr>
        <p:cNvPr id="1" name=""/>
        <p:cNvGrpSpPr/>
        <p:nvPr/>
      </p:nvGrpSpPr>
      <p:grpSpPr>
        <a:xfrm>
          <a:off x="0" y="0"/>
          <a:ext cx="0" cy="0"/>
          <a:chOff x="0" y="0"/>
          <a:chExt cx="0" cy="0"/>
        </a:xfrm>
      </p:grpSpPr>
      <p:pic>
        <p:nvPicPr>
          <p:cNvPr id="20" name="Picture 19" descr="A picture containing graphical user interface&#10;&#10;Description automatically generated">
            <a:extLst>
              <a:ext uri="{FF2B5EF4-FFF2-40B4-BE49-F238E27FC236}">
                <a16:creationId xmlns:a16="http://schemas.microsoft.com/office/drawing/2014/main" id="{4E65621A-B41F-6545-8F01-E91812F09830}"/>
              </a:ext>
            </a:extLst>
          </p:cNvPr>
          <p:cNvPicPr>
            <a:picLocks noChangeAspect="1"/>
          </p:cNvPicPr>
          <p:nvPr/>
        </p:nvPicPr>
        <p:blipFill>
          <a:blip r:embed="rId2"/>
          <a:stretch>
            <a:fillRect/>
          </a:stretch>
        </p:blipFill>
        <p:spPr>
          <a:xfrm>
            <a:off x="3869049" y="965543"/>
            <a:ext cx="8718636" cy="4926914"/>
          </a:xfrm>
          <a:prstGeom prst="rect">
            <a:avLst/>
          </a:prstGeom>
        </p:spPr>
      </p:pic>
      <p:sp>
        <p:nvSpPr>
          <p:cNvPr id="3" name="Picture Placeholder 2">
            <a:extLst>
              <a:ext uri="{FF2B5EF4-FFF2-40B4-BE49-F238E27FC236}">
                <a16:creationId xmlns:a16="http://schemas.microsoft.com/office/drawing/2014/main" id="{4A1B2F42-E590-4748-88DA-26B2D332577C}"/>
              </a:ext>
            </a:extLst>
          </p:cNvPr>
          <p:cNvSpPr>
            <a:spLocks noGrp="1"/>
          </p:cNvSpPr>
          <p:nvPr>
            <p:ph type="pic" sz="quarter" idx="10" hasCustomPrompt="1"/>
          </p:nvPr>
        </p:nvSpPr>
        <p:spPr>
          <a:xfrm>
            <a:off x="4872034" y="1247265"/>
            <a:ext cx="6706809" cy="4206478"/>
          </a:xfrm>
          <a:solidFill>
            <a:srgbClr val="949494"/>
          </a:solidFill>
          <a:effectLst>
            <a:outerShdw blurRad="254000" algn="ctr" rotWithShape="0">
              <a:srgbClr val="949494">
                <a:alpha val="15000"/>
              </a:srgbClr>
            </a:outerShdw>
          </a:effectLst>
        </p:spPr>
        <p:txBody>
          <a:bodyPr anchor="ctr"/>
          <a:lstStyle>
            <a:lvl1pPr marL="0" indent="0" algn="ctr">
              <a:buNone/>
              <a:defRPr b="1">
                <a:solidFill>
                  <a:schemeClr val="bg1"/>
                </a:solidFill>
              </a:defRPr>
            </a:lvl1pPr>
          </a:lstStyle>
          <a:p>
            <a:r>
              <a:rPr lang="en-CA"/>
              <a:t>Website screengrab</a:t>
            </a:r>
          </a:p>
        </p:txBody>
      </p:sp>
      <p:sp>
        <p:nvSpPr>
          <p:cNvPr id="17" name="Text Placeholder 10">
            <a:extLst>
              <a:ext uri="{FF2B5EF4-FFF2-40B4-BE49-F238E27FC236}">
                <a16:creationId xmlns:a16="http://schemas.microsoft.com/office/drawing/2014/main" id="{1B11D73E-F7DC-8B48-98AD-45E2D2DCD6EB}"/>
              </a:ext>
            </a:extLst>
          </p:cNvPr>
          <p:cNvSpPr>
            <a:spLocks noGrp="1"/>
          </p:cNvSpPr>
          <p:nvPr>
            <p:ph type="body" sz="quarter" idx="13" hasCustomPrompt="1"/>
          </p:nvPr>
        </p:nvSpPr>
        <p:spPr>
          <a:xfrm>
            <a:off x="758371" y="1371600"/>
            <a:ext cx="3366001" cy="3477986"/>
          </a:xfrm>
        </p:spPr>
        <p:txBody>
          <a:bodyPr wrap="square">
            <a:noAutofit/>
          </a:bodyPr>
          <a:lstStyle>
            <a:lvl1pPr marL="0" indent="0">
              <a:lnSpc>
                <a:spcPct val="110000"/>
              </a:lnSpc>
              <a:buNone/>
              <a:defRPr sz="22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Dolor sed viverra ipsum nunc aliquet bibendum enim facilisis. Feugiat in ante metus dictum. </a:t>
            </a:r>
          </a:p>
        </p:txBody>
      </p:sp>
      <p:pic>
        <p:nvPicPr>
          <p:cNvPr id="12" name="Graphic 11">
            <a:extLst>
              <a:ext uri="{FF2B5EF4-FFF2-40B4-BE49-F238E27FC236}">
                <a16:creationId xmlns:a16="http://schemas.microsoft.com/office/drawing/2014/main" id="{378B910C-E7C3-8545-8AE6-AD2F563740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800288" y="6466685"/>
            <a:ext cx="391315" cy="391315"/>
          </a:xfrm>
          <a:prstGeom prst="rect">
            <a:avLst/>
          </a:prstGeom>
        </p:spPr>
      </p:pic>
      <p:sp>
        <p:nvSpPr>
          <p:cNvPr id="22" name="TextBox 21">
            <a:extLst>
              <a:ext uri="{FF2B5EF4-FFF2-40B4-BE49-F238E27FC236}">
                <a16:creationId xmlns:a16="http://schemas.microsoft.com/office/drawing/2014/main" id="{75092BE7-FE37-4246-B575-4C5408CC278B}"/>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23" name="Text Placeholder 4">
            <a:extLst>
              <a:ext uri="{FF2B5EF4-FFF2-40B4-BE49-F238E27FC236}">
                <a16:creationId xmlns:a16="http://schemas.microsoft.com/office/drawing/2014/main" id="{F9CF84A7-63BA-084A-BA7C-14371D7A5B9E}"/>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385700337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am headshot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69292610-3493-BE43-9971-6B14D758BFB5}"/>
              </a:ext>
            </a:extLst>
          </p:cNvPr>
          <p:cNvSpPr>
            <a:spLocks noGrp="1"/>
          </p:cNvSpPr>
          <p:nvPr>
            <p:ph type="pic" sz="quarter" idx="13"/>
          </p:nvPr>
        </p:nvSpPr>
        <p:spPr>
          <a:xfrm>
            <a:off x="684705"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34" name="Text Placeholder 33">
            <a:extLst>
              <a:ext uri="{FF2B5EF4-FFF2-40B4-BE49-F238E27FC236}">
                <a16:creationId xmlns:a16="http://schemas.microsoft.com/office/drawing/2014/main" id="{8E9EBD9D-1985-2B44-97F1-DF9B9176AD3E}"/>
              </a:ext>
            </a:extLst>
          </p:cNvPr>
          <p:cNvSpPr>
            <a:spLocks noGrp="1"/>
          </p:cNvSpPr>
          <p:nvPr>
            <p:ph type="body" sz="quarter" idx="12" hasCustomPrompt="1"/>
          </p:nvPr>
        </p:nvSpPr>
        <p:spPr>
          <a:xfrm>
            <a:off x="425632"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39" name="Picture Placeholder 38">
            <a:extLst>
              <a:ext uri="{FF2B5EF4-FFF2-40B4-BE49-F238E27FC236}">
                <a16:creationId xmlns:a16="http://schemas.microsoft.com/office/drawing/2014/main" id="{5D0BB6E9-3AA8-044E-84F0-5F63DE5C93F7}"/>
              </a:ext>
            </a:extLst>
          </p:cNvPr>
          <p:cNvSpPr>
            <a:spLocks noGrp="1"/>
          </p:cNvSpPr>
          <p:nvPr>
            <p:ph type="pic" sz="quarter" idx="14"/>
          </p:nvPr>
        </p:nvSpPr>
        <p:spPr>
          <a:xfrm>
            <a:off x="2607639"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0" name="Picture Placeholder 39">
            <a:extLst>
              <a:ext uri="{FF2B5EF4-FFF2-40B4-BE49-F238E27FC236}">
                <a16:creationId xmlns:a16="http://schemas.microsoft.com/office/drawing/2014/main" id="{357A3C9A-67AC-2644-A53E-A24944E05C26}"/>
              </a:ext>
            </a:extLst>
          </p:cNvPr>
          <p:cNvSpPr>
            <a:spLocks noGrp="1"/>
          </p:cNvSpPr>
          <p:nvPr>
            <p:ph type="pic" sz="quarter" idx="15"/>
          </p:nvPr>
        </p:nvSpPr>
        <p:spPr>
          <a:xfrm>
            <a:off x="4515986"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1" name="Picture Placeholder 40">
            <a:extLst>
              <a:ext uri="{FF2B5EF4-FFF2-40B4-BE49-F238E27FC236}">
                <a16:creationId xmlns:a16="http://schemas.microsoft.com/office/drawing/2014/main" id="{F0FA1631-02F2-524F-99EB-D43B3CCA17BF}"/>
              </a:ext>
            </a:extLst>
          </p:cNvPr>
          <p:cNvSpPr>
            <a:spLocks noGrp="1"/>
          </p:cNvSpPr>
          <p:nvPr>
            <p:ph type="pic" sz="quarter" idx="16"/>
          </p:nvPr>
        </p:nvSpPr>
        <p:spPr>
          <a:xfrm>
            <a:off x="6452177"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2" name="Picture Placeholder 41">
            <a:extLst>
              <a:ext uri="{FF2B5EF4-FFF2-40B4-BE49-F238E27FC236}">
                <a16:creationId xmlns:a16="http://schemas.microsoft.com/office/drawing/2014/main" id="{A8446167-D2DE-6041-BC7C-CF8CA8BEE221}"/>
              </a:ext>
            </a:extLst>
          </p:cNvPr>
          <p:cNvSpPr>
            <a:spLocks noGrp="1"/>
          </p:cNvSpPr>
          <p:nvPr>
            <p:ph type="pic" sz="quarter" idx="17"/>
          </p:nvPr>
        </p:nvSpPr>
        <p:spPr>
          <a:xfrm>
            <a:off x="8373779"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3" name="Picture Placeholder 42">
            <a:extLst>
              <a:ext uri="{FF2B5EF4-FFF2-40B4-BE49-F238E27FC236}">
                <a16:creationId xmlns:a16="http://schemas.microsoft.com/office/drawing/2014/main" id="{8C3E5C91-906A-1043-94C8-A24B5945BD97}"/>
              </a:ext>
            </a:extLst>
          </p:cNvPr>
          <p:cNvSpPr>
            <a:spLocks noGrp="1"/>
          </p:cNvSpPr>
          <p:nvPr>
            <p:ph type="pic" sz="quarter" idx="18"/>
          </p:nvPr>
        </p:nvSpPr>
        <p:spPr>
          <a:xfrm>
            <a:off x="10295381"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5" name="Picture Placeholder 44">
            <a:extLst>
              <a:ext uri="{FF2B5EF4-FFF2-40B4-BE49-F238E27FC236}">
                <a16:creationId xmlns:a16="http://schemas.microsoft.com/office/drawing/2014/main" id="{25B57303-3B10-3F49-B252-DC6E43009209}"/>
              </a:ext>
            </a:extLst>
          </p:cNvPr>
          <p:cNvSpPr>
            <a:spLocks noGrp="1"/>
          </p:cNvSpPr>
          <p:nvPr>
            <p:ph type="pic" sz="quarter" idx="20"/>
          </p:nvPr>
        </p:nvSpPr>
        <p:spPr>
          <a:xfrm>
            <a:off x="2607639"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6" name="Picture Placeholder 45">
            <a:extLst>
              <a:ext uri="{FF2B5EF4-FFF2-40B4-BE49-F238E27FC236}">
                <a16:creationId xmlns:a16="http://schemas.microsoft.com/office/drawing/2014/main" id="{F39DB685-C643-4F41-B2E1-FA34DDE694C6}"/>
              </a:ext>
            </a:extLst>
          </p:cNvPr>
          <p:cNvSpPr>
            <a:spLocks noGrp="1"/>
          </p:cNvSpPr>
          <p:nvPr>
            <p:ph type="pic" sz="quarter" idx="21"/>
          </p:nvPr>
        </p:nvSpPr>
        <p:spPr>
          <a:xfrm>
            <a:off x="4515986"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7" name="Picture Placeholder 46">
            <a:extLst>
              <a:ext uri="{FF2B5EF4-FFF2-40B4-BE49-F238E27FC236}">
                <a16:creationId xmlns:a16="http://schemas.microsoft.com/office/drawing/2014/main" id="{0E48D3A3-465F-EF4C-878A-3E24710C547D}"/>
              </a:ext>
            </a:extLst>
          </p:cNvPr>
          <p:cNvSpPr>
            <a:spLocks noGrp="1"/>
          </p:cNvSpPr>
          <p:nvPr>
            <p:ph type="pic" sz="quarter" idx="22"/>
          </p:nvPr>
        </p:nvSpPr>
        <p:spPr>
          <a:xfrm>
            <a:off x="6452177"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8" name="Picture Placeholder 47">
            <a:extLst>
              <a:ext uri="{FF2B5EF4-FFF2-40B4-BE49-F238E27FC236}">
                <a16:creationId xmlns:a16="http://schemas.microsoft.com/office/drawing/2014/main" id="{3475FC00-AE46-FC48-A001-65A3F794CFCC}"/>
              </a:ext>
            </a:extLst>
          </p:cNvPr>
          <p:cNvSpPr>
            <a:spLocks noGrp="1"/>
          </p:cNvSpPr>
          <p:nvPr>
            <p:ph type="pic" sz="quarter" idx="23"/>
          </p:nvPr>
        </p:nvSpPr>
        <p:spPr>
          <a:xfrm>
            <a:off x="8373779"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9" name="Picture Placeholder 48">
            <a:extLst>
              <a:ext uri="{FF2B5EF4-FFF2-40B4-BE49-F238E27FC236}">
                <a16:creationId xmlns:a16="http://schemas.microsoft.com/office/drawing/2014/main" id="{9EC45182-F680-7B46-B2F3-F50F51BFD7E6}"/>
              </a:ext>
            </a:extLst>
          </p:cNvPr>
          <p:cNvSpPr>
            <a:spLocks noGrp="1"/>
          </p:cNvSpPr>
          <p:nvPr>
            <p:ph type="pic" sz="quarter" idx="24"/>
          </p:nvPr>
        </p:nvSpPr>
        <p:spPr>
          <a:xfrm>
            <a:off x="10295381"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50" name="Picture Placeholder 49">
            <a:extLst>
              <a:ext uri="{FF2B5EF4-FFF2-40B4-BE49-F238E27FC236}">
                <a16:creationId xmlns:a16="http://schemas.microsoft.com/office/drawing/2014/main" id="{05CAA1DF-8BCA-B346-9257-54A8C469DFF4}"/>
              </a:ext>
            </a:extLst>
          </p:cNvPr>
          <p:cNvSpPr>
            <a:spLocks noGrp="1"/>
          </p:cNvSpPr>
          <p:nvPr>
            <p:ph type="pic" sz="quarter" idx="25"/>
          </p:nvPr>
        </p:nvSpPr>
        <p:spPr>
          <a:xfrm>
            <a:off x="684705"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51" name="Text Placeholder 33">
            <a:extLst>
              <a:ext uri="{FF2B5EF4-FFF2-40B4-BE49-F238E27FC236}">
                <a16:creationId xmlns:a16="http://schemas.microsoft.com/office/drawing/2014/main" id="{AE6ED5DD-7B00-9246-8D2E-E5C76C26EC2D}"/>
              </a:ext>
            </a:extLst>
          </p:cNvPr>
          <p:cNvSpPr>
            <a:spLocks noGrp="1"/>
          </p:cNvSpPr>
          <p:nvPr>
            <p:ph type="body" sz="quarter" idx="26" hasCustomPrompt="1"/>
          </p:nvPr>
        </p:nvSpPr>
        <p:spPr>
          <a:xfrm>
            <a:off x="425632"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2" name="Text Placeholder 33">
            <a:extLst>
              <a:ext uri="{FF2B5EF4-FFF2-40B4-BE49-F238E27FC236}">
                <a16:creationId xmlns:a16="http://schemas.microsoft.com/office/drawing/2014/main" id="{4F0856C3-DC8D-3442-8548-FCDAB29634F1}"/>
              </a:ext>
            </a:extLst>
          </p:cNvPr>
          <p:cNvSpPr>
            <a:spLocks noGrp="1"/>
          </p:cNvSpPr>
          <p:nvPr>
            <p:ph type="body" sz="quarter" idx="27" hasCustomPrompt="1"/>
          </p:nvPr>
        </p:nvSpPr>
        <p:spPr>
          <a:xfrm>
            <a:off x="2349666"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3" name="Text Placeholder 33">
            <a:extLst>
              <a:ext uri="{FF2B5EF4-FFF2-40B4-BE49-F238E27FC236}">
                <a16:creationId xmlns:a16="http://schemas.microsoft.com/office/drawing/2014/main" id="{0DFEDC18-2911-EC49-BFC0-1628FBC2F1E2}"/>
              </a:ext>
            </a:extLst>
          </p:cNvPr>
          <p:cNvSpPr>
            <a:spLocks noGrp="1"/>
          </p:cNvSpPr>
          <p:nvPr>
            <p:ph type="body" sz="quarter" idx="28" hasCustomPrompt="1"/>
          </p:nvPr>
        </p:nvSpPr>
        <p:spPr>
          <a:xfrm>
            <a:off x="2349666"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4" name="Text Placeholder 33">
            <a:extLst>
              <a:ext uri="{FF2B5EF4-FFF2-40B4-BE49-F238E27FC236}">
                <a16:creationId xmlns:a16="http://schemas.microsoft.com/office/drawing/2014/main" id="{5886A89D-CE6F-4743-B41E-F734B60FC4E7}"/>
              </a:ext>
            </a:extLst>
          </p:cNvPr>
          <p:cNvSpPr>
            <a:spLocks noGrp="1"/>
          </p:cNvSpPr>
          <p:nvPr>
            <p:ph type="body" sz="quarter" idx="29" hasCustomPrompt="1"/>
          </p:nvPr>
        </p:nvSpPr>
        <p:spPr>
          <a:xfrm>
            <a:off x="4273700"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5" name="Text Placeholder 33">
            <a:extLst>
              <a:ext uri="{FF2B5EF4-FFF2-40B4-BE49-F238E27FC236}">
                <a16:creationId xmlns:a16="http://schemas.microsoft.com/office/drawing/2014/main" id="{80807306-F354-1B4F-B83A-CD420B88CC0F}"/>
              </a:ext>
            </a:extLst>
          </p:cNvPr>
          <p:cNvSpPr>
            <a:spLocks noGrp="1"/>
          </p:cNvSpPr>
          <p:nvPr>
            <p:ph type="body" sz="quarter" idx="30" hasCustomPrompt="1"/>
          </p:nvPr>
        </p:nvSpPr>
        <p:spPr>
          <a:xfrm>
            <a:off x="4273700"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6" name="Text Placeholder 33">
            <a:extLst>
              <a:ext uri="{FF2B5EF4-FFF2-40B4-BE49-F238E27FC236}">
                <a16:creationId xmlns:a16="http://schemas.microsoft.com/office/drawing/2014/main" id="{DB711AC4-8F2E-4742-BFB3-9F22ABCE7FDC}"/>
              </a:ext>
            </a:extLst>
          </p:cNvPr>
          <p:cNvSpPr>
            <a:spLocks noGrp="1"/>
          </p:cNvSpPr>
          <p:nvPr>
            <p:ph type="body" sz="quarter" idx="31" hasCustomPrompt="1"/>
          </p:nvPr>
        </p:nvSpPr>
        <p:spPr>
          <a:xfrm>
            <a:off x="6206360"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7" name="Text Placeholder 33">
            <a:extLst>
              <a:ext uri="{FF2B5EF4-FFF2-40B4-BE49-F238E27FC236}">
                <a16:creationId xmlns:a16="http://schemas.microsoft.com/office/drawing/2014/main" id="{82CAAF90-FF1B-2041-96CA-2F9501B5AEAD}"/>
              </a:ext>
            </a:extLst>
          </p:cNvPr>
          <p:cNvSpPr>
            <a:spLocks noGrp="1"/>
          </p:cNvSpPr>
          <p:nvPr>
            <p:ph type="body" sz="quarter" idx="32" hasCustomPrompt="1"/>
          </p:nvPr>
        </p:nvSpPr>
        <p:spPr>
          <a:xfrm>
            <a:off x="6206360"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9" name="Text Placeholder 33">
            <a:extLst>
              <a:ext uri="{FF2B5EF4-FFF2-40B4-BE49-F238E27FC236}">
                <a16:creationId xmlns:a16="http://schemas.microsoft.com/office/drawing/2014/main" id="{4553DFC2-701B-A84F-B813-6660935FE68D}"/>
              </a:ext>
            </a:extLst>
          </p:cNvPr>
          <p:cNvSpPr>
            <a:spLocks noGrp="1"/>
          </p:cNvSpPr>
          <p:nvPr>
            <p:ph type="body" sz="quarter" idx="33" hasCustomPrompt="1"/>
          </p:nvPr>
        </p:nvSpPr>
        <p:spPr>
          <a:xfrm>
            <a:off x="8130394"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0" name="Text Placeholder 33">
            <a:extLst>
              <a:ext uri="{FF2B5EF4-FFF2-40B4-BE49-F238E27FC236}">
                <a16:creationId xmlns:a16="http://schemas.microsoft.com/office/drawing/2014/main" id="{3C4C54FB-411E-F441-88EB-F13AEFF6B6EE}"/>
              </a:ext>
            </a:extLst>
          </p:cNvPr>
          <p:cNvSpPr>
            <a:spLocks noGrp="1"/>
          </p:cNvSpPr>
          <p:nvPr>
            <p:ph type="body" sz="quarter" idx="34" hasCustomPrompt="1"/>
          </p:nvPr>
        </p:nvSpPr>
        <p:spPr>
          <a:xfrm>
            <a:off x="8130394"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1" name="Text Placeholder 33">
            <a:extLst>
              <a:ext uri="{FF2B5EF4-FFF2-40B4-BE49-F238E27FC236}">
                <a16:creationId xmlns:a16="http://schemas.microsoft.com/office/drawing/2014/main" id="{5F774BA9-7702-9E4A-B764-6DB291147E93}"/>
              </a:ext>
            </a:extLst>
          </p:cNvPr>
          <p:cNvSpPr>
            <a:spLocks noGrp="1"/>
          </p:cNvSpPr>
          <p:nvPr>
            <p:ph type="body" sz="quarter" idx="35" hasCustomPrompt="1"/>
          </p:nvPr>
        </p:nvSpPr>
        <p:spPr>
          <a:xfrm>
            <a:off x="10063054"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2" name="Text Placeholder 33">
            <a:extLst>
              <a:ext uri="{FF2B5EF4-FFF2-40B4-BE49-F238E27FC236}">
                <a16:creationId xmlns:a16="http://schemas.microsoft.com/office/drawing/2014/main" id="{1CA8272A-10A4-A24A-8BAA-5B0AD12828D5}"/>
              </a:ext>
            </a:extLst>
          </p:cNvPr>
          <p:cNvSpPr>
            <a:spLocks noGrp="1"/>
          </p:cNvSpPr>
          <p:nvPr>
            <p:ph type="body" sz="quarter" idx="36" hasCustomPrompt="1"/>
          </p:nvPr>
        </p:nvSpPr>
        <p:spPr>
          <a:xfrm>
            <a:off x="10063054"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3" name="Text Placeholder 33">
            <a:extLst>
              <a:ext uri="{FF2B5EF4-FFF2-40B4-BE49-F238E27FC236}">
                <a16:creationId xmlns:a16="http://schemas.microsoft.com/office/drawing/2014/main" id="{C1B631FE-F961-384C-A206-DB714D9ED055}"/>
              </a:ext>
            </a:extLst>
          </p:cNvPr>
          <p:cNvSpPr>
            <a:spLocks noGrp="1"/>
          </p:cNvSpPr>
          <p:nvPr>
            <p:ph type="body" sz="quarter" idx="37" hasCustomPrompt="1"/>
          </p:nvPr>
        </p:nvSpPr>
        <p:spPr>
          <a:xfrm>
            <a:off x="425632"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4" name="Text Placeholder 33">
            <a:extLst>
              <a:ext uri="{FF2B5EF4-FFF2-40B4-BE49-F238E27FC236}">
                <a16:creationId xmlns:a16="http://schemas.microsoft.com/office/drawing/2014/main" id="{24A2C844-2509-344B-8349-C66F8058EBCD}"/>
              </a:ext>
            </a:extLst>
          </p:cNvPr>
          <p:cNvSpPr>
            <a:spLocks noGrp="1"/>
          </p:cNvSpPr>
          <p:nvPr>
            <p:ph type="body" sz="quarter" idx="38" hasCustomPrompt="1"/>
          </p:nvPr>
        </p:nvSpPr>
        <p:spPr>
          <a:xfrm>
            <a:off x="425632"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5" name="Text Placeholder 33">
            <a:extLst>
              <a:ext uri="{FF2B5EF4-FFF2-40B4-BE49-F238E27FC236}">
                <a16:creationId xmlns:a16="http://schemas.microsoft.com/office/drawing/2014/main" id="{57A5551D-A12D-E844-91F5-819FBC41D262}"/>
              </a:ext>
            </a:extLst>
          </p:cNvPr>
          <p:cNvSpPr>
            <a:spLocks noGrp="1"/>
          </p:cNvSpPr>
          <p:nvPr>
            <p:ph type="body" sz="quarter" idx="39" hasCustomPrompt="1"/>
          </p:nvPr>
        </p:nvSpPr>
        <p:spPr>
          <a:xfrm>
            <a:off x="2349666"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6" name="Text Placeholder 33">
            <a:extLst>
              <a:ext uri="{FF2B5EF4-FFF2-40B4-BE49-F238E27FC236}">
                <a16:creationId xmlns:a16="http://schemas.microsoft.com/office/drawing/2014/main" id="{E6666719-8F2A-FE4A-BB14-C098E671D2FB}"/>
              </a:ext>
            </a:extLst>
          </p:cNvPr>
          <p:cNvSpPr>
            <a:spLocks noGrp="1"/>
          </p:cNvSpPr>
          <p:nvPr>
            <p:ph type="body" sz="quarter" idx="40" hasCustomPrompt="1"/>
          </p:nvPr>
        </p:nvSpPr>
        <p:spPr>
          <a:xfrm>
            <a:off x="2349666"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7" name="Text Placeholder 33">
            <a:extLst>
              <a:ext uri="{FF2B5EF4-FFF2-40B4-BE49-F238E27FC236}">
                <a16:creationId xmlns:a16="http://schemas.microsoft.com/office/drawing/2014/main" id="{E4D269F3-E72F-5843-8915-06CBDFF812E2}"/>
              </a:ext>
            </a:extLst>
          </p:cNvPr>
          <p:cNvSpPr>
            <a:spLocks noGrp="1"/>
          </p:cNvSpPr>
          <p:nvPr>
            <p:ph type="body" sz="quarter" idx="41" hasCustomPrompt="1"/>
          </p:nvPr>
        </p:nvSpPr>
        <p:spPr>
          <a:xfrm>
            <a:off x="4273700"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8" name="Text Placeholder 33">
            <a:extLst>
              <a:ext uri="{FF2B5EF4-FFF2-40B4-BE49-F238E27FC236}">
                <a16:creationId xmlns:a16="http://schemas.microsoft.com/office/drawing/2014/main" id="{66A0001A-37D7-4B45-871B-E2BBADD19D55}"/>
              </a:ext>
            </a:extLst>
          </p:cNvPr>
          <p:cNvSpPr>
            <a:spLocks noGrp="1"/>
          </p:cNvSpPr>
          <p:nvPr>
            <p:ph type="body" sz="quarter" idx="42" hasCustomPrompt="1"/>
          </p:nvPr>
        </p:nvSpPr>
        <p:spPr>
          <a:xfrm>
            <a:off x="4273700"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9" name="Text Placeholder 33">
            <a:extLst>
              <a:ext uri="{FF2B5EF4-FFF2-40B4-BE49-F238E27FC236}">
                <a16:creationId xmlns:a16="http://schemas.microsoft.com/office/drawing/2014/main" id="{709D61D6-7FE2-5D4B-93A2-AEA47015EB83}"/>
              </a:ext>
            </a:extLst>
          </p:cNvPr>
          <p:cNvSpPr>
            <a:spLocks noGrp="1"/>
          </p:cNvSpPr>
          <p:nvPr>
            <p:ph type="body" sz="quarter" idx="43" hasCustomPrompt="1"/>
          </p:nvPr>
        </p:nvSpPr>
        <p:spPr>
          <a:xfrm>
            <a:off x="6206360"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70" name="Text Placeholder 33">
            <a:extLst>
              <a:ext uri="{FF2B5EF4-FFF2-40B4-BE49-F238E27FC236}">
                <a16:creationId xmlns:a16="http://schemas.microsoft.com/office/drawing/2014/main" id="{4A995E6D-2F95-4D4A-9F80-7A82A7F82B78}"/>
              </a:ext>
            </a:extLst>
          </p:cNvPr>
          <p:cNvSpPr>
            <a:spLocks noGrp="1"/>
          </p:cNvSpPr>
          <p:nvPr>
            <p:ph type="body" sz="quarter" idx="44" hasCustomPrompt="1"/>
          </p:nvPr>
        </p:nvSpPr>
        <p:spPr>
          <a:xfrm>
            <a:off x="6206360"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71" name="Text Placeholder 33">
            <a:extLst>
              <a:ext uri="{FF2B5EF4-FFF2-40B4-BE49-F238E27FC236}">
                <a16:creationId xmlns:a16="http://schemas.microsoft.com/office/drawing/2014/main" id="{B08D0868-A342-A242-98D7-73A3C3ED72B0}"/>
              </a:ext>
            </a:extLst>
          </p:cNvPr>
          <p:cNvSpPr>
            <a:spLocks noGrp="1"/>
          </p:cNvSpPr>
          <p:nvPr>
            <p:ph type="body" sz="quarter" idx="45" hasCustomPrompt="1"/>
          </p:nvPr>
        </p:nvSpPr>
        <p:spPr>
          <a:xfrm>
            <a:off x="8130394"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72" name="Text Placeholder 33">
            <a:extLst>
              <a:ext uri="{FF2B5EF4-FFF2-40B4-BE49-F238E27FC236}">
                <a16:creationId xmlns:a16="http://schemas.microsoft.com/office/drawing/2014/main" id="{86F90080-152B-6145-A698-242C2C58890B}"/>
              </a:ext>
            </a:extLst>
          </p:cNvPr>
          <p:cNvSpPr>
            <a:spLocks noGrp="1"/>
          </p:cNvSpPr>
          <p:nvPr>
            <p:ph type="body" sz="quarter" idx="46" hasCustomPrompt="1"/>
          </p:nvPr>
        </p:nvSpPr>
        <p:spPr>
          <a:xfrm>
            <a:off x="8130394"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73" name="Text Placeholder 33">
            <a:extLst>
              <a:ext uri="{FF2B5EF4-FFF2-40B4-BE49-F238E27FC236}">
                <a16:creationId xmlns:a16="http://schemas.microsoft.com/office/drawing/2014/main" id="{F2AA7219-71A9-3D4A-BC76-9B27DAD71FC2}"/>
              </a:ext>
            </a:extLst>
          </p:cNvPr>
          <p:cNvSpPr>
            <a:spLocks noGrp="1"/>
          </p:cNvSpPr>
          <p:nvPr>
            <p:ph type="body" sz="quarter" idx="47" hasCustomPrompt="1"/>
          </p:nvPr>
        </p:nvSpPr>
        <p:spPr>
          <a:xfrm>
            <a:off x="10063054"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74" name="Text Placeholder 33">
            <a:extLst>
              <a:ext uri="{FF2B5EF4-FFF2-40B4-BE49-F238E27FC236}">
                <a16:creationId xmlns:a16="http://schemas.microsoft.com/office/drawing/2014/main" id="{8E20ACE6-6296-1F46-BEC5-6D844AB25839}"/>
              </a:ext>
            </a:extLst>
          </p:cNvPr>
          <p:cNvSpPr>
            <a:spLocks noGrp="1"/>
          </p:cNvSpPr>
          <p:nvPr>
            <p:ph type="body" sz="quarter" idx="48" hasCustomPrompt="1"/>
          </p:nvPr>
        </p:nvSpPr>
        <p:spPr>
          <a:xfrm>
            <a:off x="10063054"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pic>
        <p:nvPicPr>
          <p:cNvPr id="58" name="Graphic 57">
            <a:extLst>
              <a:ext uri="{FF2B5EF4-FFF2-40B4-BE49-F238E27FC236}">
                <a16:creationId xmlns:a16="http://schemas.microsoft.com/office/drawing/2014/main" id="{05A66BE5-2793-B441-B3C3-6FA7A98D49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4" name="Title 1">
            <a:extLst>
              <a:ext uri="{FF2B5EF4-FFF2-40B4-BE49-F238E27FC236}">
                <a16:creationId xmlns:a16="http://schemas.microsoft.com/office/drawing/2014/main" id="{0B66B85A-5976-6B4E-9B8B-2749D732A0C0}"/>
              </a:ext>
            </a:extLst>
          </p:cNvPr>
          <p:cNvSpPr>
            <a:spLocks noGrp="1"/>
          </p:cNvSpPr>
          <p:nvPr>
            <p:ph type="title" hasCustomPrompt="1"/>
          </p:nvPr>
        </p:nvSpPr>
        <p:spPr>
          <a:xfrm>
            <a:off x="467422" y="816110"/>
            <a:ext cx="10937178" cy="530090"/>
          </a:xfrm>
        </p:spPr>
        <p:txBody>
          <a:bodyPr anchor="t">
            <a:noAutofit/>
          </a:bodyPr>
          <a:lstStyle>
            <a:lvl1pPr>
              <a:defRPr>
                <a:solidFill>
                  <a:srgbClr val="333333"/>
                </a:solidFill>
              </a:defRPr>
            </a:lvl1pPr>
          </a:lstStyle>
          <a:p>
            <a:r>
              <a:rPr lang="en-US"/>
              <a:t>Meet the Team</a:t>
            </a:r>
          </a:p>
        </p:txBody>
      </p:sp>
      <p:sp>
        <p:nvSpPr>
          <p:cNvPr id="75" name="Text Placeholder 4">
            <a:extLst>
              <a:ext uri="{FF2B5EF4-FFF2-40B4-BE49-F238E27FC236}">
                <a16:creationId xmlns:a16="http://schemas.microsoft.com/office/drawing/2014/main" id="{43C9DD61-C61A-D640-AF78-9CB4EE108257}"/>
              </a:ext>
            </a:extLst>
          </p:cNvPr>
          <p:cNvSpPr>
            <a:spLocks noGrp="1"/>
          </p:cNvSpPr>
          <p:nvPr>
            <p:ph type="body" sz="quarter" idx="49"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339120248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Org chart 1">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69292610-3493-BE43-9971-6B14D758BFB5}"/>
              </a:ext>
            </a:extLst>
          </p:cNvPr>
          <p:cNvSpPr>
            <a:spLocks noGrp="1"/>
          </p:cNvSpPr>
          <p:nvPr>
            <p:ph type="pic" sz="quarter" idx="13" hasCustomPrompt="1"/>
          </p:nvPr>
        </p:nvSpPr>
        <p:spPr>
          <a:xfrm>
            <a:off x="5477121" y="1242664"/>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34" name="Text Placeholder 33">
            <a:extLst>
              <a:ext uri="{FF2B5EF4-FFF2-40B4-BE49-F238E27FC236}">
                <a16:creationId xmlns:a16="http://schemas.microsoft.com/office/drawing/2014/main" id="{8E9EBD9D-1985-2B44-97F1-DF9B9176AD3E}"/>
              </a:ext>
            </a:extLst>
          </p:cNvPr>
          <p:cNvSpPr>
            <a:spLocks noGrp="1"/>
          </p:cNvSpPr>
          <p:nvPr>
            <p:ph type="body" sz="quarter" idx="12" hasCustomPrompt="1"/>
          </p:nvPr>
        </p:nvSpPr>
        <p:spPr>
          <a:xfrm>
            <a:off x="5218048" y="2626964"/>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1" name="Text Placeholder 33">
            <a:extLst>
              <a:ext uri="{FF2B5EF4-FFF2-40B4-BE49-F238E27FC236}">
                <a16:creationId xmlns:a16="http://schemas.microsoft.com/office/drawing/2014/main" id="{AE6ED5DD-7B00-9246-8D2E-E5C76C26EC2D}"/>
              </a:ext>
            </a:extLst>
          </p:cNvPr>
          <p:cNvSpPr>
            <a:spLocks noGrp="1"/>
          </p:cNvSpPr>
          <p:nvPr>
            <p:ph type="body" sz="quarter" idx="26" hasCustomPrompt="1"/>
          </p:nvPr>
        </p:nvSpPr>
        <p:spPr>
          <a:xfrm>
            <a:off x="5218048" y="2848588"/>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pic>
        <p:nvPicPr>
          <p:cNvPr id="58" name="Graphic 57">
            <a:extLst>
              <a:ext uri="{FF2B5EF4-FFF2-40B4-BE49-F238E27FC236}">
                <a16:creationId xmlns:a16="http://schemas.microsoft.com/office/drawing/2014/main" id="{05A66BE5-2793-B441-B3C3-6FA7A98D49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4" name="Title 1">
            <a:extLst>
              <a:ext uri="{FF2B5EF4-FFF2-40B4-BE49-F238E27FC236}">
                <a16:creationId xmlns:a16="http://schemas.microsoft.com/office/drawing/2014/main" id="{0B66B85A-5976-6B4E-9B8B-2749D732A0C0}"/>
              </a:ext>
            </a:extLst>
          </p:cNvPr>
          <p:cNvSpPr>
            <a:spLocks noGrp="1"/>
          </p:cNvSpPr>
          <p:nvPr>
            <p:ph type="title" hasCustomPrompt="1"/>
          </p:nvPr>
        </p:nvSpPr>
        <p:spPr>
          <a:xfrm>
            <a:off x="467422" y="816110"/>
            <a:ext cx="10937178" cy="530090"/>
          </a:xfrm>
        </p:spPr>
        <p:txBody>
          <a:bodyPr anchor="t">
            <a:noAutofit/>
          </a:bodyPr>
          <a:lstStyle>
            <a:lvl1pPr>
              <a:defRPr>
                <a:solidFill>
                  <a:srgbClr val="333333"/>
                </a:solidFill>
              </a:defRPr>
            </a:lvl1pPr>
          </a:lstStyle>
          <a:p>
            <a:r>
              <a:rPr lang="en-US"/>
              <a:t>Our Team</a:t>
            </a:r>
          </a:p>
        </p:txBody>
      </p:sp>
      <p:sp>
        <p:nvSpPr>
          <p:cNvPr id="89" name="Picture Placeholder 37">
            <a:extLst>
              <a:ext uri="{FF2B5EF4-FFF2-40B4-BE49-F238E27FC236}">
                <a16:creationId xmlns:a16="http://schemas.microsoft.com/office/drawing/2014/main" id="{9D5E41D8-A4FF-E64D-BCEF-48DE5A487E25}"/>
              </a:ext>
            </a:extLst>
          </p:cNvPr>
          <p:cNvSpPr>
            <a:spLocks noGrp="1"/>
          </p:cNvSpPr>
          <p:nvPr>
            <p:ph type="pic" sz="quarter" idx="37" hasCustomPrompt="1"/>
          </p:nvPr>
        </p:nvSpPr>
        <p:spPr>
          <a:xfrm>
            <a:off x="1985894" y="4046457"/>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90" name="Text Placeholder 33">
            <a:extLst>
              <a:ext uri="{FF2B5EF4-FFF2-40B4-BE49-F238E27FC236}">
                <a16:creationId xmlns:a16="http://schemas.microsoft.com/office/drawing/2014/main" id="{752830E1-22CA-5347-934A-57F131663BF3}"/>
              </a:ext>
            </a:extLst>
          </p:cNvPr>
          <p:cNvSpPr>
            <a:spLocks noGrp="1"/>
          </p:cNvSpPr>
          <p:nvPr>
            <p:ph type="body" sz="quarter" idx="38" hasCustomPrompt="1"/>
          </p:nvPr>
        </p:nvSpPr>
        <p:spPr>
          <a:xfrm>
            <a:off x="1726821" y="5430757"/>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91" name="Text Placeholder 33">
            <a:extLst>
              <a:ext uri="{FF2B5EF4-FFF2-40B4-BE49-F238E27FC236}">
                <a16:creationId xmlns:a16="http://schemas.microsoft.com/office/drawing/2014/main" id="{E340E937-1638-844C-BCCD-E04C7D0AD00D}"/>
              </a:ext>
            </a:extLst>
          </p:cNvPr>
          <p:cNvSpPr>
            <a:spLocks noGrp="1"/>
          </p:cNvSpPr>
          <p:nvPr>
            <p:ph type="body" sz="quarter" idx="39" hasCustomPrompt="1"/>
          </p:nvPr>
        </p:nvSpPr>
        <p:spPr>
          <a:xfrm>
            <a:off x="1726821" y="5652381"/>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92" name="Picture Placeholder 37">
            <a:extLst>
              <a:ext uri="{FF2B5EF4-FFF2-40B4-BE49-F238E27FC236}">
                <a16:creationId xmlns:a16="http://schemas.microsoft.com/office/drawing/2014/main" id="{BE7EA475-D95F-6645-B4CF-CBEF671453B5}"/>
              </a:ext>
            </a:extLst>
          </p:cNvPr>
          <p:cNvSpPr>
            <a:spLocks noGrp="1"/>
          </p:cNvSpPr>
          <p:nvPr>
            <p:ph type="pic" sz="quarter" idx="40" hasCustomPrompt="1"/>
          </p:nvPr>
        </p:nvSpPr>
        <p:spPr>
          <a:xfrm>
            <a:off x="4353536" y="4046457"/>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93" name="Text Placeholder 33">
            <a:extLst>
              <a:ext uri="{FF2B5EF4-FFF2-40B4-BE49-F238E27FC236}">
                <a16:creationId xmlns:a16="http://schemas.microsoft.com/office/drawing/2014/main" id="{D79B1817-F9A3-D343-89B4-8F966978D455}"/>
              </a:ext>
            </a:extLst>
          </p:cNvPr>
          <p:cNvSpPr>
            <a:spLocks noGrp="1"/>
          </p:cNvSpPr>
          <p:nvPr>
            <p:ph type="body" sz="quarter" idx="41" hasCustomPrompt="1"/>
          </p:nvPr>
        </p:nvSpPr>
        <p:spPr>
          <a:xfrm>
            <a:off x="4094463" y="5430757"/>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94" name="Text Placeholder 33">
            <a:extLst>
              <a:ext uri="{FF2B5EF4-FFF2-40B4-BE49-F238E27FC236}">
                <a16:creationId xmlns:a16="http://schemas.microsoft.com/office/drawing/2014/main" id="{D9B76D62-DFFB-8C4D-9332-A654D3B5EF5E}"/>
              </a:ext>
            </a:extLst>
          </p:cNvPr>
          <p:cNvSpPr>
            <a:spLocks noGrp="1"/>
          </p:cNvSpPr>
          <p:nvPr>
            <p:ph type="body" sz="quarter" idx="42" hasCustomPrompt="1"/>
          </p:nvPr>
        </p:nvSpPr>
        <p:spPr>
          <a:xfrm>
            <a:off x="4094463" y="5652381"/>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95" name="Picture Placeholder 37">
            <a:extLst>
              <a:ext uri="{FF2B5EF4-FFF2-40B4-BE49-F238E27FC236}">
                <a16:creationId xmlns:a16="http://schemas.microsoft.com/office/drawing/2014/main" id="{70F0AF73-057B-114E-B847-AA03A7709ACF}"/>
              </a:ext>
            </a:extLst>
          </p:cNvPr>
          <p:cNvSpPr>
            <a:spLocks noGrp="1"/>
          </p:cNvSpPr>
          <p:nvPr>
            <p:ph type="pic" sz="quarter" idx="43" hasCustomPrompt="1"/>
          </p:nvPr>
        </p:nvSpPr>
        <p:spPr>
          <a:xfrm>
            <a:off x="6672193" y="4046457"/>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96" name="Text Placeholder 33">
            <a:extLst>
              <a:ext uri="{FF2B5EF4-FFF2-40B4-BE49-F238E27FC236}">
                <a16:creationId xmlns:a16="http://schemas.microsoft.com/office/drawing/2014/main" id="{9F1448BC-2D33-9B46-A245-9B5F619D435E}"/>
              </a:ext>
            </a:extLst>
          </p:cNvPr>
          <p:cNvSpPr>
            <a:spLocks noGrp="1"/>
          </p:cNvSpPr>
          <p:nvPr>
            <p:ph type="body" sz="quarter" idx="44" hasCustomPrompt="1"/>
          </p:nvPr>
        </p:nvSpPr>
        <p:spPr>
          <a:xfrm>
            <a:off x="6413120" y="5430757"/>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97" name="Text Placeholder 33">
            <a:extLst>
              <a:ext uri="{FF2B5EF4-FFF2-40B4-BE49-F238E27FC236}">
                <a16:creationId xmlns:a16="http://schemas.microsoft.com/office/drawing/2014/main" id="{3E49414A-874E-CF4E-B522-355BD086C9C0}"/>
              </a:ext>
            </a:extLst>
          </p:cNvPr>
          <p:cNvSpPr>
            <a:spLocks noGrp="1"/>
          </p:cNvSpPr>
          <p:nvPr>
            <p:ph type="body" sz="quarter" idx="45" hasCustomPrompt="1"/>
          </p:nvPr>
        </p:nvSpPr>
        <p:spPr>
          <a:xfrm>
            <a:off x="6413120" y="5652381"/>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98" name="Picture Placeholder 37">
            <a:extLst>
              <a:ext uri="{FF2B5EF4-FFF2-40B4-BE49-F238E27FC236}">
                <a16:creationId xmlns:a16="http://schemas.microsoft.com/office/drawing/2014/main" id="{58CF8E7E-8D6F-4643-9E53-68711C5D3C08}"/>
              </a:ext>
            </a:extLst>
          </p:cNvPr>
          <p:cNvSpPr>
            <a:spLocks noGrp="1"/>
          </p:cNvSpPr>
          <p:nvPr>
            <p:ph type="pic" sz="quarter" idx="46" hasCustomPrompt="1"/>
          </p:nvPr>
        </p:nvSpPr>
        <p:spPr>
          <a:xfrm>
            <a:off x="8990850" y="4046457"/>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99" name="Text Placeholder 33">
            <a:extLst>
              <a:ext uri="{FF2B5EF4-FFF2-40B4-BE49-F238E27FC236}">
                <a16:creationId xmlns:a16="http://schemas.microsoft.com/office/drawing/2014/main" id="{6350CDC5-0DF6-C84F-841A-B62649E2D796}"/>
              </a:ext>
            </a:extLst>
          </p:cNvPr>
          <p:cNvSpPr>
            <a:spLocks noGrp="1"/>
          </p:cNvSpPr>
          <p:nvPr>
            <p:ph type="body" sz="quarter" idx="47" hasCustomPrompt="1"/>
          </p:nvPr>
        </p:nvSpPr>
        <p:spPr>
          <a:xfrm>
            <a:off x="8731777" y="5430757"/>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100" name="Text Placeholder 33">
            <a:extLst>
              <a:ext uri="{FF2B5EF4-FFF2-40B4-BE49-F238E27FC236}">
                <a16:creationId xmlns:a16="http://schemas.microsoft.com/office/drawing/2014/main" id="{78F53984-B56F-864D-B76B-C06188720EA8}"/>
              </a:ext>
            </a:extLst>
          </p:cNvPr>
          <p:cNvSpPr>
            <a:spLocks noGrp="1"/>
          </p:cNvSpPr>
          <p:nvPr>
            <p:ph type="body" sz="quarter" idx="48" hasCustomPrompt="1"/>
          </p:nvPr>
        </p:nvSpPr>
        <p:spPr>
          <a:xfrm>
            <a:off x="8731777" y="5652381"/>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101" name="Text Placeholder 4">
            <a:extLst>
              <a:ext uri="{FF2B5EF4-FFF2-40B4-BE49-F238E27FC236}">
                <a16:creationId xmlns:a16="http://schemas.microsoft.com/office/drawing/2014/main" id="{4F085EBA-CD5E-0A48-83D8-360EB5E2F5F6}"/>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28674397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Org chart 1">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69292610-3493-BE43-9971-6B14D758BFB5}"/>
              </a:ext>
            </a:extLst>
          </p:cNvPr>
          <p:cNvSpPr>
            <a:spLocks noGrp="1"/>
          </p:cNvSpPr>
          <p:nvPr>
            <p:ph type="pic" sz="quarter" idx="13" hasCustomPrompt="1"/>
          </p:nvPr>
        </p:nvSpPr>
        <p:spPr>
          <a:xfrm>
            <a:off x="661078" y="3047791"/>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indent="0" algn="ctr">
              <a:buNone/>
              <a:defRPr sz="1400" b="1">
                <a:solidFill>
                  <a:schemeClr val="bg1"/>
                </a:solidFill>
              </a:defRPr>
            </a:lvl1pPr>
          </a:lstStyle>
          <a:p>
            <a:r>
              <a:rPr lang="en-CA"/>
              <a:t>Drag picture here</a:t>
            </a:r>
          </a:p>
        </p:txBody>
      </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34" name="Text Placeholder 33">
            <a:extLst>
              <a:ext uri="{FF2B5EF4-FFF2-40B4-BE49-F238E27FC236}">
                <a16:creationId xmlns:a16="http://schemas.microsoft.com/office/drawing/2014/main" id="{8E9EBD9D-1985-2B44-97F1-DF9B9176AD3E}"/>
              </a:ext>
            </a:extLst>
          </p:cNvPr>
          <p:cNvSpPr>
            <a:spLocks noGrp="1"/>
          </p:cNvSpPr>
          <p:nvPr>
            <p:ph type="body" sz="quarter" idx="12" hasCustomPrompt="1"/>
          </p:nvPr>
        </p:nvSpPr>
        <p:spPr>
          <a:xfrm>
            <a:off x="267142" y="4284971"/>
            <a:ext cx="1729392" cy="187813"/>
          </a:xfrm>
        </p:spPr>
        <p:txBody>
          <a:bodyPr wrap="none">
            <a:noAutofit/>
          </a:bodyPr>
          <a:lstStyle>
            <a:lvl1pPr marL="0" indent="0" algn="ctr">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1" name="Text Placeholder 33">
            <a:extLst>
              <a:ext uri="{FF2B5EF4-FFF2-40B4-BE49-F238E27FC236}">
                <a16:creationId xmlns:a16="http://schemas.microsoft.com/office/drawing/2014/main" id="{AE6ED5DD-7B00-9246-8D2E-E5C76C26EC2D}"/>
              </a:ext>
            </a:extLst>
          </p:cNvPr>
          <p:cNvSpPr>
            <a:spLocks noGrp="1"/>
          </p:cNvSpPr>
          <p:nvPr>
            <p:ph type="body" sz="quarter" idx="26" hasCustomPrompt="1"/>
          </p:nvPr>
        </p:nvSpPr>
        <p:spPr>
          <a:xfrm>
            <a:off x="267142" y="4494720"/>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pic>
        <p:nvPicPr>
          <p:cNvPr id="58" name="Graphic 57">
            <a:extLst>
              <a:ext uri="{FF2B5EF4-FFF2-40B4-BE49-F238E27FC236}">
                <a16:creationId xmlns:a16="http://schemas.microsoft.com/office/drawing/2014/main" id="{05A66BE5-2793-B441-B3C3-6FA7A98D49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4" name="Title 1">
            <a:extLst>
              <a:ext uri="{FF2B5EF4-FFF2-40B4-BE49-F238E27FC236}">
                <a16:creationId xmlns:a16="http://schemas.microsoft.com/office/drawing/2014/main" id="{0B66B85A-5976-6B4E-9B8B-2749D732A0C0}"/>
              </a:ext>
            </a:extLst>
          </p:cNvPr>
          <p:cNvSpPr>
            <a:spLocks noGrp="1"/>
          </p:cNvSpPr>
          <p:nvPr>
            <p:ph type="title" hasCustomPrompt="1"/>
          </p:nvPr>
        </p:nvSpPr>
        <p:spPr>
          <a:xfrm>
            <a:off x="467422" y="816110"/>
            <a:ext cx="4645256" cy="530090"/>
          </a:xfrm>
        </p:spPr>
        <p:txBody>
          <a:bodyPr anchor="t">
            <a:noAutofit/>
          </a:bodyPr>
          <a:lstStyle>
            <a:lvl1pPr>
              <a:defRPr>
                <a:solidFill>
                  <a:srgbClr val="333333"/>
                </a:solidFill>
              </a:defRPr>
            </a:lvl1pPr>
          </a:lstStyle>
          <a:p>
            <a:r>
              <a:rPr lang="en-US"/>
              <a:t>Team name</a:t>
            </a:r>
          </a:p>
        </p:txBody>
      </p:sp>
      <p:sp>
        <p:nvSpPr>
          <p:cNvPr id="101" name="Text Placeholder 4">
            <a:extLst>
              <a:ext uri="{FF2B5EF4-FFF2-40B4-BE49-F238E27FC236}">
                <a16:creationId xmlns:a16="http://schemas.microsoft.com/office/drawing/2014/main" id="{4F085EBA-CD5E-0A48-83D8-360EB5E2F5F6}"/>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45" name="Text Placeholder 10">
            <a:extLst>
              <a:ext uri="{FF2B5EF4-FFF2-40B4-BE49-F238E27FC236}">
                <a16:creationId xmlns:a16="http://schemas.microsoft.com/office/drawing/2014/main" id="{DED3B15E-C32F-0443-9D70-0F806576728F}"/>
              </a:ext>
            </a:extLst>
          </p:cNvPr>
          <p:cNvSpPr>
            <a:spLocks noGrp="1"/>
          </p:cNvSpPr>
          <p:nvPr>
            <p:ph type="body" sz="quarter" idx="27" hasCustomPrompt="1"/>
          </p:nvPr>
        </p:nvSpPr>
        <p:spPr>
          <a:xfrm>
            <a:off x="467422" y="1618965"/>
            <a:ext cx="4645256" cy="850270"/>
          </a:xfrm>
        </p:spPr>
        <p:txBody>
          <a:bodyPr wrap="square">
            <a:noAutofit/>
          </a:bodyPr>
          <a:lstStyle>
            <a:lvl1pPr marL="0" indent="0">
              <a:lnSpc>
                <a:spcPct val="110000"/>
              </a:lnSpc>
              <a:buNone/>
              <a:defRPr sz="12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eam description. </a:t>
            </a:r>
            <a:r>
              <a:rPr lang="en-US" err="1"/>
              <a:t>Aliquet</a:t>
            </a:r>
            <a:r>
              <a:rPr lang="en-US"/>
              <a:t> </a:t>
            </a:r>
            <a:r>
              <a:rPr lang="en-US" err="1"/>
              <a:t>sagittis</a:t>
            </a:r>
            <a:r>
              <a:rPr lang="en-US"/>
              <a:t> id </a:t>
            </a:r>
            <a:r>
              <a:rPr lang="en-US" err="1"/>
              <a:t>consectetur</a:t>
            </a:r>
            <a:r>
              <a:rPr lang="en-US"/>
              <a:t> purus. Pellentesque id nibh tortor id aliquet lectus proin nibh nisl. Dolor sed viverra ipsum nunc aliquet bibendum enim facilisis. Feugiat in ante metus dictum. </a:t>
            </a:r>
          </a:p>
        </p:txBody>
      </p:sp>
      <p:sp>
        <p:nvSpPr>
          <p:cNvPr id="46" name="Picture Placeholder 37">
            <a:extLst>
              <a:ext uri="{FF2B5EF4-FFF2-40B4-BE49-F238E27FC236}">
                <a16:creationId xmlns:a16="http://schemas.microsoft.com/office/drawing/2014/main" id="{5E79D555-1F57-5F46-BA13-16A080808836}"/>
              </a:ext>
            </a:extLst>
          </p:cNvPr>
          <p:cNvSpPr>
            <a:spLocks noGrp="1"/>
          </p:cNvSpPr>
          <p:nvPr>
            <p:ph type="pic" sz="quarter" idx="28" hasCustomPrompt="1"/>
          </p:nvPr>
        </p:nvSpPr>
        <p:spPr>
          <a:xfrm>
            <a:off x="3540141" y="3047791"/>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47" name="Text Placeholder 33">
            <a:extLst>
              <a:ext uri="{FF2B5EF4-FFF2-40B4-BE49-F238E27FC236}">
                <a16:creationId xmlns:a16="http://schemas.microsoft.com/office/drawing/2014/main" id="{28562D87-F1C3-1046-96E6-01A3D9993683}"/>
              </a:ext>
            </a:extLst>
          </p:cNvPr>
          <p:cNvSpPr>
            <a:spLocks noGrp="1"/>
          </p:cNvSpPr>
          <p:nvPr>
            <p:ph type="body" sz="quarter" idx="29" hasCustomPrompt="1"/>
          </p:nvPr>
        </p:nvSpPr>
        <p:spPr>
          <a:xfrm>
            <a:off x="3125445" y="4284971"/>
            <a:ext cx="1729392" cy="187813"/>
          </a:xfrm>
        </p:spPr>
        <p:txBody>
          <a:bodyPr wrap="none">
            <a:noAutofit/>
          </a:bodyPr>
          <a:lstStyle>
            <a:lvl1pPr marL="0" indent="0" algn="ctr">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48" name="Text Placeholder 33">
            <a:extLst>
              <a:ext uri="{FF2B5EF4-FFF2-40B4-BE49-F238E27FC236}">
                <a16:creationId xmlns:a16="http://schemas.microsoft.com/office/drawing/2014/main" id="{808D6ADF-20F3-4242-8C36-DED73BDC3264}"/>
              </a:ext>
            </a:extLst>
          </p:cNvPr>
          <p:cNvSpPr>
            <a:spLocks noGrp="1"/>
          </p:cNvSpPr>
          <p:nvPr>
            <p:ph type="body" sz="quarter" idx="30" hasCustomPrompt="1"/>
          </p:nvPr>
        </p:nvSpPr>
        <p:spPr>
          <a:xfrm>
            <a:off x="3125445" y="4494720"/>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5" name="Picture Placeholder 37">
            <a:extLst>
              <a:ext uri="{FF2B5EF4-FFF2-40B4-BE49-F238E27FC236}">
                <a16:creationId xmlns:a16="http://schemas.microsoft.com/office/drawing/2014/main" id="{550C8838-C327-D74E-8B99-C2DB291EFE57}"/>
              </a:ext>
            </a:extLst>
          </p:cNvPr>
          <p:cNvSpPr>
            <a:spLocks noGrp="1"/>
          </p:cNvSpPr>
          <p:nvPr>
            <p:ph type="pic" sz="quarter" idx="31" hasCustomPrompt="1"/>
          </p:nvPr>
        </p:nvSpPr>
        <p:spPr>
          <a:xfrm>
            <a:off x="6366469" y="803354"/>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56" name="Picture Placeholder 37">
            <a:extLst>
              <a:ext uri="{FF2B5EF4-FFF2-40B4-BE49-F238E27FC236}">
                <a16:creationId xmlns:a16="http://schemas.microsoft.com/office/drawing/2014/main" id="{CFDFB450-7014-AD42-8997-09393C199771}"/>
              </a:ext>
            </a:extLst>
          </p:cNvPr>
          <p:cNvSpPr>
            <a:spLocks noGrp="1"/>
          </p:cNvSpPr>
          <p:nvPr>
            <p:ph type="pic" sz="quarter" idx="32" hasCustomPrompt="1"/>
          </p:nvPr>
        </p:nvSpPr>
        <p:spPr>
          <a:xfrm>
            <a:off x="6366469" y="1919634"/>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57" name="Picture Placeholder 37">
            <a:extLst>
              <a:ext uri="{FF2B5EF4-FFF2-40B4-BE49-F238E27FC236}">
                <a16:creationId xmlns:a16="http://schemas.microsoft.com/office/drawing/2014/main" id="{664607EC-8F74-CF4F-ADDC-42C9EB0168E9}"/>
              </a:ext>
            </a:extLst>
          </p:cNvPr>
          <p:cNvSpPr>
            <a:spLocks noGrp="1"/>
          </p:cNvSpPr>
          <p:nvPr>
            <p:ph type="pic" sz="quarter" idx="33" hasCustomPrompt="1"/>
          </p:nvPr>
        </p:nvSpPr>
        <p:spPr>
          <a:xfrm>
            <a:off x="6366469" y="3059665"/>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59" name="Picture Placeholder 37">
            <a:extLst>
              <a:ext uri="{FF2B5EF4-FFF2-40B4-BE49-F238E27FC236}">
                <a16:creationId xmlns:a16="http://schemas.microsoft.com/office/drawing/2014/main" id="{47ABB8E4-BB95-364A-9DD6-82506BE76DDD}"/>
              </a:ext>
            </a:extLst>
          </p:cNvPr>
          <p:cNvSpPr>
            <a:spLocks noGrp="1"/>
          </p:cNvSpPr>
          <p:nvPr>
            <p:ph type="pic" sz="quarter" idx="34" hasCustomPrompt="1"/>
          </p:nvPr>
        </p:nvSpPr>
        <p:spPr>
          <a:xfrm>
            <a:off x="6366469" y="4187820"/>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60" name="Picture Placeholder 37">
            <a:extLst>
              <a:ext uri="{FF2B5EF4-FFF2-40B4-BE49-F238E27FC236}">
                <a16:creationId xmlns:a16="http://schemas.microsoft.com/office/drawing/2014/main" id="{DEA11CD6-2DE4-C64B-96F4-0638B7F969B8}"/>
              </a:ext>
            </a:extLst>
          </p:cNvPr>
          <p:cNvSpPr>
            <a:spLocks noGrp="1"/>
          </p:cNvSpPr>
          <p:nvPr>
            <p:ph type="pic" sz="quarter" idx="35" hasCustomPrompt="1"/>
          </p:nvPr>
        </p:nvSpPr>
        <p:spPr>
          <a:xfrm>
            <a:off x="6366469" y="5315976"/>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61" name="Text Placeholder 33">
            <a:extLst>
              <a:ext uri="{FF2B5EF4-FFF2-40B4-BE49-F238E27FC236}">
                <a16:creationId xmlns:a16="http://schemas.microsoft.com/office/drawing/2014/main" id="{D2F0FE01-E764-FF41-80BD-1739E8BBEBD5}"/>
              </a:ext>
            </a:extLst>
          </p:cNvPr>
          <p:cNvSpPr>
            <a:spLocks noGrp="1"/>
          </p:cNvSpPr>
          <p:nvPr>
            <p:ph type="body" sz="quarter" idx="36" hasCustomPrompt="1"/>
          </p:nvPr>
        </p:nvSpPr>
        <p:spPr>
          <a:xfrm>
            <a:off x="7526590" y="1066502"/>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2" name="Text Placeholder 33">
            <a:extLst>
              <a:ext uri="{FF2B5EF4-FFF2-40B4-BE49-F238E27FC236}">
                <a16:creationId xmlns:a16="http://schemas.microsoft.com/office/drawing/2014/main" id="{79957A8F-AA2E-E848-ABA7-B9A4C0E1E33C}"/>
              </a:ext>
            </a:extLst>
          </p:cNvPr>
          <p:cNvSpPr>
            <a:spLocks noGrp="1"/>
          </p:cNvSpPr>
          <p:nvPr>
            <p:ph type="body" sz="quarter" idx="37" hasCustomPrompt="1"/>
          </p:nvPr>
        </p:nvSpPr>
        <p:spPr>
          <a:xfrm>
            <a:off x="7526590" y="1276251"/>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3" name="Text Placeholder 33">
            <a:extLst>
              <a:ext uri="{FF2B5EF4-FFF2-40B4-BE49-F238E27FC236}">
                <a16:creationId xmlns:a16="http://schemas.microsoft.com/office/drawing/2014/main" id="{703DF5EC-96B2-2940-92A4-C2C5B1A8EDC4}"/>
              </a:ext>
            </a:extLst>
          </p:cNvPr>
          <p:cNvSpPr>
            <a:spLocks noGrp="1"/>
          </p:cNvSpPr>
          <p:nvPr>
            <p:ph type="body" sz="quarter" idx="38" hasCustomPrompt="1"/>
          </p:nvPr>
        </p:nvSpPr>
        <p:spPr>
          <a:xfrm>
            <a:off x="7526590" y="2182782"/>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4" name="Text Placeholder 33">
            <a:extLst>
              <a:ext uri="{FF2B5EF4-FFF2-40B4-BE49-F238E27FC236}">
                <a16:creationId xmlns:a16="http://schemas.microsoft.com/office/drawing/2014/main" id="{F3337EA9-1287-BF48-8C64-C6EE2B9DEBBF}"/>
              </a:ext>
            </a:extLst>
          </p:cNvPr>
          <p:cNvSpPr>
            <a:spLocks noGrp="1"/>
          </p:cNvSpPr>
          <p:nvPr>
            <p:ph type="body" sz="quarter" idx="39" hasCustomPrompt="1"/>
          </p:nvPr>
        </p:nvSpPr>
        <p:spPr>
          <a:xfrm>
            <a:off x="7526590" y="2392531"/>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5" name="Text Placeholder 33">
            <a:extLst>
              <a:ext uri="{FF2B5EF4-FFF2-40B4-BE49-F238E27FC236}">
                <a16:creationId xmlns:a16="http://schemas.microsoft.com/office/drawing/2014/main" id="{401E7D6B-DF4A-5345-8FFA-9B9C293D9777}"/>
              </a:ext>
            </a:extLst>
          </p:cNvPr>
          <p:cNvSpPr>
            <a:spLocks noGrp="1"/>
          </p:cNvSpPr>
          <p:nvPr>
            <p:ph type="body" sz="quarter" idx="40" hasCustomPrompt="1"/>
          </p:nvPr>
        </p:nvSpPr>
        <p:spPr>
          <a:xfrm>
            <a:off x="7526590" y="3299063"/>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6" name="Text Placeholder 33">
            <a:extLst>
              <a:ext uri="{FF2B5EF4-FFF2-40B4-BE49-F238E27FC236}">
                <a16:creationId xmlns:a16="http://schemas.microsoft.com/office/drawing/2014/main" id="{011CBD36-1567-1A4C-93A6-625F060039AA}"/>
              </a:ext>
            </a:extLst>
          </p:cNvPr>
          <p:cNvSpPr>
            <a:spLocks noGrp="1"/>
          </p:cNvSpPr>
          <p:nvPr>
            <p:ph type="body" sz="quarter" idx="41" hasCustomPrompt="1"/>
          </p:nvPr>
        </p:nvSpPr>
        <p:spPr>
          <a:xfrm>
            <a:off x="7526590" y="3508812"/>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7" name="Text Placeholder 33">
            <a:extLst>
              <a:ext uri="{FF2B5EF4-FFF2-40B4-BE49-F238E27FC236}">
                <a16:creationId xmlns:a16="http://schemas.microsoft.com/office/drawing/2014/main" id="{C0D6D72E-D748-DA42-A7E8-73E291792DA5}"/>
              </a:ext>
            </a:extLst>
          </p:cNvPr>
          <p:cNvSpPr>
            <a:spLocks noGrp="1"/>
          </p:cNvSpPr>
          <p:nvPr>
            <p:ph type="body" sz="quarter" idx="42" hasCustomPrompt="1"/>
          </p:nvPr>
        </p:nvSpPr>
        <p:spPr>
          <a:xfrm>
            <a:off x="7526590" y="4450970"/>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8" name="Text Placeholder 33">
            <a:extLst>
              <a:ext uri="{FF2B5EF4-FFF2-40B4-BE49-F238E27FC236}">
                <a16:creationId xmlns:a16="http://schemas.microsoft.com/office/drawing/2014/main" id="{8B71C35F-76C8-ED4A-897A-ED8F0FDD0943}"/>
              </a:ext>
            </a:extLst>
          </p:cNvPr>
          <p:cNvSpPr>
            <a:spLocks noGrp="1"/>
          </p:cNvSpPr>
          <p:nvPr>
            <p:ph type="body" sz="quarter" idx="43" hasCustomPrompt="1"/>
          </p:nvPr>
        </p:nvSpPr>
        <p:spPr>
          <a:xfrm>
            <a:off x="7526590" y="4660719"/>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9" name="Text Placeholder 33">
            <a:extLst>
              <a:ext uri="{FF2B5EF4-FFF2-40B4-BE49-F238E27FC236}">
                <a16:creationId xmlns:a16="http://schemas.microsoft.com/office/drawing/2014/main" id="{AFA7C71A-7090-C74A-8CFB-AD4D9DB3A05C}"/>
              </a:ext>
            </a:extLst>
          </p:cNvPr>
          <p:cNvSpPr>
            <a:spLocks noGrp="1"/>
          </p:cNvSpPr>
          <p:nvPr>
            <p:ph type="body" sz="quarter" idx="44" hasCustomPrompt="1"/>
          </p:nvPr>
        </p:nvSpPr>
        <p:spPr>
          <a:xfrm>
            <a:off x="7526590" y="5567250"/>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70" name="Text Placeholder 33">
            <a:extLst>
              <a:ext uri="{FF2B5EF4-FFF2-40B4-BE49-F238E27FC236}">
                <a16:creationId xmlns:a16="http://schemas.microsoft.com/office/drawing/2014/main" id="{5B9F2254-D029-0C4D-BE7E-5C6419C1F916}"/>
              </a:ext>
            </a:extLst>
          </p:cNvPr>
          <p:cNvSpPr>
            <a:spLocks noGrp="1"/>
          </p:cNvSpPr>
          <p:nvPr>
            <p:ph type="body" sz="quarter" idx="45" hasCustomPrompt="1"/>
          </p:nvPr>
        </p:nvSpPr>
        <p:spPr>
          <a:xfrm>
            <a:off x="7526590" y="5776999"/>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Tree>
    <p:extLst>
      <p:ext uri="{BB962C8B-B14F-4D97-AF65-F5344CB8AC3E}">
        <p14:creationId xmlns:p14="http://schemas.microsoft.com/office/powerpoint/2010/main" val="314583675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Org chart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BAD3E5-0007-EA45-9351-EE736951D0F7}"/>
              </a:ext>
            </a:extLst>
          </p:cNvPr>
          <p:cNvSpPr>
            <a:spLocks noGrp="1"/>
          </p:cNvSpPr>
          <p:nvPr>
            <p:ph type="body" sz="quarter" idx="28" hasCustomPrompt="1"/>
          </p:nvPr>
        </p:nvSpPr>
        <p:spPr>
          <a:xfrm>
            <a:off x="7111831" y="1002271"/>
            <a:ext cx="1693150" cy="648956"/>
          </a:xfrm>
          <a:solidFill>
            <a:srgbClr val="333333"/>
          </a:solidFill>
        </p:spPr>
        <p:txBody>
          <a:bodyPr lIns="180000" tIns="180000" rIns="180000" bIns="144000" anchor="ctr">
            <a:noAutofit/>
          </a:bodyPr>
          <a:lstStyle>
            <a:lvl1pPr marL="0" indent="0" algn="ctr">
              <a:lnSpc>
                <a:spcPct val="100000"/>
              </a:lnSpc>
              <a:spcBef>
                <a:spcPts val="0"/>
              </a:spcBef>
              <a:buNone/>
              <a:defRPr sz="1050" b="1">
                <a:solidFill>
                  <a:schemeClr val="bg1"/>
                </a:solidFill>
              </a:defRPr>
            </a:lvl1pPr>
            <a:lvl2pPr marL="457200" indent="0" algn="ctr">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58" name="Graphic 57">
            <a:extLst>
              <a:ext uri="{FF2B5EF4-FFF2-40B4-BE49-F238E27FC236}">
                <a16:creationId xmlns:a16="http://schemas.microsoft.com/office/drawing/2014/main" id="{05A66BE5-2793-B441-B3C3-6FA7A98D49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4" name="Title 1">
            <a:extLst>
              <a:ext uri="{FF2B5EF4-FFF2-40B4-BE49-F238E27FC236}">
                <a16:creationId xmlns:a16="http://schemas.microsoft.com/office/drawing/2014/main" id="{0B66B85A-5976-6B4E-9B8B-2749D732A0C0}"/>
              </a:ext>
            </a:extLst>
          </p:cNvPr>
          <p:cNvSpPr>
            <a:spLocks noGrp="1"/>
          </p:cNvSpPr>
          <p:nvPr>
            <p:ph type="title" hasCustomPrompt="1"/>
          </p:nvPr>
        </p:nvSpPr>
        <p:spPr>
          <a:xfrm>
            <a:off x="467422" y="816109"/>
            <a:ext cx="3202535" cy="2109141"/>
          </a:xfrm>
        </p:spPr>
        <p:txBody>
          <a:bodyPr anchor="t">
            <a:noAutofit/>
          </a:bodyPr>
          <a:lstStyle>
            <a:lvl1pPr>
              <a:defRPr>
                <a:solidFill>
                  <a:srgbClr val="333333"/>
                </a:solidFill>
              </a:defRPr>
            </a:lvl1pPr>
          </a:lstStyle>
          <a:p>
            <a:r>
              <a:rPr lang="en-US"/>
              <a:t>More complicated team org charts</a:t>
            </a:r>
          </a:p>
        </p:txBody>
      </p:sp>
      <p:sp>
        <p:nvSpPr>
          <p:cNvPr id="101" name="Text Placeholder 4">
            <a:extLst>
              <a:ext uri="{FF2B5EF4-FFF2-40B4-BE49-F238E27FC236}">
                <a16:creationId xmlns:a16="http://schemas.microsoft.com/office/drawing/2014/main" id="{4F085EBA-CD5E-0A48-83D8-360EB5E2F5F6}"/>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45" name="Text Placeholder 10">
            <a:extLst>
              <a:ext uri="{FF2B5EF4-FFF2-40B4-BE49-F238E27FC236}">
                <a16:creationId xmlns:a16="http://schemas.microsoft.com/office/drawing/2014/main" id="{DED3B15E-C32F-0443-9D70-0F806576728F}"/>
              </a:ext>
            </a:extLst>
          </p:cNvPr>
          <p:cNvSpPr>
            <a:spLocks noGrp="1"/>
          </p:cNvSpPr>
          <p:nvPr>
            <p:ph type="body" sz="quarter" idx="27" hasCustomPrompt="1"/>
          </p:nvPr>
        </p:nvSpPr>
        <p:spPr>
          <a:xfrm>
            <a:off x="467422" y="3361937"/>
            <a:ext cx="3202528" cy="1019598"/>
          </a:xfrm>
        </p:spPr>
        <p:txBody>
          <a:bodyPr wrap="square">
            <a:noAutofit/>
          </a:bodyPr>
          <a:lstStyle>
            <a:lvl1pPr marL="0" indent="0">
              <a:lnSpc>
                <a:spcPct val="110000"/>
              </a:lnSpc>
              <a:buNone/>
              <a:defRPr sz="12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eam description. </a:t>
            </a:r>
            <a:r>
              <a:rPr lang="en-US" err="1"/>
              <a:t>Aliquet</a:t>
            </a:r>
            <a:r>
              <a:rPr lang="en-US"/>
              <a:t> </a:t>
            </a:r>
            <a:r>
              <a:rPr lang="en-US" err="1"/>
              <a:t>sagittis</a:t>
            </a:r>
            <a:r>
              <a:rPr lang="en-US"/>
              <a:t> id </a:t>
            </a:r>
            <a:r>
              <a:rPr lang="en-US" err="1"/>
              <a:t>consectetur</a:t>
            </a:r>
            <a:r>
              <a:rPr lang="en-US"/>
              <a:t> purus. Pellentesque id nibh tortor id aliquet lectus proin nibh nisl. Dolor sed viverra ipsum nunc aliquet bibendum enim facilisis. Feugiat in ante metus dictum. </a:t>
            </a:r>
          </a:p>
        </p:txBody>
      </p:sp>
      <p:sp>
        <p:nvSpPr>
          <p:cNvPr id="102" name="Text Placeholder 2">
            <a:extLst>
              <a:ext uri="{FF2B5EF4-FFF2-40B4-BE49-F238E27FC236}">
                <a16:creationId xmlns:a16="http://schemas.microsoft.com/office/drawing/2014/main" id="{2315EBA0-61DD-3D41-9B4F-61FF60F94069}"/>
              </a:ext>
            </a:extLst>
          </p:cNvPr>
          <p:cNvSpPr>
            <a:spLocks noGrp="1"/>
          </p:cNvSpPr>
          <p:nvPr>
            <p:ph type="body" sz="quarter" idx="29" hasCustomPrompt="1"/>
          </p:nvPr>
        </p:nvSpPr>
        <p:spPr>
          <a:xfrm>
            <a:off x="4319879" y="2064191"/>
            <a:ext cx="1600825" cy="660634"/>
          </a:xfrm>
          <a:solidFill>
            <a:srgbClr val="009DD6"/>
          </a:solidFill>
        </p:spPr>
        <p:txBody>
          <a:bodyPr lIns="180000" tIns="180000" rIns="180000" bIns="144000" anchor="ctr">
            <a:noAutofit/>
          </a:bodyPr>
          <a:lstStyle>
            <a:lvl1pPr marL="0" indent="0" algn="ctr" latinLnBrk="0" hangingPunct="0">
              <a:lnSpc>
                <a:spcPct val="100000"/>
              </a:lnSpc>
              <a:spcBef>
                <a:spcPts val="0"/>
              </a:spcBef>
              <a:buNone/>
              <a:defRPr sz="1050" b="1">
                <a:solidFill>
                  <a:schemeClr val="bg1"/>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3" name="Text Placeholder 2">
            <a:extLst>
              <a:ext uri="{FF2B5EF4-FFF2-40B4-BE49-F238E27FC236}">
                <a16:creationId xmlns:a16="http://schemas.microsoft.com/office/drawing/2014/main" id="{45F942C0-C4F6-0F4B-AFBE-6CDA10ABAB56}"/>
              </a:ext>
            </a:extLst>
          </p:cNvPr>
          <p:cNvSpPr>
            <a:spLocks noGrp="1"/>
          </p:cNvSpPr>
          <p:nvPr>
            <p:ph type="body" sz="quarter" idx="30" hasCustomPrompt="1"/>
          </p:nvPr>
        </p:nvSpPr>
        <p:spPr>
          <a:xfrm>
            <a:off x="6210463" y="2064191"/>
            <a:ext cx="1600825" cy="660634"/>
          </a:xfrm>
          <a:solidFill>
            <a:srgbClr val="009DD6"/>
          </a:solidFill>
        </p:spPr>
        <p:txBody>
          <a:bodyPr lIns="180000" tIns="180000" rIns="180000" bIns="144000" anchor="ctr">
            <a:noAutofit/>
          </a:bodyPr>
          <a:lstStyle>
            <a:lvl1pPr marL="0" indent="0" algn="ctr" latinLnBrk="0" hangingPunct="0">
              <a:lnSpc>
                <a:spcPct val="100000"/>
              </a:lnSpc>
              <a:spcBef>
                <a:spcPts val="0"/>
              </a:spcBef>
              <a:buNone/>
              <a:defRPr sz="1050" b="1">
                <a:solidFill>
                  <a:schemeClr val="bg1"/>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4" name="Text Placeholder 2">
            <a:extLst>
              <a:ext uri="{FF2B5EF4-FFF2-40B4-BE49-F238E27FC236}">
                <a16:creationId xmlns:a16="http://schemas.microsoft.com/office/drawing/2014/main" id="{7A02330C-3D25-A34A-8411-8A046D3EC7EC}"/>
              </a:ext>
            </a:extLst>
          </p:cNvPr>
          <p:cNvSpPr>
            <a:spLocks noGrp="1"/>
          </p:cNvSpPr>
          <p:nvPr>
            <p:ph type="body" sz="quarter" idx="31" hasCustomPrompt="1"/>
          </p:nvPr>
        </p:nvSpPr>
        <p:spPr>
          <a:xfrm>
            <a:off x="8101047" y="2064191"/>
            <a:ext cx="1600825" cy="660634"/>
          </a:xfrm>
          <a:solidFill>
            <a:srgbClr val="009DD6"/>
          </a:solidFill>
        </p:spPr>
        <p:txBody>
          <a:bodyPr lIns="180000" tIns="180000" rIns="180000" bIns="144000" anchor="ctr">
            <a:noAutofit/>
          </a:bodyPr>
          <a:lstStyle>
            <a:lvl1pPr marL="0" indent="0" algn="ctr" latinLnBrk="0" hangingPunct="0">
              <a:lnSpc>
                <a:spcPct val="100000"/>
              </a:lnSpc>
              <a:spcBef>
                <a:spcPts val="0"/>
              </a:spcBef>
              <a:buNone/>
              <a:defRPr sz="1050" b="1">
                <a:solidFill>
                  <a:schemeClr val="bg1"/>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6" name="Text Placeholder 2">
            <a:extLst>
              <a:ext uri="{FF2B5EF4-FFF2-40B4-BE49-F238E27FC236}">
                <a16:creationId xmlns:a16="http://schemas.microsoft.com/office/drawing/2014/main" id="{DD42C35B-20B7-184A-B1AC-CF4F107DEE07}"/>
              </a:ext>
            </a:extLst>
          </p:cNvPr>
          <p:cNvSpPr>
            <a:spLocks noGrp="1"/>
          </p:cNvSpPr>
          <p:nvPr>
            <p:ph type="body" sz="quarter" idx="32" hasCustomPrompt="1"/>
          </p:nvPr>
        </p:nvSpPr>
        <p:spPr>
          <a:xfrm>
            <a:off x="9991631" y="2064191"/>
            <a:ext cx="1600825" cy="660634"/>
          </a:xfrm>
          <a:solidFill>
            <a:srgbClr val="009DD6"/>
          </a:solidFill>
        </p:spPr>
        <p:txBody>
          <a:bodyPr lIns="180000" tIns="180000" rIns="180000" bIns="144000" anchor="ctr">
            <a:noAutofit/>
          </a:bodyPr>
          <a:lstStyle>
            <a:lvl1pPr marL="0" indent="0" algn="ctr" latinLnBrk="0" hangingPunct="0">
              <a:lnSpc>
                <a:spcPct val="100000"/>
              </a:lnSpc>
              <a:spcBef>
                <a:spcPts val="0"/>
              </a:spcBef>
              <a:buNone/>
              <a:defRPr sz="1050" b="1">
                <a:solidFill>
                  <a:schemeClr val="bg1"/>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7" name="Text Placeholder 2">
            <a:extLst>
              <a:ext uri="{FF2B5EF4-FFF2-40B4-BE49-F238E27FC236}">
                <a16:creationId xmlns:a16="http://schemas.microsoft.com/office/drawing/2014/main" id="{BEACD39C-899A-BA48-B387-02809D30FEC6}"/>
              </a:ext>
            </a:extLst>
          </p:cNvPr>
          <p:cNvSpPr>
            <a:spLocks noGrp="1"/>
          </p:cNvSpPr>
          <p:nvPr>
            <p:ph type="body" sz="quarter" idx="33" hasCustomPrompt="1"/>
          </p:nvPr>
        </p:nvSpPr>
        <p:spPr>
          <a:xfrm>
            <a:off x="4620145" y="292525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8" name="Text Placeholder 2">
            <a:extLst>
              <a:ext uri="{FF2B5EF4-FFF2-40B4-BE49-F238E27FC236}">
                <a16:creationId xmlns:a16="http://schemas.microsoft.com/office/drawing/2014/main" id="{8B907B34-6C4A-844D-B15D-70D4E457D05F}"/>
              </a:ext>
            </a:extLst>
          </p:cNvPr>
          <p:cNvSpPr>
            <a:spLocks noGrp="1"/>
          </p:cNvSpPr>
          <p:nvPr>
            <p:ph type="body" sz="quarter" idx="34" hasCustomPrompt="1"/>
          </p:nvPr>
        </p:nvSpPr>
        <p:spPr>
          <a:xfrm>
            <a:off x="4620145" y="372090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9" name="Text Placeholder 2">
            <a:extLst>
              <a:ext uri="{FF2B5EF4-FFF2-40B4-BE49-F238E27FC236}">
                <a16:creationId xmlns:a16="http://schemas.microsoft.com/office/drawing/2014/main" id="{DB54B0FA-2730-9A4F-8F5B-22F75E2BAF50}"/>
              </a:ext>
            </a:extLst>
          </p:cNvPr>
          <p:cNvSpPr>
            <a:spLocks noGrp="1"/>
          </p:cNvSpPr>
          <p:nvPr>
            <p:ph type="body" sz="quarter" idx="35" hasCustomPrompt="1"/>
          </p:nvPr>
        </p:nvSpPr>
        <p:spPr>
          <a:xfrm>
            <a:off x="4620145" y="4534457"/>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0" name="Text Placeholder 2">
            <a:extLst>
              <a:ext uri="{FF2B5EF4-FFF2-40B4-BE49-F238E27FC236}">
                <a16:creationId xmlns:a16="http://schemas.microsoft.com/office/drawing/2014/main" id="{392F129E-45BF-D547-AD8D-BCF497A4E87D}"/>
              </a:ext>
            </a:extLst>
          </p:cNvPr>
          <p:cNvSpPr>
            <a:spLocks noGrp="1"/>
          </p:cNvSpPr>
          <p:nvPr>
            <p:ph type="body" sz="quarter" idx="36" hasCustomPrompt="1"/>
          </p:nvPr>
        </p:nvSpPr>
        <p:spPr>
          <a:xfrm>
            <a:off x="4620145" y="5347820"/>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1" name="Text Placeholder 2">
            <a:extLst>
              <a:ext uri="{FF2B5EF4-FFF2-40B4-BE49-F238E27FC236}">
                <a16:creationId xmlns:a16="http://schemas.microsoft.com/office/drawing/2014/main" id="{7E0E9171-F679-604B-B1CA-F88E0ADBF0DE}"/>
              </a:ext>
            </a:extLst>
          </p:cNvPr>
          <p:cNvSpPr>
            <a:spLocks noGrp="1"/>
          </p:cNvSpPr>
          <p:nvPr>
            <p:ph type="body" sz="quarter" idx="37" hasCustomPrompt="1"/>
          </p:nvPr>
        </p:nvSpPr>
        <p:spPr>
          <a:xfrm>
            <a:off x="6532501" y="292525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2" name="Text Placeholder 2">
            <a:extLst>
              <a:ext uri="{FF2B5EF4-FFF2-40B4-BE49-F238E27FC236}">
                <a16:creationId xmlns:a16="http://schemas.microsoft.com/office/drawing/2014/main" id="{11AA6FB4-7BF4-9A44-9A0E-142D1D471C6C}"/>
              </a:ext>
            </a:extLst>
          </p:cNvPr>
          <p:cNvSpPr>
            <a:spLocks noGrp="1"/>
          </p:cNvSpPr>
          <p:nvPr>
            <p:ph type="body" sz="quarter" idx="38" hasCustomPrompt="1"/>
          </p:nvPr>
        </p:nvSpPr>
        <p:spPr>
          <a:xfrm>
            <a:off x="6532501" y="372090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3" name="Text Placeholder 2">
            <a:extLst>
              <a:ext uri="{FF2B5EF4-FFF2-40B4-BE49-F238E27FC236}">
                <a16:creationId xmlns:a16="http://schemas.microsoft.com/office/drawing/2014/main" id="{3103D730-8882-AB4F-90E2-BE95A2AE5F41}"/>
              </a:ext>
            </a:extLst>
          </p:cNvPr>
          <p:cNvSpPr>
            <a:spLocks noGrp="1"/>
          </p:cNvSpPr>
          <p:nvPr>
            <p:ph type="body" sz="quarter" idx="39" hasCustomPrompt="1"/>
          </p:nvPr>
        </p:nvSpPr>
        <p:spPr>
          <a:xfrm>
            <a:off x="6532501" y="4534457"/>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4" name="Text Placeholder 2">
            <a:extLst>
              <a:ext uri="{FF2B5EF4-FFF2-40B4-BE49-F238E27FC236}">
                <a16:creationId xmlns:a16="http://schemas.microsoft.com/office/drawing/2014/main" id="{79B0F0B7-DB29-3042-BEDD-417FB835967C}"/>
              </a:ext>
            </a:extLst>
          </p:cNvPr>
          <p:cNvSpPr>
            <a:spLocks noGrp="1"/>
          </p:cNvSpPr>
          <p:nvPr>
            <p:ph type="body" sz="quarter" idx="40" hasCustomPrompt="1"/>
          </p:nvPr>
        </p:nvSpPr>
        <p:spPr>
          <a:xfrm>
            <a:off x="6532501" y="5347820"/>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5" name="Text Placeholder 2">
            <a:extLst>
              <a:ext uri="{FF2B5EF4-FFF2-40B4-BE49-F238E27FC236}">
                <a16:creationId xmlns:a16="http://schemas.microsoft.com/office/drawing/2014/main" id="{6A5DB724-D7D5-BB4C-81F8-3275E8459568}"/>
              </a:ext>
            </a:extLst>
          </p:cNvPr>
          <p:cNvSpPr>
            <a:spLocks noGrp="1"/>
          </p:cNvSpPr>
          <p:nvPr>
            <p:ph type="body" sz="quarter" idx="41" hasCustomPrompt="1"/>
          </p:nvPr>
        </p:nvSpPr>
        <p:spPr>
          <a:xfrm>
            <a:off x="8417057" y="292525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6" name="Text Placeholder 2">
            <a:extLst>
              <a:ext uri="{FF2B5EF4-FFF2-40B4-BE49-F238E27FC236}">
                <a16:creationId xmlns:a16="http://schemas.microsoft.com/office/drawing/2014/main" id="{20895255-FB58-2C49-895E-3EE56194D488}"/>
              </a:ext>
            </a:extLst>
          </p:cNvPr>
          <p:cNvSpPr>
            <a:spLocks noGrp="1"/>
          </p:cNvSpPr>
          <p:nvPr>
            <p:ph type="body" sz="quarter" idx="42" hasCustomPrompt="1"/>
          </p:nvPr>
        </p:nvSpPr>
        <p:spPr>
          <a:xfrm>
            <a:off x="8417057" y="372090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7" name="Text Placeholder 2">
            <a:extLst>
              <a:ext uri="{FF2B5EF4-FFF2-40B4-BE49-F238E27FC236}">
                <a16:creationId xmlns:a16="http://schemas.microsoft.com/office/drawing/2014/main" id="{01A26D29-51D9-3347-A665-416B838FC6D0}"/>
              </a:ext>
            </a:extLst>
          </p:cNvPr>
          <p:cNvSpPr>
            <a:spLocks noGrp="1"/>
          </p:cNvSpPr>
          <p:nvPr>
            <p:ph type="body" sz="quarter" idx="43" hasCustomPrompt="1"/>
          </p:nvPr>
        </p:nvSpPr>
        <p:spPr>
          <a:xfrm>
            <a:off x="8417057" y="4534457"/>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8" name="Text Placeholder 2">
            <a:extLst>
              <a:ext uri="{FF2B5EF4-FFF2-40B4-BE49-F238E27FC236}">
                <a16:creationId xmlns:a16="http://schemas.microsoft.com/office/drawing/2014/main" id="{8C5C194E-81DF-AE40-A4AB-A767B02AEE8B}"/>
              </a:ext>
            </a:extLst>
          </p:cNvPr>
          <p:cNvSpPr>
            <a:spLocks noGrp="1"/>
          </p:cNvSpPr>
          <p:nvPr>
            <p:ph type="body" sz="quarter" idx="44" hasCustomPrompt="1"/>
          </p:nvPr>
        </p:nvSpPr>
        <p:spPr>
          <a:xfrm>
            <a:off x="8417057" y="5347820"/>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9" name="Text Placeholder 2">
            <a:extLst>
              <a:ext uri="{FF2B5EF4-FFF2-40B4-BE49-F238E27FC236}">
                <a16:creationId xmlns:a16="http://schemas.microsoft.com/office/drawing/2014/main" id="{DDEA1F9A-A314-3246-8C0B-17EC7CCD19F8}"/>
              </a:ext>
            </a:extLst>
          </p:cNvPr>
          <p:cNvSpPr>
            <a:spLocks noGrp="1"/>
          </p:cNvSpPr>
          <p:nvPr>
            <p:ph type="body" sz="quarter" idx="45" hasCustomPrompt="1"/>
          </p:nvPr>
        </p:nvSpPr>
        <p:spPr>
          <a:xfrm>
            <a:off x="10291897" y="292525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20" name="Text Placeholder 2">
            <a:extLst>
              <a:ext uri="{FF2B5EF4-FFF2-40B4-BE49-F238E27FC236}">
                <a16:creationId xmlns:a16="http://schemas.microsoft.com/office/drawing/2014/main" id="{A83C201C-955E-8D40-A7BE-62AB28B48AFE}"/>
              </a:ext>
            </a:extLst>
          </p:cNvPr>
          <p:cNvSpPr>
            <a:spLocks noGrp="1"/>
          </p:cNvSpPr>
          <p:nvPr>
            <p:ph type="body" sz="quarter" idx="46" hasCustomPrompt="1"/>
          </p:nvPr>
        </p:nvSpPr>
        <p:spPr>
          <a:xfrm>
            <a:off x="10291897" y="372090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21" name="Text Placeholder 2">
            <a:extLst>
              <a:ext uri="{FF2B5EF4-FFF2-40B4-BE49-F238E27FC236}">
                <a16:creationId xmlns:a16="http://schemas.microsoft.com/office/drawing/2014/main" id="{158878BE-E5F7-294E-9548-DC260E57962B}"/>
              </a:ext>
            </a:extLst>
          </p:cNvPr>
          <p:cNvSpPr>
            <a:spLocks noGrp="1"/>
          </p:cNvSpPr>
          <p:nvPr>
            <p:ph type="body" sz="quarter" idx="47" hasCustomPrompt="1"/>
          </p:nvPr>
        </p:nvSpPr>
        <p:spPr>
          <a:xfrm>
            <a:off x="10291897" y="4534457"/>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22" name="Text Placeholder 2">
            <a:extLst>
              <a:ext uri="{FF2B5EF4-FFF2-40B4-BE49-F238E27FC236}">
                <a16:creationId xmlns:a16="http://schemas.microsoft.com/office/drawing/2014/main" id="{461E86C5-5C2C-CA44-A122-758DCE05092A}"/>
              </a:ext>
            </a:extLst>
          </p:cNvPr>
          <p:cNvSpPr>
            <a:spLocks noGrp="1"/>
          </p:cNvSpPr>
          <p:nvPr>
            <p:ph type="body" sz="quarter" idx="48" hasCustomPrompt="1"/>
          </p:nvPr>
        </p:nvSpPr>
        <p:spPr>
          <a:xfrm>
            <a:off x="10291897" y="5347820"/>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Tree>
    <p:extLst>
      <p:ext uri="{BB962C8B-B14F-4D97-AF65-F5344CB8AC3E}">
        <p14:creationId xmlns:p14="http://schemas.microsoft.com/office/powerpoint/2010/main" val="100581098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Full colour background">
    <p:bg>
      <p:bgPr>
        <a:solidFill>
          <a:schemeClr val="tx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8CD8353-339B-A949-9962-88420B3D581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10" name="TextBox 7">
            <a:extLst>
              <a:ext uri="{FF2B5EF4-FFF2-40B4-BE49-F238E27FC236}">
                <a16:creationId xmlns:a16="http://schemas.microsoft.com/office/drawing/2014/main" id="{60AD4FC9-0E4A-BB47-90EB-8736D75D9CDA}"/>
              </a:ext>
            </a:extLst>
          </p:cNvPr>
          <p:cNvSpPr txBox="1">
            <a:spLocks/>
          </p:cNvSpPr>
          <p:nvPr userDrawn="1"/>
        </p:nvSpPr>
        <p:spPr>
          <a:xfrm>
            <a:off x="11575702" y="332306"/>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pic>
        <p:nvPicPr>
          <p:cNvPr id="6" name="Graphic 5">
            <a:extLst>
              <a:ext uri="{FF2B5EF4-FFF2-40B4-BE49-F238E27FC236}">
                <a16:creationId xmlns:a16="http://schemas.microsoft.com/office/drawing/2014/main" id="{3D141645-632F-D444-8E55-1B43B800F2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13CCE40F-3266-7940-BDD5-D5F11DC499E7}"/>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17187335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icture (right s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34C0E13-41DE-514C-A581-46C747B855C7}"/>
              </a:ext>
            </a:extLst>
          </p:cNvPr>
          <p:cNvSpPr>
            <a:spLocks noGrp="1"/>
          </p:cNvSpPr>
          <p:nvPr>
            <p:ph type="pic" sz="quarter" idx="10" hasCustomPrompt="1"/>
          </p:nvPr>
        </p:nvSpPr>
        <p:spPr>
          <a:xfrm>
            <a:off x="6105525" y="0"/>
            <a:ext cx="6086476" cy="6858000"/>
          </a:xfrm>
        </p:spPr>
        <p:txBody>
          <a:bodyPr anchor="ctr"/>
          <a:lstStyle>
            <a:lvl1pPr marL="0" indent="0" algn="ctr">
              <a:buNone/>
              <a:defRPr>
                <a:solidFill>
                  <a:schemeClr val="bg1"/>
                </a:solidFill>
                <a:latin typeface="Scotia" panose="020B0503020203020204" pitchFamily="34" charset="0"/>
              </a:defRPr>
            </a:lvl1pPr>
          </a:lstStyle>
          <a:p>
            <a:r>
              <a:rPr lang="en-US"/>
              <a:t>Picture</a:t>
            </a:r>
          </a:p>
        </p:txBody>
      </p:sp>
      <p:sp>
        <p:nvSpPr>
          <p:cNvPr id="7" name="TextBox 6">
            <a:extLst>
              <a:ext uri="{FF2B5EF4-FFF2-40B4-BE49-F238E27FC236}">
                <a16:creationId xmlns:a16="http://schemas.microsoft.com/office/drawing/2014/main" id="{EED3C31C-4F98-D546-947E-85D8BD2F514C}"/>
              </a:ext>
            </a:extLst>
          </p:cNvPr>
          <p:cNvSpPr txBox="1">
            <a:spLocks/>
          </p:cNvSpPr>
          <p:nvPr/>
        </p:nvSpPr>
        <p:spPr>
          <a:xfrm>
            <a:off x="11575704" y="332531"/>
            <a:ext cx="233505"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bg1"/>
                </a:solidFill>
                <a:latin typeface="Scotia" panose="020B0503020203020204" pitchFamily="34" charset="0"/>
              </a:rPr>
              <a:pPr algn="r"/>
              <a:t>‹#›</a:t>
            </a:fld>
            <a:endParaRPr lang="en-CA" sz="600">
              <a:solidFill>
                <a:schemeClr val="bg1"/>
              </a:solidFill>
              <a:latin typeface="Scotia" panose="020B0503020203020204" pitchFamily="34" charset="0"/>
            </a:endParaRPr>
          </a:p>
        </p:txBody>
      </p:sp>
      <p:grpSp>
        <p:nvGrpSpPr>
          <p:cNvPr id="8" name="Group 7">
            <a:extLst>
              <a:ext uri="{FF2B5EF4-FFF2-40B4-BE49-F238E27FC236}">
                <a16:creationId xmlns:a16="http://schemas.microsoft.com/office/drawing/2014/main" id="{3B07CB02-02C1-F249-B155-E8D44F435DA5}"/>
              </a:ext>
            </a:extLst>
          </p:cNvPr>
          <p:cNvGrpSpPr/>
          <p:nvPr/>
        </p:nvGrpSpPr>
        <p:grpSpPr>
          <a:xfrm>
            <a:off x="11800685" y="6466711"/>
            <a:ext cx="391316" cy="391291"/>
            <a:chOff x="23599832" y="12933419"/>
            <a:chExt cx="782581" cy="782581"/>
          </a:xfrm>
        </p:grpSpPr>
        <p:sp>
          <p:nvSpPr>
            <p:cNvPr id="9" name="Rectangle 8">
              <a:extLst>
                <a:ext uri="{FF2B5EF4-FFF2-40B4-BE49-F238E27FC236}">
                  <a16:creationId xmlns:a16="http://schemas.microsoft.com/office/drawing/2014/main" id="{5A73F056-CBD8-214E-A20B-8EA0932103A7}"/>
                </a:ext>
              </a:extLst>
            </p:cNvPr>
            <p:cNvSpPr/>
            <p:nvPr/>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10" name="Picture 9">
              <a:extLst>
                <a:ext uri="{FF2B5EF4-FFF2-40B4-BE49-F238E27FC236}">
                  <a16:creationId xmlns:a16="http://schemas.microsoft.com/office/drawing/2014/main" id="{35E0E881-511D-CC49-AD27-3D1C85F9F4FB}"/>
                </a:ext>
              </a:extLst>
            </p:cNvPr>
            <p:cNvPicPr>
              <a:picLocks noChangeAspect="1"/>
            </p:cNvPicPr>
            <p:nvPr/>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3716089226"/>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34C0E13-41DE-514C-A581-46C747B855C7}"/>
              </a:ext>
            </a:extLst>
          </p:cNvPr>
          <p:cNvSpPr>
            <a:spLocks noGrp="1"/>
          </p:cNvSpPr>
          <p:nvPr>
            <p:ph type="pic" sz="quarter" idx="10" hasCustomPrompt="1"/>
          </p:nvPr>
        </p:nvSpPr>
        <p:spPr>
          <a:xfrm>
            <a:off x="6105524" y="0"/>
            <a:ext cx="6086476" cy="6858000"/>
          </a:xfrm>
          <a:solidFill>
            <a:srgbClr val="949494"/>
          </a:solidFill>
        </p:spPr>
        <p:txBody>
          <a:bodyPr anchor="ctr"/>
          <a:lstStyle>
            <a:lvl1pPr marL="0" indent="0" algn="ctr">
              <a:buNone/>
              <a:defRPr>
                <a:solidFill>
                  <a:schemeClr val="bg1"/>
                </a:solidFill>
                <a:latin typeface="Scotia" panose="020B0503020203020204" pitchFamily="34" charset="0"/>
              </a:defRPr>
            </a:lvl1pPr>
          </a:lstStyle>
          <a:p>
            <a:r>
              <a:rPr lang="en-US"/>
              <a:t>Picture</a:t>
            </a:r>
          </a:p>
        </p:txBody>
      </p:sp>
      <p:sp>
        <p:nvSpPr>
          <p:cNvPr id="11" name="TextBox 10">
            <a:extLst>
              <a:ext uri="{FF2B5EF4-FFF2-40B4-BE49-F238E27FC236}">
                <a16:creationId xmlns:a16="http://schemas.microsoft.com/office/drawing/2014/main" id="{6FA279E0-8913-3144-BC8B-BFDCE0C603FB}"/>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12" name="TextBox 7">
            <a:extLst>
              <a:ext uri="{FF2B5EF4-FFF2-40B4-BE49-F238E27FC236}">
                <a16:creationId xmlns:a16="http://schemas.microsoft.com/office/drawing/2014/main" id="{D3388904-2010-4F49-A524-F04BF80010B7}"/>
              </a:ext>
            </a:extLst>
          </p:cNvPr>
          <p:cNvSpPr txBox="1">
            <a:spLocks/>
          </p:cNvSpPr>
          <p:nvPr userDrawn="1"/>
        </p:nvSpPr>
        <p:spPr>
          <a:xfrm>
            <a:off x="11575702" y="332306"/>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pic>
        <p:nvPicPr>
          <p:cNvPr id="13" name="Graphic 12">
            <a:extLst>
              <a:ext uri="{FF2B5EF4-FFF2-40B4-BE49-F238E27FC236}">
                <a16:creationId xmlns:a16="http://schemas.microsoft.com/office/drawing/2014/main" id="{A8D9F05B-33C2-2C4B-ADE5-4D6E410E1B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4" name="Text Placeholder 4">
            <a:extLst>
              <a:ext uri="{FF2B5EF4-FFF2-40B4-BE49-F238E27FC236}">
                <a16:creationId xmlns:a16="http://schemas.microsoft.com/office/drawing/2014/main" id="{2422CBD0-9B17-BD4A-881C-FB2A98BD99E5}"/>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6" name="Text Placeholder 10">
            <a:extLst>
              <a:ext uri="{FF2B5EF4-FFF2-40B4-BE49-F238E27FC236}">
                <a16:creationId xmlns:a16="http://schemas.microsoft.com/office/drawing/2014/main" id="{0AE24CB2-9DB6-2A49-A71E-190DB4D5FC90}"/>
              </a:ext>
            </a:extLst>
          </p:cNvPr>
          <p:cNvSpPr>
            <a:spLocks noGrp="1"/>
          </p:cNvSpPr>
          <p:nvPr>
            <p:ph type="body" sz="quarter" idx="13" hasCustomPrompt="1"/>
          </p:nvPr>
        </p:nvSpPr>
        <p:spPr>
          <a:xfrm>
            <a:off x="800504" y="1586781"/>
            <a:ext cx="4443907" cy="3713881"/>
          </a:xfrm>
        </p:spPr>
        <p:txBody>
          <a:bodyPr wrap="square">
            <a:noAutofit/>
          </a:bodyPr>
          <a:lstStyle>
            <a:lvl1pPr marL="0" indent="0">
              <a:lnSpc>
                <a:spcPct val="110000"/>
              </a:lnSpc>
              <a:spcBef>
                <a:spcPts val="0"/>
              </a:spcBef>
              <a:spcAft>
                <a:spcPts val="1800"/>
              </a:spcAft>
              <a:buNone/>
              <a:defRPr sz="18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Molestie</a:t>
            </a:r>
            <a:r>
              <a:rPr lang="en-US"/>
              <a:t> </a:t>
            </a:r>
            <a:r>
              <a:rPr lang="en-US" err="1"/>
              <a:t>nunc</a:t>
            </a:r>
            <a:r>
              <a:rPr lang="en-US"/>
              <a:t> non </a:t>
            </a:r>
            <a:r>
              <a:rPr lang="en-US" err="1"/>
              <a:t>blandit</a:t>
            </a:r>
            <a:r>
              <a:rPr lang="en-US"/>
              <a:t> </a:t>
            </a:r>
            <a:r>
              <a:rPr lang="en-US" err="1"/>
              <a:t>massa</a:t>
            </a:r>
            <a:r>
              <a:rPr lang="en-US"/>
              <a:t> </a:t>
            </a:r>
            <a:r>
              <a:rPr lang="en-US" err="1"/>
              <a:t>enim</a:t>
            </a:r>
            <a:r>
              <a:rPr lang="en-US"/>
              <a:t> </a:t>
            </a:r>
            <a:r>
              <a:rPr lang="en-US" err="1"/>
              <a:t>nec</a:t>
            </a:r>
            <a:r>
              <a:rPr lang="en-US"/>
              <a:t> dui </a:t>
            </a:r>
            <a:r>
              <a:rPr lang="en-US" err="1"/>
              <a:t>nunc</a:t>
            </a:r>
            <a:r>
              <a:rPr lang="en-US"/>
              <a:t> </a:t>
            </a:r>
            <a:r>
              <a:rPr lang="en-US" err="1"/>
              <a:t>mattis</a:t>
            </a:r>
            <a:r>
              <a:rPr lang="en-US"/>
              <a:t>. Felis </a:t>
            </a:r>
            <a:r>
              <a:rPr lang="en-US" err="1"/>
              <a:t>bibendum</a:t>
            </a:r>
            <a:r>
              <a:rPr lang="en-US"/>
              <a:t> </a:t>
            </a:r>
            <a:r>
              <a:rPr lang="en-US" err="1"/>
              <a:t>ut</a:t>
            </a:r>
            <a:r>
              <a:rPr lang="en-US"/>
              <a:t> </a:t>
            </a:r>
            <a:r>
              <a:rPr lang="en-US" err="1"/>
              <a:t>tristique</a:t>
            </a:r>
            <a:r>
              <a:rPr lang="en-US"/>
              <a:t> et </a:t>
            </a:r>
            <a:r>
              <a:rPr lang="en-US" err="1"/>
              <a:t>egestas</a:t>
            </a:r>
            <a:r>
              <a:rPr lang="en-US"/>
              <a:t> </a:t>
            </a:r>
            <a:r>
              <a:rPr lang="en-US" err="1"/>
              <a:t>quis</a:t>
            </a:r>
            <a:r>
              <a:rPr lang="en-US"/>
              <a:t> ipsum </a:t>
            </a:r>
            <a:r>
              <a:rPr lang="en-US" err="1"/>
              <a:t>suspendisse</a:t>
            </a:r>
            <a:r>
              <a:rPr lang="en-US"/>
              <a:t>. Sed </a:t>
            </a:r>
            <a:r>
              <a:rPr lang="en-US" err="1"/>
              <a:t>blandit</a:t>
            </a:r>
            <a:r>
              <a:rPr lang="en-US"/>
              <a:t> libero </a:t>
            </a:r>
            <a:r>
              <a:rPr lang="en-US" err="1"/>
              <a:t>volutpat</a:t>
            </a:r>
            <a:r>
              <a:rPr lang="en-US"/>
              <a:t> sed. </a:t>
            </a:r>
            <a:r>
              <a:rPr lang="en-US" err="1"/>
              <a:t>Sodales</a:t>
            </a:r>
            <a:r>
              <a:rPr lang="en-US"/>
              <a:t> </a:t>
            </a:r>
            <a:r>
              <a:rPr lang="en-US" err="1"/>
              <a:t>neque</a:t>
            </a:r>
            <a:r>
              <a:rPr lang="en-US"/>
              <a:t> </a:t>
            </a:r>
            <a:r>
              <a:rPr lang="en-US" err="1"/>
              <a:t>sodales</a:t>
            </a:r>
            <a:r>
              <a:rPr lang="en-US"/>
              <a:t> </a:t>
            </a:r>
            <a:r>
              <a:rPr lang="en-US" err="1"/>
              <a:t>ut</a:t>
            </a:r>
            <a:r>
              <a:rPr lang="en-US"/>
              <a:t> </a:t>
            </a:r>
            <a:r>
              <a:rPr lang="en-US" err="1"/>
              <a:t>etiam</a:t>
            </a:r>
            <a:r>
              <a:rPr lang="en-US"/>
              <a:t> sit </a:t>
            </a:r>
            <a:r>
              <a:rPr lang="en-US" err="1"/>
              <a:t>amet</a:t>
            </a:r>
            <a:r>
              <a:rPr lang="en-US"/>
              <a:t>. </a:t>
            </a:r>
            <a:r>
              <a:rPr lang="en-US" err="1"/>
              <a:t>Turpis</a:t>
            </a:r>
            <a:r>
              <a:rPr lang="en-US"/>
              <a:t> </a:t>
            </a:r>
            <a:r>
              <a:rPr lang="en-US" err="1"/>
              <a:t>tincidunt</a:t>
            </a:r>
            <a:r>
              <a:rPr lang="en-US"/>
              <a:t> id </a:t>
            </a:r>
            <a:r>
              <a:rPr lang="en-US" err="1"/>
              <a:t>aliquet</a:t>
            </a:r>
            <a:r>
              <a:rPr lang="en-US"/>
              <a:t> </a:t>
            </a:r>
            <a:r>
              <a:rPr lang="en-US" err="1"/>
              <a:t>risus</a:t>
            </a:r>
            <a:r>
              <a:rPr lang="en-US"/>
              <a:t>. Morbi </a:t>
            </a:r>
            <a:r>
              <a:rPr lang="en-US" err="1"/>
              <a:t>tristique</a:t>
            </a:r>
            <a:r>
              <a:rPr lang="en-US"/>
              <a:t> </a:t>
            </a:r>
            <a:r>
              <a:rPr lang="en-US" err="1"/>
              <a:t>senectus</a:t>
            </a:r>
            <a:r>
              <a:rPr lang="en-US"/>
              <a:t> et </a:t>
            </a:r>
            <a:r>
              <a:rPr lang="en-US" err="1"/>
              <a:t>netus</a:t>
            </a:r>
            <a:r>
              <a:rPr lang="en-US"/>
              <a:t> et </a:t>
            </a:r>
            <a:r>
              <a:rPr lang="en-US" err="1"/>
              <a:t>malesuada</a:t>
            </a:r>
            <a:r>
              <a:rPr lang="en-US"/>
              <a:t>. </a:t>
            </a:r>
          </a:p>
          <a:p>
            <a:pPr lvl="0"/>
            <a:r>
              <a:rPr lang="en-US" err="1"/>
              <a:t>Accumsan</a:t>
            </a:r>
            <a:r>
              <a:rPr lang="en-US"/>
              <a:t> </a:t>
            </a:r>
            <a:r>
              <a:rPr lang="en-US" err="1"/>
              <a:t>lacus</a:t>
            </a:r>
            <a:r>
              <a:rPr lang="en-US"/>
              <a:t> vel </a:t>
            </a:r>
            <a:r>
              <a:rPr lang="en-US" err="1"/>
              <a:t>facilisis</a:t>
            </a:r>
            <a:r>
              <a:rPr lang="en-US"/>
              <a:t> </a:t>
            </a:r>
            <a:r>
              <a:rPr lang="en-US" err="1"/>
              <a:t>volutpat</a:t>
            </a:r>
            <a:r>
              <a:rPr lang="en-US"/>
              <a:t> </a:t>
            </a:r>
            <a:r>
              <a:rPr lang="en-US" err="1"/>
              <a:t>est</a:t>
            </a:r>
            <a:r>
              <a:rPr lang="en-US"/>
              <a:t> </a:t>
            </a:r>
            <a:r>
              <a:rPr lang="en-US" err="1"/>
              <a:t>velit</a:t>
            </a:r>
            <a:r>
              <a:rPr lang="en-US"/>
              <a:t> </a:t>
            </a:r>
            <a:r>
              <a:rPr lang="en-US" err="1"/>
              <a:t>egestas</a:t>
            </a:r>
            <a:r>
              <a:rPr lang="en-US"/>
              <a:t> dui. </a:t>
            </a:r>
            <a:r>
              <a:rPr lang="en-US" err="1"/>
              <a:t>Elementum</a:t>
            </a:r>
            <a:r>
              <a:rPr lang="en-US"/>
              <a:t> tempus </a:t>
            </a:r>
            <a:r>
              <a:rPr lang="en-US" err="1"/>
              <a:t>egestas</a:t>
            </a:r>
            <a:r>
              <a:rPr lang="en-US"/>
              <a:t> sed sed </a:t>
            </a:r>
            <a:r>
              <a:rPr lang="en-US" err="1"/>
              <a:t>risus</a:t>
            </a:r>
            <a:r>
              <a:rPr lang="en-US"/>
              <a:t>. Tellus </a:t>
            </a:r>
            <a:r>
              <a:rPr lang="en-US" err="1"/>
              <a:t>elementum</a:t>
            </a:r>
            <a:r>
              <a:rPr lang="en-US"/>
              <a:t> </a:t>
            </a:r>
            <a:r>
              <a:rPr lang="en-US" err="1"/>
              <a:t>sagittis</a:t>
            </a:r>
            <a:r>
              <a:rPr lang="en-US"/>
              <a:t> vitae et </a:t>
            </a:r>
            <a:r>
              <a:rPr lang="en-US" err="1"/>
              <a:t>leo</a:t>
            </a:r>
            <a:r>
              <a:rPr lang="en-US"/>
              <a:t> </a:t>
            </a:r>
            <a:r>
              <a:rPr lang="en-US" err="1"/>
              <a:t>duis</a:t>
            </a:r>
            <a:r>
              <a:rPr lang="en-US"/>
              <a:t> </a:t>
            </a:r>
            <a:r>
              <a:rPr lang="en-US" err="1"/>
              <a:t>ut.</a:t>
            </a:r>
            <a:r>
              <a:rPr lang="en-US"/>
              <a:t> </a:t>
            </a:r>
          </a:p>
          <a:p>
            <a:pPr lvl="0"/>
            <a:endParaRPr lang="en-US"/>
          </a:p>
        </p:txBody>
      </p:sp>
    </p:spTree>
    <p:extLst>
      <p:ext uri="{BB962C8B-B14F-4D97-AF65-F5344CB8AC3E}">
        <p14:creationId xmlns:p14="http://schemas.microsoft.com/office/powerpoint/2010/main" val="48345753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eft s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AD19874-2631-7C4E-AE93-DBC6EFAD604A}"/>
              </a:ext>
            </a:extLst>
          </p:cNvPr>
          <p:cNvSpPr>
            <a:spLocks noGrp="1"/>
          </p:cNvSpPr>
          <p:nvPr>
            <p:ph type="pic" sz="quarter" idx="10" hasCustomPrompt="1"/>
          </p:nvPr>
        </p:nvSpPr>
        <p:spPr>
          <a:xfrm>
            <a:off x="1" y="0"/>
            <a:ext cx="6096000" cy="6858000"/>
          </a:xfrm>
          <a:solidFill>
            <a:srgbClr val="999999"/>
          </a:solidFill>
        </p:spPr>
        <p:txBody>
          <a:bodyPr anchor="ctr"/>
          <a:lstStyle>
            <a:lvl1pPr marL="0" indent="0" algn="ctr">
              <a:buNone/>
              <a:defRPr b="0" i="0">
                <a:solidFill>
                  <a:schemeClr val="bg1"/>
                </a:solidFill>
                <a:latin typeface="Scotia" panose="020B0503020203020204" pitchFamily="34" charset="0"/>
              </a:defRPr>
            </a:lvl1pPr>
          </a:lstStyle>
          <a:p>
            <a:r>
              <a:rPr lang="en-US"/>
              <a:t>Picture</a:t>
            </a:r>
          </a:p>
        </p:txBody>
      </p:sp>
      <p:sp>
        <p:nvSpPr>
          <p:cNvPr id="8" name="TextBox 7">
            <a:extLst>
              <a:ext uri="{FF2B5EF4-FFF2-40B4-BE49-F238E27FC236}">
                <a16:creationId xmlns:a16="http://schemas.microsoft.com/office/drawing/2014/main" id="{74C848D3-509E-104E-BA0C-A711590EBCF3}"/>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9" name="TextBox 7">
            <a:extLst>
              <a:ext uri="{FF2B5EF4-FFF2-40B4-BE49-F238E27FC236}">
                <a16:creationId xmlns:a16="http://schemas.microsoft.com/office/drawing/2014/main" id="{0D9DC20F-8A5E-554B-AA85-F60ADC81DBCF}"/>
              </a:ext>
            </a:extLst>
          </p:cNvPr>
          <p:cNvSpPr txBox="1">
            <a:spLocks/>
          </p:cNvSpPr>
          <p:nvPr userDrawn="1"/>
        </p:nvSpPr>
        <p:spPr>
          <a:xfrm>
            <a:off x="11575702" y="332306"/>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2" name="Graphic 11">
            <a:extLst>
              <a:ext uri="{FF2B5EF4-FFF2-40B4-BE49-F238E27FC236}">
                <a16:creationId xmlns:a16="http://schemas.microsoft.com/office/drawing/2014/main" id="{B5CCBD5A-F4F0-F642-8843-7D21BC7848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3" name="Text Placeholder 4">
            <a:extLst>
              <a:ext uri="{FF2B5EF4-FFF2-40B4-BE49-F238E27FC236}">
                <a16:creationId xmlns:a16="http://schemas.microsoft.com/office/drawing/2014/main" id="{A85ABEDE-128F-F94C-BE21-0F2CE9628A5F}"/>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6" name="Text Placeholder 10">
            <a:extLst>
              <a:ext uri="{FF2B5EF4-FFF2-40B4-BE49-F238E27FC236}">
                <a16:creationId xmlns:a16="http://schemas.microsoft.com/office/drawing/2014/main" id="{695323A9-ABB2-574E-AD53-79C3E142485C}"/>
              </a:ext>
            </a:extLst>
          </p:cNvPr>
          <p:cNvSpPr>
            <a:spLocks noGrp="1"/>
          </p:cNvSpPr>
          <p:nvPr>
            <p:ph type="body" sz="quarter" idx="13" hasCustomPrompt="1"/>
          </p:nvPr>
        </p:nvSpPr>
        <p:spPr>
          <a:xfrm>
            <a:off x="6732530" y="3308333"/>
            <a:ext cx="4843172" cy="1949468"/>
          </a:xfrm>
        </p:spPr>
        <p:txBody>
          <a:bodyPr wrap="square">
            <a:noAutofit/>
          </a:bodyPr>
          <a:lstStyle>
            <a:lvl1pPr marL="0" indent="0">
              <a:lnSpc>
                <a:spcPct val="110000"/>
              </a:lnSpc>
              <a:spcBef>
                <a:spcPts val="0"/>
              </a:spcBef>
              <a:spcAft>
                <a:spcPts val="1800"/>
              </a:spcAft>
              <a:buNone/>
              <a:defRPr sz="16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a:t>
            </a:r>
          </a:p>
        </p:txBody>
      </p:sp>
      <p:sp>
        <p:nvSpPr>
          <p:cNvPr id="17" name="Title 1">
            <a:extLst>
              <a:ext uri="{FF2B5EF4-FFF2-40B4-BE49-F238E27FC236}">
                <a16:creationId xmlns:a16="http://schemas.microsoft.com/office/drawing/2014/main" id="{C35EA8C6-0A7F-E144-B0EB-E6D4875C352F}"/>
              </a:ext>
            </a:extLst>
          </p:cNvPr>
          <p:cNvSpPr>
            <a:spLocks noGrp="1"/>
          </p:cNvSpPr>
          <p:nvPr>
            <p:ph type="title" hasCustomPrompt="1"/>
          </p:nvPr>
        </p:nvSpPr>
        <p:spPr>
          <a:xfrm>
            <a:off x="6732530" y="2017029"/>
            <a:ext cx="4843172" cy="1126222"/>
          </a:xfrm>
        </p:spPr>
        <p:txBody>
          <a:bodyPr anchor="t">
            <a:noAutofit/>
          </a:bodyPr>
          <a:lstStyle>
            <a:lvl1pPr>
              <a:defRPr sz="4000">
                <a:solidFill>
                  <a:srgbClr val="333333"/>
                </a:solidFill>
              </a:defRPr>
            </a:lvl1pPr>
          </a:lstStyle>
          <a:p>
            <a:r>
              <a:rPr lang="en-US"/>
              <a:t>Slide title on two lines goes here</a:t>
            </a:r>
          </a:p>
        </p:txBody>
      </p:sp>
    </p:spTree>
    <p:extLst>
      <p:ext uri="{BB962C8B-B14F-4D97-AF65-F5344CB8AC3E}">
        <p14:creationId xmlns:p14="http://schemas.microsoft.com/office/powerpoint/2010/main" val="381961908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left side) - text on right">
    <p:bg>
      <p:bgPr>
        <a:solidFill>
          <a:srgbClr val="F6F6F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AD19874-2631-7C4E-AE93-DBC6EFAD604A}"/>
              </a:ext>
            </a:extLst>
          </p:cNvPr>
          <p:cNvSpPr>
            <a:spLocks noGrp="1"/>
          </p:cNvSpPr>
          <p:nvPr>
            <p:ph type="pic" sz="quarter" idx="10" hasCustomPrompt="1"/>
          </p:nvPr>
        </p:nvSpPr>
        <p:spPr>
          <a:xfrm>
            <a:off x="1" y="0"/>
            <a:ext cx="6096000" cy="6858000"/>
          </a:xfrm>
          <a:solidFill>
            <a:schemeClr val="bg1"/>
          </a:solidFill>
        </p:spPr>
        <p:txBody>
          <a:bodyPr anchor="ctr"/>
          <a:lstStyle>
            <a:lvl1pPr marL="0" indent="0" algn="ctr">
              <a:buNone/>
              <a:defRPr b="0" i="0">
                <a:solidFill>
                  <a:schemeClr val="tx1"/>
                </a:solidFill>
                <a:latin typeface="Scotia" panose="020B0503020203020204" pitchFamily="34" charset="0"/>
              </a:defRPr>
            </a:lvl1pPr>
          </a:lstStyle>
          <a:p>
            <a:r>
              <a:rPr lang="en-US"/>
              <a:t>Picture</a:t>
            </a:r>
          </a:p>
        </p:txBody>
      </p:sp>
      <p:sp>
        <p:nvSpPr>
          <p:cNvPr id="8" name="TextBox 7">
            <a:extLst>
              <a:ext uri="{FF2B5EF4-FFF2-40B4-BE49-F238E27FC236}">
                <a16:creationId xmlns:a16="http://schemas.microsoft.com/office/drawing/2014/main" id="{74C848D3-509E-104E-BA0C-A711590EBCF3}"/>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9" name="TextBox 7">
            <a:extLst>
              <a:ext uri="{FF2B5EF4-FFF2-40B4-BE49-F238E27FC236}">
                <a16:creationId xmlns:a16="http://schemas.microsoft.com/office/drawing/2014/main" id="{0D9DC20F-8A5E-554B-AA85-F60ADC81DBCF}"/>
              </a:ext>
            </a:extLst>
          </p:cNvPr>
          <p:cNvSpPr txBox="1">
            <a:spLocks/>
          </p:cNvSpPr>
          <p:nvPr userDrawn="1"/>
        </p:nvSpPr>
        <p:spPr>
          <a:xfrm>
            <a:off x="11575702" y="332306"/>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2" name="Graphic 11">
            <a:extLst>
              <a:ext uri="{FF2B5EF4-FFF2-40B4-BE49-F238E27FC236}">
                <a16:creationId xmlns:a16="http://schemas.microsoft.com/office/drawing/2014/main" id="{B5CCBD5A-F4F0-F642-8843-7D21BC7848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3" name="Text Placeholder 4">
            <a:extLst>
              <a:ext uri="{FF2B5EF4-FFF2-40B4-BE49-F238E27FC236}">
                <a16:creationId xmlns:a16="http://schemas.microsoft.com/office/drawing/2014/main" id="{A85ABEDE-128F-F94C-BE21-0F2CE9628A5F}"/>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0" name="Text Placeholder 10">
            <a:extLst>
              <a:ext uri="{FF2B5EF4-FFF2-40B4-BE49-F238E27FC236}">
                <a16:creationId xmlns:a16="http://schemas.microsoft.com/office/drawing/2014/main" id="{7869FCB6-C853-7C4D-A446-525B1618A311}"/>
              </a:ext>
            </a:extLst>
          </p:cNvPr>
          <p:cNvSpPr>
            <a:spLocks noGrp="1"/>
          </p:cNvSpPr>
          <p:nvPr>
            <p:ph type="body" sz="quarter" idx="13" hasCustomPrompt="1"/>
          </p:nvPr>
        </p:nvSpPr>
        <p:spPr>
          <a:xfrm>
            <a:off x="6732530" y="1928196"/>
            <a:ext cx="4843172" cy="4015403"/>
          </a:xfrm>
        </p:spPr>
        <p:txBody>
          <a:bodyPr wrap="square">
            <a:noAutofit/>
          </a:bodyPr>
          <a:lstStyle>
            <a:lvl1pPr marL="285750" indent="-285750">
              <a:lnSpc>
                <a:spcPct val="110000"/>
              </a:lnSpc>
              <a:spcBef>
                <a:spcPts val="0"/>
              </a:spcBef>
              <a:spcAft>
                <a:spcPts val="1800"/>
              </a:spcAft>
              <a:buFont typeface="Arial" panose="020B0604020202020204" pitchFamily="34" charset="0"/>
              <a:buChar char="•"/>
              <a:defRPr sz="16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Egestas</a:t>
            </a:r>
            <a:r>
              <a:rPr lang="en-US"/>
              <a:t> diam in </a:t>
            </a:r>
            <a:r>
              <a:rPr lang="en-US" err="1"/>
              <a:t>arcu</a:t>
            </a:r>
            <a:r>
              <a:rPr lang="en-US"/>
              <a:t> cursus </a:t>
            </a:r>
            <a:r>
              <a:rPr lang="en-US" err="1"/>
              <a:t>euismod</a:t>
            </a:r>
            <a:r>
              <a:rPr lang="en-US"/>
              <a:t> </a:t>
            </a:r>
            <a:r>
              <a:rPr lang="en-US" err="1"/>
              <a:t>quis</a:t>
            </a:r>
            <a:r>
              <a:rPr lang="en-US"/>
              <a:t>. </a:t>
            </a:r>
          </a:p>
          <a:p>
            <a:pPr lvl="0"/>
            <a:r>
              <a:rPr lang="en-US" err="1"/>
              <a:t>Tortor</a:t>
            </a:r>
            <a:r>
              <a:rPr lang="en-US"/>
              <a:t> </a:t>
            </a:r>
            <a:r>
              <a:rPr lang="en-US" err="1"/>
              <a:t>aliquam</a:t>
            </a:r>
            <a:r>
              <a:rPr lang="en-US"/>
              <a:t> </a:t>
            </a:r>
            <a:r>
              <a:rPr lang="en-US" err="1"/>
              <a:t>nulla</a:t>
            </a:r>
            <a:r>
              <a:rPr lang="en-US"/>
              <a:t> </a:t>
            </a:r>
            <a:r>
              <a:rPr lang="en-US" err="1"/>
              <a:t>facilisi</a:t>
            </a:r>
            <a:r>
              <a:rPr lang="en-US"/>
              <a:t> </a:t>
            </a:r>
            <a:r>
              <a:rPr lang="en-US" err="1"/>
              <a:t>cras</a:t>
            </a:r>
            <a:r>
              <a:rPr lang="en-US"/>
              <a:t>. </a:t>
            </a:r>
            <a:r>
              <a:rPr lang="en-US" err="1"/>
              <a:t>Elementum</a:t>
            </a:r>
            <a:r>
              <a:rPr lang="en-US"/>
              <a:t> </a:t>
            </a:r>
            <a:r>
              <a:rPr lang="en-US" err="1"/>
              <a:t>nibh</a:t>
            </a:r>
            <a:r>
              <a:rPr lang="en-US"/>
              <a:t> </a:t>
            </a:r>
            <a:r>
              <a:rPr lang="en-US" err="1"/>
              <a:t>tellus</a:t>
            </a:r>
            <a:r>
              <a:rPr lang="en-US"/>
              <a:t> </a:t>
            </a:r>
            <a:r>
              <a:rPr lang="en-US" err="1"/>
              <a:t>molestie</a:t>
            </a:r>
            <a:r>
              <a:rPr lang="en-US"/>
              <a:t> </a:t>
            </a:r>
            <a:r>
              <a:rPr lang="en-US" err="1"/>
              <a:t>nunc</a:t>
            </a:r>
            <a:r>
              <a:rPr lang="en-US"/>
              <a:t>. </a:t>
            </a:r>
          </a:p>
          <a:p>
            <a:pPr lvl="0"/>
            <a:r>
              <a:rPr lang="en-US"/>
              <a:t>Eros in cursus </a:t>
            </a:r>
            <a:r>
              <a:rPr lang="en-US" err="1"/>
              <a:t>turpis</a:t>
            </a:r>
            <a:r>
              <a:rPr lang="en-US"/>
              <a:t> </a:t>
            </a:r>
            <a:r>
              <a:rPr lang="en-US" err="1"/>
              <a:t>massa</a:t>
            </a:r>
            <a:r>
              <a:rPr lang="en-US"/>
              <a:t> </a:t>
            </a:r>
            <a:r>
              <a:rPr lang="en-US" err="1"/>
              <a:t>tincidunt</a:t>
            </a:r>
            <a:r>
              <a:rPr lang="en-US"/>
              <a:t> dui </a:t>
            </a:r>
            <a:r>
              <a:rPr lang="en-US" err="1"/>
              <a:t>ut</a:t>
            </a:r>
            <a:r>
              <a:rPr lang="en-US"/>
              <a:t> </a:t>
            </a:r>
            <a:r>
              <a:rPr lang="en-US" err="1"/>
              <a:t>ornare</a:t>
            </a:r>
            <a:r>
              <a:rPr lang="en-US"/>
              <a:t>. Sit </a:t>
            </a:r>
            <a:r>
              <a:rPr lang="en-US" err="1"/>
              <a:t>amet</a:t>
            </a:r>
            <a:r>
              <a:rPr lang="en-US"/>
              <a:t> </a:t>
            </a:r>
            <a:r>
              <a:rPr lang="en-US" err="1"/>
              <a:t>aliquam</a:t>
            </a:r>
            <a:r>
              <a:rPr lang="en-US"/>
              <a:t> id diam </a:t>
            </a:r>
            <a:r>
              <a:rPr lang="en-US" err="1"/>
              <a:t>maecenas</a:t>
            </a:r>
            <a:r>
              <a:rPr lang="en-US"/>
              <a:t>. </a:t>
            </a:r>
            <a:r>
              <a:rPr lang="en-US" err="1"/>
              <a:t>Scelerisque</a:t>
            </a:r>
            <a:r>
              <a:rPr lang="en-US"/>
              <a:t> fermentum dui </a:t>
            </a:r>
            <a:r>
              <a:rPr lang="en-US" err="1"/>
              <a:t>faucibus</a:t>
            </a:r>
            <a:r>
              <a:rPr lang="en-US"/>
              <a:t> in </a:t>
            </a:r>
            <a:r>
              <a:rPr lang="en-US" err="1"/>
              <a:t>ornare</a:t>
            </a:r>
            <a:r>
              <a:rPr lang="en-US"/>
              <a:t>. </a:t>
            </a:r>
          </a:p>
          <a:p>
            <a:pPr lvl="0"/>
            <a:r>
              <a:rPr lang="en-US" err="1"/>
              <a:t>Ornare</a:t>
            </a:r>
            <a:r>
              <a:rPr lang="en-US"/>
              <a:t> </a:t>
            </a:r>
            <a:r>
              <a:rPr lang="en-US" err="1"/>
              <a:t>massa</a:t>
            </a:r>
            <a:r>
              <a:rPr lang="en-US"/>
              <a:t> </a:t>
            </a:r>
            <a:r>
              <a:rPr lang="en-US" err="1"/>
              <a:t>eget</a:t>
            </a:r>
            <a:r>
              <a:rPr lang="en-US"/>
              <a:t> </a:t>
            </a:r>
            <a:r>
              <a:rPr lang="en-US" err="1"/>
              <a:t>egestas</a:t>
            </a:r>
            <a:r>
              <a:rPr lang="en-US"/>
              <a:t> </a:t>
            </a:r>
            <a:r>
              <a:rPr lang="en-US" err="1"/>
              <a:t>purus</a:t>
            </a:r>
            <a:r>
              <a:rPr lang="en-US"/>
              <a:t> </a:t>
            </a:r>
            <a:r>
              <a:rPr lang="en-US" err="1"/>
              <a:t>viverra</a:t>
            </a:r>
            <a:r>
              <a:rPr lang="en-US"/>
              <a:t>. </a:t>
            </a:r>
            <a:r>
              <a:rPr lang="en-US" err="1"/>
              <a:t>Aliquam</a:t>
            </a:r>
            <a:r>
              <a:rPr lang="en-US"/>
              <a:t> id diam </a:t>
            </a:r>
            <a:r>
              <a:rPr lang="en-US" err="1"/>
              <a:t>maecenas</a:t>
            </a:r>
            <a:r>
              <a:rPr lang="en-US"/>
              <a:t> </a:t>
            </a:r>
            <a:r>
              <a:rPr lang="en-US" err="1"/>
              <a:t>ultricies</a:t>
            </a:r>
            <a:r>
              <a:rPr lang="en-US"/>
              <a:t> mi </a:t>
            </a:r>
            <a:r>
              <a:rPr lang="en-US" err="1"/>
              <a:t>eget</a:t>
            </a:r>
            <a:r>
              <a:rPr lang="en-US"/>
              <a:t> </a:t>
            </a:r>
            <a:r>
              <a:rPr lang="en-US" err="1"/>
              <a:t>mauris</a:t>
            </a:r>
            <a:r>
              <a:rPr lang="en-US"/>
              <a:t> </a:t>
            </a:r>
          </a:p>
          <a:p>
            <a:pPr lvl="0"/>
            <a:r>
              <a:rPr lang="en-US" err="1"/>
              <a:t>Turpis</a:t>
            </a:r>
            <a:r>
              <a:rPr lang="en-US"/>
              <a:t> </a:t>
            </a:r>
            <a:r>
              <a:rPr lang="en-US" err="1"/>
              <a:t>massa</a:t>
            </a:r>
            <a:r>
              <a:rPr lang="en-US"/>
              <a:t> </a:t>
            </a:r>
            <a:r>
              <a:rPr lang="en-US" err="1"/>
              <a:t>tincidunt</a:t>
            </a:r>
            <a:r>
              <a:rPr lang="en-US"/>
              <a:t> dui </a:t>
            </a:r>
            <a:r>
              <a:rPr lang="en-US" err="1"/>
              <a:t>ut</a:t>
            </a:r>
            <a:r>
              <a:rPr lang="en-US"/>
              <a:t> </a:t>
            </a:r>
            <a:r>
              <a:rPr lang="en-US" err="1"/>
              <a:t>ornare</a:t>
            </a:r>
            <a:r>
              <a:rPr lang="en-US"/>
              <a:t> </a:t>
            </a:r>
            <a:r>
              <a:rPr lang="en-US" err="1"/>
              <a:t>lectus</a:t>
            </a:r>
            <a:r>
              <a:rPr lang="en-US"/>
              <a:t>. Massa id </a:t>
            </a:r>
            <a:r>
              <a:rPr lang="en-US" err="1"/>
              <a:t>neque</a:t>
            </a:r>
            <a:r>
              <a:rPr lang="en-US"/>
              <a:t> </a:t>
            </a:r>
            <a:r>
              <a:rPr lang="en-US" err="1"/>
              <a:t>aliquam</a:t>
            </a:r>
            <a:r>
              <a:rPr lang="en-US"/>
              <a:t> vestibulum. Maecenas </a:t>
            </a:r>
            <a:r>
              <a:rPr lang="en-US" err="1"/>
              <a:t>accumsan</a:t>
            </a:r>
            <a:r>
              <a:rPr lang="en-US"/>
              <a:t> </a:t>
            </a:r>
            <a:r>
              <a:rPr lang="en-US" err="1"/>
              <a:t>lacus</a:t>
            </a:r>
            <a:r>
              <a:rPr lang="en-US"/>
              <a:t> vel </a:t>
            </a:r>
            <a:r>
              <a:rPr lang="en-US" err="1"/>
              <a:t>facilisis</a:t>
            </a:r>
            <a:r>
              <a:rPr lang="en-US"/>
              <a:t> </a:t>
            </a:r>
            <a:r>
              <a:rPr lang="en-US" err="1"/>
              <a:t>volutpat</a:t>
            </a:r>
            <a:r>
              <a:rPr lang="en-US"/>
              <a:t>. </a:t>
            </a:r>
          </a:p>
          <a:p>
            <a:pPr lvl="0"/>
            <a:endParaRPr lang="en-US"/>
          </a:p>
        </p:txBody>
      </p:sp>
      <p:sp>
        <p:nvSpPr>
          <p:cNvPr id="11" name="Title 1">
            <a:extLst>
              <a:ext uri="{FF2B5EF4-FFF2-40B4-BE49-F238E27FC236}">
                <a16:creationId xmlns:a16="http://schemas.microsoft.com/office/drawing/2014/main" id="{48BEB58F-D24F-CB40-A2FF-6EA4CC34378B}"/>
              </a:ext>
            </a:extLst>
          </p:cNvPr>
          <p:cNvSpPr>
            <a:spLocks noGrp="1"/>
          </p:cNvSpPr>
          <p:nvPr>
            <p:ph type="title" hasCustomPrompt="1"/>
          </p:nvPr>
        </p:nvSpPr>
        <p:spPr>
          <a:xfrm>
            <a:off x="6732530" y="1063750"/>
            <a:ext cx="4843172" cy="650750"/>
          </a:xfrm>
        </p:spPr>
        <p:txBody>
          <a:bodyPr anchor="t">
            <a:noAutofit/>
          </a:bodyPr>
          <a:lstStyle>
            <a:lvl1pPr>
              <a:lnSpc>
                <a:spcPct val="100000"/>
              </a:lnSpc>
              <a:defRPr sz="2000" b="1">
                <a:solidFill>
                  <a:srgbClr val="333333"/>
                </a:solidFill>
                <a:latin typeface="+mn-lt"/>
              </a:defRPr>
            </a:lvl1pPr>
          </a:lstStyle>
          <a:p>
            <a:r>
              <a:rPr lang="en-US"/>
              <a:t>A half half layout that has a long subhead to introduce the points below:</a:t>
            </a:r>
            <a:br>
              <a:rPr lang="en-US"/>
            </a:br>
            <a:endParaRPr lang="en-US"/>
          </a:p>
        </p:txBody>
      </p:sp>
    </p:spTree>
    <p:extLst>
      <p:ext uri="{BB962C8B-B14F-4D97-AF65-F5344CB8AC3E}">
        <p14:creationId xmlns:p14="http://schemas.microsoft.com/office/powerpoint/2010/main" val="229314155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0F352-CB01-4F7E-991D-6AA4D62ECB2B}"/>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C4CE4747-444F-4B38-8780-77BCD7BB368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1653DA2-C735-4CE2-8C7E-4C34720E54A8}"/>
              </a:ext>
            </a:extLst>
          </p:cNvPr>
          <p:cNvSpPr>
            <a:spLocks noGrp="1"/>
          </p:cNvSpPr>
          <p:nvPr>
            <p:ph type="dt" sz="half" idx="10"/>
          </p:nvPr>
        </p:nvSpPr>
        <p:spPr/>
        <p:txBody>
          <a:bodyPr/>
          <a:lstStyle/>
          <a:p>
            <a:fld id="{DCF91618-2B84-473C-B559-91A1F424ABDB}" type="datetime1">
              <a:rPr lang="en-CA" smtClean="0">
                <a:solidFill>
                  <a:prstClr val="black">
                    <a:tint val="75000"/>
                  </a:prstClr>
                </a:solidFill>
              </a:rPr>
              <a:pPr/>
              <a:t>2025-02-26</a:t>
            </a:fld>
            <a:endParaRPr lang="en-CA">
              <a:solidFill>
                <a:prstClr val="black">
                  <a:tint val="75000"/>
                </a:prstClr>
              </a:solidFill>
            </a:endParaRPr>
          </a:p>
        </p:txBody>
      </p:sp>
      <p:sp>
        <p:nvSpPr>
          <p:cNvPr id="5" name="Footer Placeholder 4">
            <a:extLst>
              <a:ext uri="{FF2B5EF4-FFF2-40B4-BE49-F238E27FC236}">
                <a16:creationId xmlns:a16="http://schemas.microsoft.com/office/drawing/2014/main" id="{1497E15E-9E82-4C40-91F6-71345B482070}"/>
              </a:ext>
            </a:extLst>
          </p:cNvPr>
          <p:cNvSpPr>
            <a:spLocks noGrp="1"/>
          </p:cNvSpPr>
          <p:nvPr>
            <p:ph type="ftr" sz="quarter" idx="11"/>
          </p:nvPr>
        </p:nvSpPr>
        <p:spPr>
          <a:xfrm>
            <a:off x="4038600" y="6356367"/>
            <a:ext cx="4114800" cy="365125"/>
          </a:xfrm>
          <a:prstGeom prst="rect">
            <a:avLst/>
          </a:prstGeom>
        </p:spPr>
        <p:txBody>
          <a:bodyPr/>
          <a:lstStyle/>
          <a:p>
            <a:endParaRPr lang="en-CA">
              <a:solidFill>
                <a:prstClr val="black"/>
              </a:solidFill>
            </a:endParaRPr>
          </a:p>
        </p:txBody>
      </p:sp>
      <p:sp>
        <p:nvSpPr>
          <p:cNvPr id="6" name="Slide Number Placeholder 5">
            <a:extLst>
              <a:ext uri="{FF2B5EF4-FFF2-40B4-BE49-F238E27FC236}">
                <a16:creationId xmlns:a16="http://schemas.microsoft.com/office/drawing/2014/main" id="{94BD1349-8534-47E5-BF3A-2647F0986BB5}"/>
              </a:ext>
            </a:extLst>
          </p:cNvPr>
          <p:cNvSpPr>
            <a:spLocks noGrp="1"/>
          </p:cNvSpPr>
          <p:nvPr>
            <p:ph type="sldNum" sz="quarter" idx="12"/>
          </p:nvPr>
        </p:nvSpPr>
        <p:spPr/>
        <p:txBody>
          <a:bodyPr/>
          <a:lstStyle/>
          <a:p>
            <a:fld id="{46BC6FC9-86D6-48EB-B38F-F6E7202A0585}" type="slidenum">
              <a:rPr lang="en-CA" smtClean="0">
                <a:solidFill>
                  <a:prstClr val="black">
                    <a:tint val="75000"/>
                  </a:prstClr>
                </a:solidFill>
              </a:rPr>
              <a:pPr/>
              <a:t>‹#›</a:t>
            </a:fld>
            <a:endParaRPr lang="en-CA">
              <a:solidFill>
                <a:prstClr val="black">
                  <a:tint val="75000"/>
                </a:prstClr>
              </a:solidFill>
            </a:endParaRPr>
          </a:p>
        </p:txBody>
      </p:sp>
      <p:sp>
        <p:nvSpPr>
          <p:cNvPr id="10" name="Rectangle 9">
            <a:extLst>
              <a:ext uri="{FF2B5EF4-FFF2-40B4-BE49-F238E27FC236}">
                <a16:creationId xmlns:a16="http://schemas.microsoft.com/office/drawing/2014/main" id="{53BE4598-A285-43EE-9CCB-89C0880F1656}"/>
              </a:ext>
            </a:extLst>
          </p:cNvPr>
          <p:cNvSpPr/>
          <p:nvPr userDrawn="1"/>
        </p:nvSpPr>
        <p:spPr>
          <a:xfrm rot="10800000">
            <a:off x="-5891" y="6755882"/>
            <a:ext cx="12197895" cy="102118"/>
          </a:xfrm>
          <a:prstGeom prst="rect">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3600">
              <a:solidFill>
                <a:prstClr val="white"/>
              </a:solidFill>
            </a:endParaRPr>
          </a:p>
        </p:txBody>
      </p:sp>
    </p:spTree>
    <p:extLst>
      <p:ext uri="{BB962C8B-B14F-4D97-AF65-F5344CB8AC3E}">
        <p14:creationId xmlns:p14="http://schemas.microsoft.com/office/powerpoint/2010/main" val="2147236129"/>
      </p:ext>
    </p:extLst>
  </p:cSld>
  <p:clrMapOvr>
    <a:masterClrMapping/>
  </p:clrMapOvr>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old header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5D9691C-8F92-1A48-B888-625B874E7C2E}"/>
              </a:ext>
            </a:extLst>
          </p:cNvPr>
          <p:cNvGrpSpPr/>
          <p:nvPr userDrawn="1"/>
        </p:nvGrpSpPr>
        <p:grpSpPr>
          <a:xfrm>
            <a:off x="11800684" y="6466710"/>
            <a:ext cx="391316" cy="391291"/>
            <a:chOff x="23599832" y="12933419"/>
            <a:chExt cx="782581" cy="782581"/>
          </a:xfrm>
        </p:grpSpPr>
        <p:sp>
          <p:nvSpPr>
            <p:cNvPr id="2" name="Rectangle 1">
              <a:extLst>
                <a:ext uri="{FF2B5EF4-FFF2-40B4-BE49-F238E27FC236}">
                  <a16:creationId xmlns:a16="http://schemas.microsoft.com/office/drawing/2014/main" id="{02C1215E-ACFF-E643-A41C-8B8E4269EDAD}"/>
                </a:ext>
              </a:extLst>
            </p:cNvPr>
            <p:cNvSpPr/>
            <p:nvPr userDrawn="1"/>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7" name="Picture 6">
              <a:extLst>
                <a:ext uri="{FF2B5EF4-FFF2-40B4-BE49-F238E27FC236}">
                  <a16:creationId xmlns:a16="http://schemas.microsoft.com/office/drawing/2014/main" id="{839C6856-2C69-354E-9E2D-4255A7942768}"/>
                </a:ext>
              </a:extLst>
            </p:cNvPr>
            <p:cNvPicPr>
              <a:picLocks noChangeAspect="1"/>
            </p:cNvPicPr>
            <p:nvPr userDrawn="1"/>
          </p:nvPicPr>
          <p:blipFill>
            <a:blip r:embed="rId2"/>
            <a:stretch>
              <a:fillRect/>
            </a:stretch>
          </p:blipFill>
          <p:spPr>
            <a:xfrm>
              <a:off x="23829051" y="13147223"/>
              <a:ext cx="324143" cy="356158"/>
            </a:xfrm>
            <a:prstGeom prst="rect">
              <a:avLst/>
            </a:prstGeom>
          </p:spPr>
        </p:pic>
      </p:gr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Tree>
    <p:extLst>
      <p:ext uri="{BB962C8B-B14F-4D97-AF65-F5344CB8AC3E}">
        <p14:creationId xmlns:p14="http://schemas.microsoft.com/office/powerpoint/2010/main" val="25107553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icture (left s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AD19874-2631-7C4E-AE93-DBC6EFAD604A}"/>
              </a:ext>
            </a:extLst>
          </p:cNvPr>
          <p:cNvSpPr>
            <a:spLocks noGrp="1"/>
          </p:cNvSpPr>
          <p:nvPr>
            <p:ph type="pic" sz="quarter" idx="10" hasCustomPrompt="1"/>
          </p:nvPr>
        </p:nvSpPr>
        <p:spPr>
          <a:xfrm>
            <a:off x="1" y="0"/>
            <a:ext cx="8124825" cy="6858000"/>
          </a:xfrm>
        </p:spPr>
        <p:txBody>
          <a:bodyPr anchor="ctr"/>
          <a:lstStyle>
            <a:lvl1pPr marL="0" indent="0" algn="ctr">
              <a:buNone/>
              <a:defRPr b="0" i="0">
                <a:solidFill>
                  <a:schemeClr val="bg1"/>
                </a:solidFill>
                <a:latin typeface="Scotia" panose="020B0503020203020204" pitchFamily="34" charset="0"/>
              </a:defRPr>
            </a:lvl1pPr>
          </a:lstStyle>
          <a:p>
            <a:r>
              <a:rPr lang="en-US"/>
              <a:t>Picture</a:t>
            </a:r>
          </a:p>
        </p:txBody>
      </p:sp>
      <p:sp>
        <p:nvSpPr>
          <p:cNvPr id="11" name="TextBox 10">
            <a:extLst>
              <a:ext uri="{FF2B5EF4-FFF2-40B4-BE49-F238E27FC236}">
                <a16:creationId xmlns:a16="http://schemas.microsoft.com/office/drawing/2014/main" id="{127B14F5-9E30-9445-BF70-0021B623880B}"/>
              </a:ext>
            </a:extLst>
          </p:cNvPr>
          <p:cNvSpPr txBox="1">
            <a:spLocks/>
          </p:cNvSpPr>
          <p:nvPr/>
        </p:nvSpPr>
        <p:spPr>
          <a:xfrm>
            <a:off x="11575704" y="332531"/>
            <a:ext cx="233505"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bg1"/>
                </a:solidFill>
                <a:latin typeface="Scotia" panose="020B0503020203020204" pitchFamily="34" charset="0"/>
              </a:rPr>
              <a:pPr algn="r"/>
              <a:t>‹#›</a:t>
            </a:fld>
            <a:endParaRPr lang="en-CA" sz="600">
              <a:solidFill>
                <a:schemeClr val="bg1"/>
              </a:solidFill>
              <a:latin typeface="Scotia" panose="020B0503020203020204" pitchFamily="34" charset="0"/>
            </a:endParaRPr>
          </a:p>
        </p:txBody>
      </p:sp>
      <p:grpSp>
        <p:nvGrpSpPr>
          <p:cNvPr id="6" name="Group 5">
            <a:extLst>
              <a:ext uri="{FF2B5EF4-FFF2-40B4-BE49-F238E27FC236}">
                <a16:creationId xmlns:a16="http://schemas.microsoft.com/office/drawing/2014/main" id="{6713853F-7E64-E44E-A3B3-397F8C9B926B}"/>
              </a:ext>
            </a:extLst>
          </p:cNvPr>
          <p:cNvGrpSpPr/>
          <p:nvPr/>
        </p:nvGrpSpPr>
        <p:grpSpPr>
          <a:xfrm>
            <a:off x="11800685" y="6466711"/>
            <a:ext cx="391316" cy="391291"/>
            <a:chOff x="23599832" y="12933419"/>
            <a:chExt cx="782581" cy="782581"/>
          </a:xfrm>
        </p:grpSpPr>
        <p:sp>
          <p:nvSpPr>
            <p:cNvPr id="7" name="Rectangle 6">
              <a:extLst>
                <a:ext uri="{FF2B5EF4-FFF2-40B4-BE49-F238E27FC236}">
                  <a16:creationId xmlns:a16="http://schemas.microsoft.com/office/drawing/2014/main" id="{810049DD-E501-1744-8BDF-8C704540B0B1}"/>
                </a:ext>
              </a:extLst>
            </p:cNvPr>
            <p:cNvSpPr/>
            <p:nvPr/>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10" name="Picture 9">
              <a:extLst>
                <a:ext uri="{FF2B5EF4-FFF2-40B4-BE49-F238E27FC236}">
                  <a16:creationId xmlns:a16="http://schemas.microsoft.com/office/drawing/2014/main" id="{5D74A7FA-02BA-834E-ADE4-FAE8DEC89BFC}"/>
                </a:ext>
              </a:extLst>
            </p:cNvPr>
            <p:cNvPicPr>
              <a:picLocks noChangeAspect="1"/>
            </p:cNvPicPr>
            <p:nvPr/>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312634838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6269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4845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6139" y="326385"/>
            <a:ext cx="7527775" cy="411163"/>
          </a:xfrm>
        </p:spPr>
        <p:txBody>
          <a:bodyPr/>
          <a:lstStyle/>
          <a:p>
            <a:r>
              <a:rPr lang="en-US"/>
              <a:t>Click to edit Master title style</a:t>
            </a:r>
          </a:p>
        </p:txBody>
      </p:sp>
      <p:sp>
        <p:nvSpPr>
          <p:cNvPr id="3" name="Content Placeholder 2"/>
          <p:cNvSpPr>
            <a:spLocks noGrp="1"/>
          </p:cNvSpPr>
          <p:nvPr>
            <p:ph idx="1"/>
          </p:nvPr>
        </p:nvSpPr>
        <p:spPr>
          <a:xfrm>
            <a:off x="630765" y="1447801"/>
            <a:ext cx="10951635" cy="1051057"/>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5811574"/>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10367214"/>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2" name="McK 2. Slide Title"/>
          <p:cNvSpPr>
            <a:spLocks noGrp="1"/>
          </p:cNvSpPr>
          <p:nvPr>
            <p:ph type="title"/>
          </p:nvPr>
        </p:nvSpPr>
        <p:spPr bwMode="auto"/>
        <p:txBody>
          <a:bodyPr anchor="t"/>
          <a:lstStyle>
            <a:lvl1pPr>
              <a:defRPr>
                <a:latin typeface="Arial" pitchFamily="34" charset="0"/>
                <a:cs typeface="Arial" pitchFamily="34" charset="0"/>
              </a:defRPr>
            </a:lvl1pPr>
          </a:lstStyle>
          <a:p>
            <a:r>
              <a:rPr lang="en-US"/>
              <a:t>Click to edit Master title style</a:t>
            </a:r>
            <a:endParaRPr lang="en-CA"/>
          </a:p>
        </p:txBody>
      </p:sp>
    </p:spTree>
    <p:extLst>
      <p:ext uri="{BB962C8B-B14F-4D97-AF65-F5344CB8AC3E}">
        <p14:creationId xmlns:p14="http://schemas.microsoft.com/office/powerpoint/2010/main" val="3536098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ver">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070216B7-311A-D342-9582-8BA735A42307}"/>
              </a:ext>
            </a:extLst>
          </p:cNvPr>
          <p:cNvSpPr txBox="1"/>
          <p:nvPr userDrawn="1"/>
        </p:nvSpPr>
        <p:spPr>
          <a:xfrm>
            <a:off x="5698435" y="1338470"/>
            <a:ext cx="65" cy="2769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spAutoFit/>
          </a:bodyPr>
          <a:lstStyle/>
          <a:p>
            <a:pPr algn="l"/>
            <a:endParaRPr lang="en-US" b="0" i="0">
              <a:latin typeface="Scotia Regular" panose="020B0503020203020204" pitchFamily="34" charset="0"/>
            </a:endParaRPr>
          </a:p>
        </p:txBody>
      </p:sp>
    </p:spTree>
    <p:extLst>
      <p:ext uri="{BB962C8B-B14F-4D97-AF65-F5344CB8AC3E}">
        <p14:creationId xmlns:p14="http://schemas.microsoft.com/office/powerpoint/2010/main" val="33742707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Scotiabank brandbox">
    <p:bg>
      <p:bgPr>
        <a:solidFill>
          <a:srgbClr val="009DD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solidFill>
                  <a:srgbClr val="FFFFFF"/>
                </a:solidFill>
              </a:defRPr>
            </a:lvl1pPr>
          </a:lstStyle>
          <a:p>
            <a:r>
              <a:rPr lang="en-US"/>
              <a:t>Scotiabank PowerPoint Template 2021</a:t>
            </a:r>
          </a:p>
        </p:txBody>
      </p:sp>
      <p:pic>
        <p:nvPicPr>
          <p:cNvPr id="5" name="Graphic 4">
            <a:extLst>
              <a:ext uri="{FF2B5EF4-FFF2-40B4-BE49-F238E27FC236}">
                <a16:creationId xmlns:a16="http://schemas.microsoft.com/office/drawing/2014/main" id="{CB46275E-BF41-F14B-A483-F1833AA6C3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92144" y="6223557"/>
            <a:ext cx="2299855" cy="634443"/>
          </a:xfrm>
          <a:prstGeom prst="rect">
            <a:avLst/>
          </a:prstGeom>
        </p:spPr>
      </p:pic>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spTree>
    <p:extLst>
      <p:ext uri="{BB962C8B-B14F-4D97-AF65-F5344CB8AC3E}">
        <p14:creationId xmlns:p14="http://schemas.microsoft.com/office/powerpoint/2010/main" val="3478473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Scotiabank (white)">
    <p:bg>
      <p:bgPr>
        <a:solidFill>
          <a:srgbClr val="F2609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solidFill>
                  <a:srgbClr val="FFFFFF"/>
                </a:solidFill>
              </a:defRPr>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grpSp>
        <p:nvGrpSpPr>
          <p:cNvPr id="6" name="Graphic 53">
            <a:extLst>
              <a:ext uri="{FF2B5EF4-FFF2-40B4-BE49-F238E27FC236}">
                <a16:creationId xmlns:a16="http://schemas.microsoft.com/office/drawing/2014/main" id="{A51117F3-AB95-6642-A690-E06C1D4A4D85}"/>
              </a:ext>
            </a:extLst>
          </p:cNvPr>
          <p:cNvGrpSpPr/>
          <p:nvPr userDrawn="1"/>
        </p:nvGrpSpPr>
        <p:grpSpPr>
          <a:xfrm>
            <a:off x="9904469" y="6237840"/>
            <a:ext cx="1931313" cy="273798"/>
            <a:chOff x="7058852" y="1116927"/>
            <a:chExt cx="2123747" cy="301079"/>
          </a:xfrm>
          <a:solidFill>
            <a:srgbClr val="FFFFFF"/>
          </a:solidFill>
        </p:grpSpPr>
        <p:sp>
          <p:nvSpPr>
            <p:cNvPr id="7" name="Freeform 6">
              <a:extLst>
                <a:ext uri="{FF2B5EF4-FFF2-40B4-BE49-F238E27FC236}">
                  <a16:creationId xmlns:a16="http://schemas.microsoft.com/office/drawing/2014/main" id="{982E0D0B-042A-D44C-809F-F3C5BD11C869}"/>
                </a:ext>
              </a:extLst>
            </p:cNvPr>
            <p:cNvSpPr/>
            <p:nvPr/>
          </p:nvSpPr>
          <p:spPr>
            <a:xfrm>
              <a:off x="7469793" y="1208562"/>
              <a:ext cx="210089" cy="209300"/>
            </a:xfrm>
            <a:custGeom>
              <a:avLst/>
              <a:gdLst>
                <a:gd name="connsiteX0" fmla="*/ 105045 w 210089"/>
                <a:gd name="connsiteY0" fmla="*/ 0 h 209300"/>
                <a:gd name="connsiteX1" fmla="*/ 0 w 210089"/>
                <a:gd name="connsiteY1" fmla="*/ 104650 h 209300"/>
                <a:gd name="connsiteX2" fmla="*/ 105045 w 210089"/>
                <a:gd name="connsiteY2" fmla="*/ 209301 h 209300"/>
                <a:gd name="connsiteX3" fmla="*/ 210089 w 210089"/>
                <a:gd name="connsiteY3" fmla="*/ 104650 h 209300"/>
                <a:gd name="connsiteX4" fmla="*/ 105045 w 210089"/>
                <a:gd name="connsiteY4" fmla="*/ 0 h 209300"/>
                <a:gd name="connsiteX5" fmla="*/ 105045 w 210089"/>
                <a:gd name="connsiteY5" fmla="*/ 150769 h 209300"/>
                <a:gd name="connsiteX6" fmla="*/ 58680 w 210089"/>
                <a:gd name="connsiteY6" fmla="*/ 104650 h 209300"/>
                <a:gd name="connsiteX7" fmla="*/ 104972 w 210089"/>
                <a:gd name="connsiteY7" fmla="*/ 58460 h 209300"/>
                <a:gd name="connsiteX8" fmla="*/ 151337 w 210089"/>
                <a:gd name="connsiteY8" fmla="*/ 104578 h 209300"/>
                <a:gd name="connsiteX9" fmla="*/ 151337 w 210089"/>
                <a:gd name="connsiteY9" fmla="*/ 104650 h 209300"/>
                <a:gd name="connsiteX10" fmla="*/ 105045 w 210089"/>
                <a:gd name="connsiteY10" fmla="*/ 150769 h 20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089" h="209300">
                  <a:moveTo>
                    <a:pt x="105045" y="0"/>
                  </a:moveTo>
                  <a:cubicBezTo>
                    <a:pt x="47031" y="0"/>
                    <a:pt x="0" y="46853"/>
                    <a:pt x="0" y="104650"/>
                  </a:cubicBezTo>
                  <a:cubicBezTo>
                    <a:pt x="0" y="162446"/>
                    <a:pt x="47031" y="209301"/>
                    <a:pt x="105045" y="209301"/>
                  </a:cubicBezTo>
                  <a:cubicBezTo>
                    <a:pt x="163058" y="209301"/>
                    <a:pt x="210089" y="162446"/>
                    <a:pt x="210089" y="104650"/>
                  </a:cubicBezTo>
                  <a:cubicBezTo>
                    <a:pt x="210089" y="46853"/>
                    <a:pt x="163058" y="0"/>
                    <a:pt x="105045" y="0"/>
                  </a:cubicBezTo>
                  <a:close/>
                  <a:moveTo>
                    <a:pt x="105045" y="150769"/>
                  </a:moveTo>
                  <a:cubicBezTo>
                    <a:pt x="79457" y="150791"/>
                    <a:pt x="58702" y="130142"/>
                    <a:pt x="58680" y="104650"/>
                  </a:cubicBezTo>
                  <a:cubicBezTo>
                    <a:pt x="58658" y="79159"/>
                    <a:pt x="79385" y="58480"/>
                    <a:pt x="104972" y="58460"/>
                  </a:cubicBezTo>
                  <a:cubicBezTo>
                    <a:pt x="130560" y="58440"/>
                    <a:pt x="151315" y="79087"/>
                    <a:pt x="151337" y="104578"/>
                  </a:cubicBezTo>
                  <a:cubicBezTo>
                    <a:pt x="151337" y="104604"/>
                    <a:pt x="151337" y="104625"/>
                    <a:pt x="151337" y="104650"/>
                  </a:cubicBezTo>
                  <a:cubicBezTo>
                    <a:pt x="151275" y="130095"/>
                    <a:pt x="130585" y="150711"/>
                    <a:pt x="105045" y="150769"/>
                  </a:cubicBezTo>
                  <a:close/>
                </a:path>
              </a:pathLst>
            </a:custGeom>
            <a:grpFill/>
            <a:ln w="3621"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AD50210-463F-D74D-9CED-C2684923EB86}"/>
                </a:ext>
              </a:extLst>
            </p:cNvPr>
            <p:cNvSpPr/>
            <p:nvPr/>
          </p:nvSpPr>
          <p:spPr>
            <a:xfrm>
              <a:off x="7693538" y="1151762"/>
              <a:ext cx="120113" cy="261084"/>
            </a:xfrm>
            <a:custGeom>
              <a:avLst/>
              <a:gdLst>
                <a:gd name="connsiteX0" fmla="*/ 120113 w 120113"/>
                <a:gd name="connsiteY0" fmla="*/ 61780 h 261084"/>
                <a:gd name="connsiteX1" fmla="*/ 91461 w 120113"/>
                <a:gd name="connsiteY1" fmla="*/ 61780 h 261084"/>
                <a:gd name="connsiteX2" fmla="*/ 91461 w 120113"/>
                <a:gd name="connsiteY2" fmla="*/ 0 h 261084"/>
                <a:gd name="connsiteX3" fmla="*/ 28652 w 120113"/>
                <a:gd name="connsiteY3" fmla="*/ 0 h 261084"/>
                <a:gd name="connsiteX4" fmla="*/ 28652 w 120113"/>
                <a:gd name="connsiteY4" fmla="*/ 61780 h 261084"/>
                <a:gd name="connsiteX5" fmla="*/ 0 w 120113"/>
                <a:gd name="connsiteY5" fmla="*/ 61780 h 261084"/>
                <a:gd name="connsiteX6" fmla="*/ 0 w 120113"/>
                <a:gd name="connsiteY6" fmla="*/ 118399 h 261084"/>
                <a:gd name="connsiteX7" fmla="*/ 28652 w 120113"/>
                <a:gd name="connsiteY7" fmla="*/ 118399 h 261084"/>
                <a:gd name="connsiteX8" fmla="*/ 28652 w 120113"/>
                <a:gd name="connsiteY8" fmla="*/ 261085 h 261084"/>
                <a:gd name="connsiteX9" fmla="*/ 91461 w 120113"/>
                <a:gd name="connsiteY9" fmla="*/ 261085 h 261084"/>
                <a:gd name="connsiteX10" fmla="*/ 91461 w 120113"/>
                <a:gd name="connsiteY10" fmla="*/ 118399 h 261084"/>
                <a:gd name="connsiteX11" fmla="*/ 120113 w 120113"/>
                <a:gd name="connsiteY11" fmla="*/ 118399 h 261084"/>
                <a:gd name="connsiteX12" fmla="*/ 120113 w 120113"/>
                <a:gd name="connsiteY12" fmla="*/ 61780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113" h="261084">
                  <a:moveTo>
                    <a:pt x="120113" y="61780"/>
                  </a:moveTo>
                  <a:lnTo>
                    <a:pt x="91461" y="61780"/>
                  </a:lnTo>
                  <a:lnTo>
                    <a:pt x="91461" y="0"/>
                  </a:lnTo>
                  <a:lnTo>
                    <a:pt x="28652" y="0"/>
                  </a:lnTo>
                  <a:lnTo>
                    <a:pt x="28652" y="61780"/>
                  </a:lnTo>
                  <a:lnTo>
                    <a:pt x="0" y="61780"/>
                  </a:lnTo>
                  <a:lnTo>
                    <a:pt x="0" y="118399"/>
                  </a:lnTo>
                  <a:lnTo>
                    <a:pt x="28652" y="118399"/>
                  </a:lnTo>
                  <a:lnTo>
                    <a:pt x="28652" y="261085"/>
                  </a:lnTo>
                  <a:lnTo>
                    <a:pt x="91461" y="261085"/>
                  </a:lnTo>
                  <a:lnTo>
                    <a:pt x="91461" y="118399"/>
                  </a:lnTo>
                  <a:lnTo>
                    <a:pt x="120113" y="118399"/>
                  </a:lnTo>
                  <a:lnTo>
                    <a:pt x="120113" y="61780"/>
                  </a:lnTo>
                  <a:close/>
                </a:path>
              </a:pathLst>
            </a:custGeom>
            <a:grpFill/>
            <a:ln w="3621"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25BE366-3379-8548-9173-81650A5BEA20}"/>
                </a:ext>
              </a:extLst>
            </p:cNvPr>
            <p:cNvSpPr/>
            <p:nvPr/>
          </p:nvSpPr>
          <p:spPr>
            <a:xfrm>
              <a:off x="7842484" y="1213542"/>
              <a:ext cx="62773" cy="199341"/>
            </a:xfrm>
            <a:custGeom>
              <a:avLst/>
              <a:gdLst>
                <a:gd name="connsiteX0" fmla="*/ 0 w 62773"/>
                <a:gd name="connsiteY0" fmla="*/ 0 h 199341"/>
                <a:gd name="connsiteX1" fmla="*/ 62773 w 62773"/>
                <a:gd name="connsiteY1" fmla="*/ 0 h 199341"/>
                <a:gd name="connsiteX2" fmla="*/ 62773 w 62773"/>
                <a:gd name="connsiteY2" fmla="*/ 199341 h 199341"/>
                <a:gd name="connsiteX3" fmla="*/ 0 w 62773"/>
                <a:gd name="connsiteY3" fmla="*/ 199341 h 199341"/>
              </a:gdLst>
              <a:ahLst/>
              <a:cxnLst>
                <a:cxn ang="0">
                  <a:pos x="connsiteX0" y="connsiteY0"/>
                </a:cxn>
                <a:cxn ang="0">
                  <a:pos x="connsiteX1" y="connsiteY1"/>
                </a:cxn>
                <a:cxn ang="0">
                  <a:pos x="connsiteX2" y="connsiteY2"/>
                </a:cxn>
                <a:cxn ang="0">
                  <a:pos x="connsiteX3" y="connsiteY3"/>
                </a:cxn>
              </a:cxnLst>
              <a:rect l="l" t="t" r="r" b="b"/>
              <a:pathLst>
                <a:path w="62773" h="199341">
                  <a:moveTo>
                    <a:pt x="0" y="0"/>
                  </a:moveTo>
                  <a:lnTo>
                    <a:pt x="62773" y="0"/>
                  </a:lnTo>
                  <a:lnTo>
                    <a:pt x="62773" y="199341"/>
                  </a:lnTo>
                  <a:lnTo>
                    <a:pt x="0" y="199341"/>
                  </a:lnTo>
                  <a:close/>
                </a:path>
              </a:pathLst>
            </a:custGeom>
            <a:grpFill/>
            <a:ln w="3621"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4D3041D5-BB78-6541-B834-F0E00CB49477}"/>
                </a:ext>
              </a:extLst>
            </p:cNvPr>
            <p:cNvSpPr/>
            <p:nvPr/>
          </p:nvSpPr>
          <p:spPr>
            <a:xfrm>
              <a:off x="7838862" y="1116939"/>
              <a:ext cx="69981" cy="69718"/>
            </a:xfrm>
            <a:custGeom>
              <a:avLst/>
              <a:gdLst>
                <a:gd name="connsiteX0" fmla="*/ 34991 w 69981"/>
                <a:gd name="connsiteY0" fmla="*/ 0 h 69718"/>
                <a:gd name="connsiteX1" fmla="*/ 0 w 69981"/>
                <a:gd name="connsiteY1" fmla="*/ 34859 h 69718"/>
                <a:gd name="connsiteX2" fmla="*/ 34991 w 69981"/>
                <a:gd name="connsiteY2" fmla="*/ 69719 h 69718"/>
                <a:gd name="connsiteX3" fmla="*/ 69981 w 69981"/>
                <a:gd name="connsiteY3" fmla="*/ 34859 h 69718"/>
                <a:gd name="connsiteX4" fmla="*/ 69981 w 69981"/>
                <a:gd name="connsiteY4" fmla="*/ 34823 h 69718"/>
                <a:gd name="connsiteX5" fmla="*/ 34991 w 69981"/>
                <a:gd name="connsiteY5" fmla="*/ 0 h 6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81" h="69718">
                  <a:moveTo>
                    <a:pt x="34991" y="0"/>
                  </a:moveTo>
                  <a:cubicBezTo>
                    <a:pt x="15666" y="0"/>
                    <a:pt x="0" y="15607"/>
                    <a:pt x="0" y="34859"/>
                  </a:cubicBezTo>
                  <a:cubicBezTo>
                    <a:pt x="0" y="54112"/>
                    <a:pt x="15666" y="69719"/>
                    <a:pt x="34991" y="69719"/>
                  </a:cubicBezTo>
                  <a:cubicBezTo>
                    <a:pt x="54315" y="69719"/>
                    <a:pt x="69981" y="54112"/>
                    <a:pt x="69981" y="34859"/>
                  </a:cubicBezTo>
                  <a:cubicBezTo>
                    <a:pt x="69981" y="34848"/>
                    <a:pt x="69981" y="34835"/>
                    <a:pt x="69981" y="34823"/>
                  </a:cubicBezTo>
                  <a:cubicBezTo>
                    <a:pt x="69942" y="15593"/>
                    <a:pt x="54294" y="20"/>
                    <a:pt x="34991" y="0"/>
                  </a:cubicBezTo>
                  <a:close/>
                </a:path>
              </a:pathLst>
            </a:custGeom>
            <a:grpFill/>
            <a:ln w="3621"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A4E9D67-0BAA-E842-A31B-626C1F901315}"/>
                </a:ext>
              </a:extLst>
            </p:cNvPr>
            <p:cNvSpPr/>
            <p:nvPr/>
          </p:nvSpPr>
          <p:spPr>
            <a:xfrm>
              <a:off x="8674075" y="1208490"/>
              <a:ext cx="200381" cy="204321"/>
            </a:xfrm>
            <a:custGeom>
              <a:avLst/>
              <a:gdLst>
                <a:gd name="connsiteX0" fmla="*/ 100191 w 200381"/>
                <a:gd name="connsiteY0" fmla="*/ 58749 h 204321"/>
                <a:gd name="connsiteX1" fmla="*/ 137608 w 200381"/>
                <a:gd name="connsiteY1" fmla="*/ 96026 h 204321"/>
                <a:gd name="connsiteX2" fmla="*/ 137608 w 200381"/>
                <a:gd name="connsiteY2" fmla="*/ 204285 h 204321"/>
                <a:gd name="connsiteX3" fmla="*/ 200382 w 200381"/>
                <a:gd name="connsiteY3" fmla="*/ 204285 h 204321"/>
                <a:gd name="connsiteX4" fmla="*/ 200382 w 200381"/>
                <a:gd name="connsiteY4" fmla="*/ 87365 h 204321"/>
                <a:gd name="connsiteX5" fmla="*/ 121127 w 200381"/>
                <a:gd name="connsiteY5" fmla="*/ 0 h 204321"/>
                <a:gd name="connsiteX6" fmla="*/ 62773 w 200381"/>
                <a:gd name="connsiteY6" fmla="*/ 36555 h 204321"/>
                <a:gd name="connsiteX7" fmla="*/ 62773 w 200381"/>
                <a:gd name="connsiteY7" fmla="*/ 5016 h 204321"/>
                <a:gd name="connsiteX8" fmla="*/ 0 w 200381"/>
                <a:gd name="connsiteY8" fmla="*/ 5016 h 204321"/>
                <a:gd name="connsiteX9" fmla="*/ 0 w 200381"/>
                <a:gd name="connsiteY9" fmla="*/ 204321 h 204321"/>
                <a:gd name="connsiteX10" fmla="*/ 62773 w 200381"/>
                <a:gd name="connsiteY10" fmla="*/ 204321 h 204321"/>
                <a:gd name="connsiteX11" fmla="*/ 62773 w 200381"/>
                <a:gd name="connsiteY11" fmla="*/ 96062 h 204321"/>
                <a:gd name="connsiteX12" fmla="*/ 100191 w 200381"/>
                <a:gd name="connsiteY12" fmla="*/ 58749 h 2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381" h="204321">
                  <a:moveTo>
                    <a:pt x="100191" y="58749"/>
                  </a:moveTo>
                  <a:cubicBezTo>
                    <a:pt x="120848" y="58768"/>
                    <a:pt x="137587" y="75446"/>
                    <a:pt x="137608" y="96026"/>
                  </a:cubicBezTo>
                  <a:lnTo>
                    <a:pt x="137608" y="204285"/>
                  </a:lnTo>
                  <a:lnTo>
                    <a:pt x="200382" y="204285"/>
                  </a:lnTo>
                  <a:lnTo>
                    <a:pt x="200382" y="87365"/>
                  </a:lnTo>
                  <a:cubicBezTo>
                    <a:pt x="200382" y="34282"/>
                    <a:pt x="169629" y="0"/>
                    <a:pt x="121127" y="0"/>
                  </a:cubicBezTo>
                  <a:cubicBezTo>
                    <a:pt x="101169" y="0"/>
                    <a:pt x="80124" y="8697"/>
                    <a:pt x="62773" y="36555"/>
                  </a:cubicBezTo>
                  <a:lnTo>
                    <a:pt x="62773" y="5016"/>
                  </a:lnTo>
                  <a:lnTo>
                    <a:pt x="0" y="5016"/>
                  </a:lnTo>
                  <a:lnTo>
                    <a:pt x="0" y="204321"/>
                  </a:lnTo>
                  <a:lnTo>
                    <a:pt x="62773" y="204321"/>
                  </a:lnTo>
                  <a:lnTo>
                    <a:pt x="62773" y="96062"/>
                  </a:lnTo>
                  <a:cubicBezTo>
                    <a:pt x="62773" y="75467"/>
                    <a:pt x="79519" y="58768"/>
                    <a:pt x="100191" y="58749"/>
                  </a:cubicBezTo>
                  <a:close/>
                </a:path>
              </a:pathLst>
            </a:custGeom>
            <a:grpFill/>
            <a:ln w="3621"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DF9F492-D151-144D-9E40-D852FAD4BB14}"/>
                </a:ext>
              </a:extLst>
            </p:cNvPr>
            <p:cNvSpPr/>
            <p:nvPr/>
          </p:nvSpPr>
          <p:spPr>
            <a:xfrm>
              <a:off x="8904050" y="1121919"/>
              <a:ext cx="199222" cy="290928"/>
            </a:xfrm>
            <a:custGeom>
              <a:avLst/>
              <a:gdLst>
                <a:gd name="connsiteX0" fmla="*/ 199222 w 199222"/>
                <a:gd name="connsiteY0" fmla="*/ 290928 h 290928"/>
                <a:gd name="connsiteX1" fmla="*/ 122069 w 199222"/>
                <a:gd name="connsiteY1" fmla="*/ 191366 h 290928"/>
                <a:gd name="connsiteX2" fmla="*/ 193825 w 199222"/>
                <a:gd name="connsiteY2" fmla="*/ 91623 h 290928"/>
                <a:gd name="connsiteX3" fmla="*/ 120439 w 199222"/>
                <a:gd name="connsiteY3" fmla="*/ 91623 h 290928"/>
                <a:gd name="connsiteX4" fmla="*/ 62773 w 199222"/>
                <a:gd name="connsiteY4" fmla="*/ 172240 h 290928"/>
                <a:gd name="connsiteX5" fmla="*/ 62773 w 199222"/>
                <a:gd name="connsiteY5" fmla="*/ 0 h 290928"/>
                <a:gd name="connsiteX6" fmla="*/ 0 w 199222"/>
                <a:gd name="connsiteY6" fmla="*/ 0 h 290928"/>
                <a:gd name="connsiteX7" fmla="*/ 0 w 199222"/>
                <a:gd name="connsiteY7" fmla="*/ 290928 h 290928"/>
                <a:gd name="connsiteX8" fmla="*/ 62773 w 199222"/>
                <a:gd name="connsiteY8" fmla="*/ 290928 h 290928"/>
                <a:gd name="connsiteX9" fmla="*/ 62773 w 199222"/>
                <a:gd name="connsiteY9" fmla="*/ 208796 h 290928"/>
                <a:gd name="connsiteX10" fmla="*/ 126090 w 199222"/>
                <a:gd name="connsiteY10" fmla="*/ 290928 h 290928"/>
                <a:gd name="connsiteX11" fmla="*/ 199222 w 199222"/>
                <a:gd name="connsiteY11" fmla="*/ 290928 h 29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222" h="290928">
                  <a:moveTo>
                    <a:pt x="199222" y="290928"/>
                  </a:moveTo>
                  <a:lnTo>
                    <a:pt x="122069" y="191366"/>
                  </a:lnTo>
                  <a:lnTo>
                    <a:pt x="193825" y="91623"/>
                  </a:lnTo>
                  <a:lnTo>
                    <a:pt x="120439" y="91623"/>
                  </a:lnTo>
                  <a:lnTo>
                    <a:pt x="62773" y="172240"/>
                  </a:lnTo>
                  <a:lnTo>
                    <a:pt x="62773" y="0"/>
                  </a:lnTo>
                  <a:lnTo>
                    <a:pt x="0" y="0"/>
                  </a:lnTo>
                  <a:lnTo>
                    <a:pt x="0" y="290928"/>
                  </a:lnTo>
                  <a:lnTo>
                    <a:pt x="62773" y="290928"/>
                  </a:lnTo>
                  <a:lnTo>
                    <a:pt x="62773" y="208796"/>
                  </a:lnTo>
                  <a:lnTo>
                    <a:pt x="126090" y="290928"/>
                  </a:lnTo>
                  <a:lnTo>
                    <a:pt x="199222" y="290928"/>
                  </a:lnTo>
                  <a:close/>
                </a:path>
              </a:pathLst>
            </a:custGeom>
            <a:grpFill/>
            <a:ln w="3621"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866D89E4-2541-564F-BA7C-1BC00F835A78}"/>
                </a:ext>
              </a:extLst>
            </p:cNvPr>
            <p:cNvSpPr/>
            <p:nvPr/>
          </p:nvSpPr>
          <p:spPr>
            <a:xfrm>
              <a:off x="7058852" y="1116927"/>
              <a:ext cx="201266" cy="301079"/>
            </a:xfrm>
            <a:custGeom>
              <a:avLst/>
              <a:gdLst>
                <a:gd name="connsiteX0" fmla="*/ 194767 w 201266"/>
                <a:gd name="connsiteY0" fmla="*/ 242295 h 301079"/>
                <a:gd name="connsiteX1" fmla="*/ 201215 w 201266"/>
                <a:gd name="connsiteY1" fmla="*/ 205559 h 301079"/>
                <a:gd name="connsiteX2" fmla="*/ 183393 w 201266"/>
                <a:gd name="connsiteY2" fmla="*/ 155038 h 301079"/>
                <a:gd name="connsiteX3" fmla="*/ 115295 w 201266"/>
                <a:gd name="connsiteY3" fmla="*/ 118952 h 301079"/>
                <a:gd name="connsiteX4" fmla="*/ 97438 w 201266"/>
                <a:gd name="connsiteY4" fmla="*/ 112276 h 301079"/>
                <a:gd name="connsiteX5" fmla="*/ 84144 w 201266"/>
                <a:gd name="connsiteY5" fmla="*/ 102424 h 301079"/>
                <a:gd name="connsiteX6" fmla="*/ 78457 w 201266"/>
                <a:gd name="connsiteY6" fmla="*/ 86113 h 301079"/>
                <a:gd name="connsiteX7" fmla="*/ 91534 w 201266"/>
                <a:gd name="connsiteY7" fmla="*/ 65508 h 301079"/>
                <a:gd name="connsiteX8" fmla="*/ 141158 w 201266"/>
                <a:gd name="connsiteY8" fmla="*/ 65905 h 301079"/>
                <a:gd name="connsiteX9" fmla="*/ 161406 w 201266"/>
                <a:gd name="connsiteY9" fmla="*/ 75432 h 301079"/>
                <a:gd name="connsiteX10" fmla="*/ 188102 w 201266"/>
                <a:gd name="connsiteY10" fmla="*/ 22565 h 301079"/>
                <a:gd name="connsiteX11" fmla="*/ 149815 w 201266"/>
                <a:gd name="connsiteY11" fmla="*/ 5352 h 301079"/>
                <a:gd name="connsiteX12" fmla="*/ 107182 w 201266"/>
                <a:gd name="connsiteY12" fmla="*/ 11 h 301079"/>
                <a:gd name="connsiteX13" fmla="*/ 67337 w 201266"/>
                <a:gd name="connsiteY13" fmla="*/ 6543 h 301079"/>
                <a:gd name="connsiteX14" fmla="*/ 36838 w 201266"/>
                <a:gd name="connsiteY14" fmla="*/ 26354 h 301079"/>
                <a:gd name="connsiteX15" fmla="*/ 16554 w 201266"/>
                <a:gd name="connsiteY15" fmla="*/ 56595 h 301079"/>
                <a:gd name="connsiteX16" fmla="*/ 9852 w 201266"/>
                <a:gd name="connsiteY16" fmla="*/ 93439 h 301079"/>
                <a:gd name="connsiteX17" fmla="*/ 33506 w 201266"/>
                <a:gd name="connsiteY17" fmla="*/ 146269 h 301079"/>
                <a:gd name="connsiteX18" fmla="*/ 80848 w 201266"/>
                <a:gd name="connsiteY18" fmla="*/ 172612 h 301079"/>
                <a:gd name="connsiteX19" fmla="*/ 104248 w 201266"/>
                <a:gd name="connsiteY19" fmla="*/ 180876 h 301079"/>
                <a:gd name="connsiteX20" fmla="*/ 121453 w 201266"/>
                <a:gd name="connsiteY20" fmla="*/ 189609 h 301079"/>
                <a:gd name="connsiteX21" fmla="*/ 130581 w 201266"/>
                <a:gd name="connsiteY21" fmla="*/ 199749 h 301079"/>
                <a:gd name="connsiteX22" fmla="*/ 132537 w 201266"/>
                <a:gd name="connsiteY22" fmla="*/ 212452 h 301079"/>
                <a:gd name="connsiteX23" fmla="*/ 123627 w 201266"/>
                <a:gd name="connsiteY23" fmla="*/ 229629 h 301079"/>
                <a:gd name="connsiteX24" fmla="*/ 94649 w 201266"/>
                <a:gd name="connsiteY24" fmla="*/ 237568 h 301079"/>
                <a:gd name="connsiteX25" fmla="*/ 59622 w 201266"/>
                <a:gd name="connsiteY25" fmla="*/ 229160 h 301079"/>
                <a:gd name="connsiteX26" fmla="*/ 31368 w 201266"/>
                <a:gd name="connsiteY26" fmla="*/ 214148 h 301079"/>
                <a:gd name="connsiteX27" fmla="*/ 0 w 201266"/>
                <a:gd name="connsiteY27" fmla="*/ 268602 h 301079"/>
                <a:gd name="connsiteX28" fmla="*/ 88998 w 201266"/>
                <a:gd name="connsiteY28" fmla="*/ 301080 h 301079"/>
                <a:gd name="connsiteX29" fmla="*/ 136413 w 201266"/>
                <a:gd name="connsiteY29" fmla="*/ 293393 h 301079"/>
                <a:gd name="connsiteX30" fmla="*/ 172273 w 201266"/>
                <a:gd name="connsiteY30" fmla="*/ 273438 h 301079"/>
                <a:gd name="connsiteX31" fmla="*/ 194767 w 201266"/>
                <a:gd name="connsiteY31" fmla="*/ 242295 h 30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1266" h="301079">
                  <a:moveTo>
                    <a:pt x="194767" y="242295"/>
                  </a:moveTo>
                  <a:cubicBezTo>
                    <a:pt x="199443" y="230625"/>
                    <a:pt x="201639" y="218117"/>
                    <a:pt x="201215" y="205559"/>
                  </a:cubicBezTo>
                  <a:cubicBezTo>
                    <a:pt x="201215" y="185459"/>
                    <a:pt x="194912" y="167452"/>
                    <a:pt x="183393" y="155038"/>
                  </a:cubicBezTo>
                  <a:cubicBezTo>
                    <a:pt x="169991" y="140604"/>
                    <a:pt x="147171" y="128262"/>
                    <a:pt x="115295" y="118952"/>
                  </a:cubicBezTo>
                  <a:cubicBezTo>
                    <a:pt x="109165" y="117231"/>
                    <a:pt x="103191" y="114998"/>
                    <a:pt x="97438" y="112276"/>
                  </a:cubicBezTo>
                  <a:cubicBezTo>
                    <a:pt x="92410" y="109877"/>
                    <a:pt x="87896" y="106532"/>
                    <a:pt x="84144" y="102424"/>
                  </a:cubicBezTo>
                  <a:cubicBezTo>
                    <a:pt x="80131" y="97967"/>
                    <a:pt x="78082" y="92090"/>
                    <a:pt x="78457" y="86113"/>
                  </a:cubicBezTo>
                  <a:cubicBezTo>
                    <a:pt x="78457" y="76875"/>
                    <a:pt x="83456" y="70596"/>
                    <a:pt x="91534" y="65508"/>
                  </a:cubicBezTo>
                  <a:cubicBezTo>
                    <a:pt x="101676" y="59157"/>
                    <a:pt x="121200" y="58543"/>
                    <a:pt x="141158" y="65905"/>
                  </a:cubicBezTo>
                  <a:cubicBezTo>
                    <a:pt x="148185" y="68460"/>
                    <a:pt x="154962" y="71649"/>
                    <a:pt x="161406" y="75432"/>
                  </a:cubicBezTo>
                  <a:lnTo>
                    <a:pt x="188102" y="22565"/>
                  </a:lnTo>
                  <a:cubicBezTo>
                    <a:pt x="176207" y="15076"/>
                    <a:pt x="163323" y="9282"/>
                    <a:pt x="149815" y="5352"/>
                  </a:cubicBezTo>
                  <a:cubicBezTo>
                    <a:pt x="135890" y="1774"/>
                    <a:pt x="121563" y="-21"/>
                    <a:pt x="107182" y="11"/>
                  </a:cubicBezTo>
                  <a:cubicBezTo>
                    <a:pt x="93617" y="-178"/>
                    <a:pt x="80126" y="2033"/>
                    <a:pt x="67337" y="6543"/>
                  </a:cubicBezTo>
                  <a:cubicBezTo>
                    <a:pt x="55926" y="11014"/>
                    <a:pt x="45548" y="17755"/>
                    <a:pt x="36838" y="26354"/>
                  </a:cubicBezTo>
                  <a:cubicBezTo>
                    <a:pt x="28142" y="35004"/>
                    <a:pt x="21249" y="45281"/>
                    <a:pt x="16554" y="56595"/>
                  </a:cubicBezTo>
                  <a:cubicBezTo>
                    <a:pt x="11950" y="68329"/>
                    <a:pt x="9674" y="80841"/>
                    <a:pt x="9852" y="93439"/>
                  </a:cubicBezTo>
                  <a:cubicBezTo>
                    <a:pt x="10606" y="113428"/>
                    <a:pt x="19080" y="132355"/>
                    <a:pt x="33506" y="146269"/>
                  </a:cubicBezTo>
                  <a:cubicBezTo>
                    <a:pt x="51617" y="163338"/>
                    <a:pt x="72517" y="169401"/>
                    <a:pt x="80848" y="172612"/>
                  </a:cubicBezTo>
                  <a:cubicBezTo>
                    <a:pt x="89179" y="175824"/>
                    <a:pt x="98380" y="178531"/>
                    <a:pt x="104248" y="180876"/>
                  </a:cubicBezTo>
                  <a:cubicBezTo>
                    <a:pt x="110299" y="183121"/>
                    <a:pt x="116072" y="186051"/>
                    <a:pt x="121453" y="189609"/>
                  </a:cubicBezTo>
                  <a:cubicBezTo>
                    <a:pt x="125308" y="192168"/>
                    <a:pt x="128448" y="195653"/>
                    <a:pt x="130581" y="199749"/>
                  </a:cubicBezTo>
                  <a:cubicBezTo>
                    <a:pt x="132462" y="203704"/>
                    <a:pt x="133142" y="208118"/>
                    <a:pt x="132537" y="212452"/>
                  </a:cubicBezTo>
                  <a:cubicBezTo>
                    <a:pt x="131899" y="219106"/>
                    <a:pt x="128708" y="225262"/>
                    <a:pt x="123627" y="229629"/>
                  </a:cubicBezTo>
                  <a:cubicBezTo>
                    <a:pt x="118229" y="234681"/>
                    <a:pt x="108522" y="237568"/>
                    <a:pt x="94649" y="237568"/>
                  </a:cubicBezTo>
                  <a:cubicBezTo>
                    <a:pt x="82512" y="237232"/>
                    <a:pt x="70580" y="234367"/>
                    <a:pt x="59622" y="229160"/>
                  </a:cubicBezTo>
                  <a:cubicBezTo>
                    <a:pt x="49883" y="224782"/>
                    <a:pt x="40444" y="219766"/>
                    <a:pt x="31368" y="214148"/>
                  </a:cubicBezTo>
                  <a:lnTo>
                    <a:pt x="0" y="268602"/>
                  </a:lnTo>
                  <a:cubicBezTo>
                    <a:pt x="21733" y="287980"/>
                    <a:pt x="57412" y="301080"/>
                    <a:pt x="88998" y="301080"/>
                  </a:cubicBezTo>
                  <a:cubicBezTo>
                    <a:pt x="105113" y="301047"/>
                    <a:pt x="121119" y="298453"/>
                    <a:pt x="136413" y="293393"/>
                  </a:cubicBezTo>
                  <a:cubicBezTo>
                    <a:pt x="149523" y="289052"/>
                    <a:pt x="161690" y="282282"/>
                    <a:pt x="172273" y="273438"/>
                  </a:cubicBezTo>
                  <a:cubicBezTo>
                    <a:pt x="181872" y="264737"/>
                    <a:pt x="189537" y="254128"/>
                    <a:pt x="194767" y="242295"/>
                  </a:cubicBezTo>
                  <a:close/>
                </a:path>
              </a:pathLst>
            </a:custGeom>
            <a:grpFill/>
            <a:ln w="3621"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2B284AF-6D36-CF4E-ADC5-7E51B4CC89BC}"/>
                </a:ext>
              </a:extLst>
            </p:cNvPr>
            <p:cNvSpPr/>
            <p:nvPr/>
          </p:nvSpPr>
          <p:spPr>
            <a:xfrm>
              <a:off x="9112690" y="1343200"/>
              <a:ext cx="69909" cy="69646"/>
            </a:xfrm>
            <a:custGeom>
              <a:avLst/>
              <a:gdLst>
                <a:gd name="connsiteX0" fmla="*/ 34955 w 69909"/>
                <a:gd name="connsiteY0" fmla="*/ 0 h 69646"/>
                <a:gd name="connsiteX1" fmla="*/ 0 w 69909"/>
                <a:gd name="connsiteY1" fmla="*/ 34823 h 69646"/>
                <a:gd name="connsiteX2" fmla="*/ 34955 w 69909"/>
                <a:gd name="connsiteY2" fmla="*/ 69647 h 69646"/>
                <a:gd name="connsiteX3" fmla="*/ 69909 w 69909"/>
                <a:gd name="connsiteY3" fmla="*/ 34823 h 69646"/>
                <a:gd name="connsiteX4" fmla="*/ 34955 w 69909"/>
                <a:gd name="connsiteY4" fmla="*/ 0 h 69646"/>
                <a:gd name="connsiteX5" fmla="*/ 34955 w 69909"/>
                <a:gd name="connsiteY5" fmla="*/ 62646 h 69646"/>
                <a:gd name="connsiteX6" fmla="*/ 7027 w 69909"/>
                <a:gd name="connsiteY6" fmla="*/ 34823 h 69646"/>
                <a:gd name="connsiteX7" fmla="*/ 34955 w 69909"/>
                <a:gd name="connsiteY7" fmla="*/ 7001 h 69646"/>
                <a:gd name="connsiteX8" fmla="*/ 62882 w 69909"/>
                <a:gd name="connsiteY8" fmla="*/ 34823 h 69646"/>
                <a:gd name="connsiteX9" fmla="*/ 34955 w 69909"/>
                <a:gd name="connsiteY9" fmla="*/ 62646 h 69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909" h="69646">
                  <a:moveTo>
                    <a:pt x="34955" y="0"/>
                  </a:moveTo>
                  <a:cubicBezTo>
                    <a:pt x="15648" y="0"/>
                    <a:pt x="0" y="15589"/>
                    <a:pt x="0" y="34823"/>
                  </a:cubicBezTo>
                  <a:cubicBezTo>
                    <a:pt x="0" y="54057"/>
                    <a:pt x="15648" y="69647"/>
                    <a:pt x="34955" y="69647"/>
                  </a:cubicBezTo>
                  <a:cubicBezTo>
                    <a:pt x="54261" y="69647"/>
                    <a:pt x="69909" y="54057"/>
                    <a:pt x="69909" y="34823"/>
                  </a:cubicBezTo>
                  <a:cubicBezTo>
                    <a:pt x="69891" y="15600"/>
                    <a:pt x="54250" y="22"/>
                    <a:pt x="34955" y="0"/>
                  </a:cubicBezTo>
                  <a:close/>
                  <a:moveTo>
                    <a:pt x="34955" y="62646"/>
                  </a:moveTo>
                  <a:cubicBezTo>
                    <a:pt x="19531" y="62646"/>
                    <a:pt x="7027" y="50189"/>
                    <a:pt x="7027" y="34823"/>
                  </a:cubicBezTo>
                  <a:cubicBezTo>
                    <a:pt x="7027" y="19458"/>
                    <a:pt x="19531" y="7001"/>
                    <a:pt x="34955" y="7001"/>
                  </a:cubicBezTo>
                  <a:cubicBezTo>
                    <a:pt x="50378" y="7001"/>
                    <a:pt x="62882" y="19458"/>
                    <a:pt x="62882" y="34823"/>
                  </a:cubicBezTo>
                  <a:cubicBezTo>
                    <a:pt x="62882" y="50189"/>
                    <a:pt x="50378" y="62646"/>
                    <a:pt x="34955" y="62646"/>
                  </a:cubicBezTo>
                  <a:close/>
                </a:path>
              </a:pathLst>
            </a:custGeom>
            <a:grpFill/>
            <a:ln w="3621"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070B44B-9518-0F43-8101-CD69871B6805}"/>
                </a:ext>
              </a:extLst>
            </p:cNvPr>
            <p:cNvSpPr/>
            <p:nvPr/>
          </p:nvSpPr>
          <p:spPr>
            <a:xfrm>
              <a:off x="9134931" y="1359006"/>
              <a:ext cx="27999" cy="38107"/>
            </a:xfrm>
            <a:custGeom>
              <a:avLst/>
              <a:gdLst>
                <a:gd name="connsiteX0" fmla="*/ 12497 w 27999"/>
                <a:gd name="connsiteY0" fmla="*/ 24827 h 38107"/>
                <a:gd name="connsiteX1" fmla="*/ 6882 w 27999"/>
                <a:gd name="connsiteY1" fmla="*/ 24827 h 38107"/>
                <a:gd name="connsiteX2" fmla="*/ 6882 w 27999"/>
                <a:gd name="connsiteY2" fmla="*/ 38035 h 38107"/>
                <a:gd name="connsiteX3" fmla="*/ 0 w 27999"/>
                <a:gd name="connsiteY3" fmla="*/ 38035 h 38107"/>
                <a:gd name="connsiteX4" fmla="*/ 0 w 27999"/>
                <a:gd name="connsiteY4" fmla="*/ 0 h 38107"/>
                <a:gd name="connsiteX5" fmla="*/ 14489 w 27999"/>
                <a:gd name="connsiteY5" fmla="*/ 0 h 38107"/>
                <a:gd name="connsiteX6" fmla="*/ 27203 w 27999"/>
                <a:gd name="connsiteY6" fmla="*/ 12594 h 38107"/>
                <a:gd name="connsiteX7" fmla="*/ 19959 w 27999"/>
                <a:gd name="connsiteY7" fmla="*/ 23673 h 38107"/>
                <a:gd name="connsiteX8" fmla="*/ 28000 w 27999"/>
                <a:gd name="connsiteY8" fmla="*/ 38107 h 38107"/>
                <a:gd name="connsiteX9" fmla="*/ 19959 w 27999"/>
                <a:gd name="connsiteY9" fmla="*/ 38107 h 38107"/>
                <a:gd name="connsiteX10" fmla="*/ 6882 w 27999"/>
                <a:gd name="connsiteY10" fmla="*/ 18440 h 38107"/>
                <a:gd name="connsiteX11" fmla="*/ 14924 w 27999"/>
                <a:gd name="connsiteY11" fmla="*/ 18440 h 38107"/>
                <a:gd name="connsiteX12" fmla="*/ 20103 w 27999"/>
                <a:gd name="connsiteY12" fmla="*/ 11981 h 38107"/>
                <a:gd name="connsiteX13" fmla="*/ 14924 w 27999"/>
                <a:gd name="connsiteY13" fmla="*/ 6820 h 38107"/>
                <a:gd name="connsiteX14" fmla="*/ 6882 w 27999"/>
                <a:gd name="connsiteY14" fmla="*/ 6820 h 3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999" h="38107">
                  <a:moveTo>
                    <a:pt x="12497" y="24827"/>
                  </a:moveTo>
                  <a:lnTo>
                    <a:pt x="6882" y="24827"/>
                  </a:lnTo>
                  <a:lnTo>
                    <a:pt x="6882" y="38035"/>
                  </a:lnTo>
                  <a:lnTo>
                    <a:pt x="0" y="38035"/>
                  </a:lnTo>
                  <a:lnTo>
                    <a:pt x="0" y="0"/>
                  </a:lnTo>
                  <a:lnTo>
                    <a:pt x="14489" y="0"/>
                  </a:lnTo>
                  <a:cubicBezTo>
                    <a:pt x="21491" y="-22"/>
                    <a:pt x="27181" y="5619"/>
                    <a:pt x="27203" y="12594"/>
                  </a:cubicBezTo>
                  <a:cubicBezTo>
                    <a:pt x="27145" y="17372"/>
                    <a:pt x="24323" y="21688"/>
                    <a:pt x="19959" y="23673"/>
                  </a:cubicBezTo>
                  <a:lnTo>
                    <a:pt x="28000" y="38107"/>
                  </a:lnTo>
                  <a:lnTo>
                    <a:pt x="19959" y="38107"/>
                  </a:lnTo>
                  <a:close/>
                  <a:moveTo>
                    <a:pt x="6882" y="18440"/>
                  </a:moveTo>
                  <a:lnTo>
                    <a:pt x="14924" y="18440"/>
                  </a:lnTo>
                  <a:cubicBezTo>
                    <a:pt x="18144" y="18083"/>
                    <a:pt x="20466" y="15189"/>
                    <a:pt x="20103" y="11981"/>
                  </a:cubicBezTo>
                  <a:cubicBezTo>
                    <a:pt x="19799" y="9267"/>
                    <a:pt x="17648" y="7124"/>
                    <a:pt x="14924" y="6820"/>
                  </a:cubicBezTo>
                  <a:lnTo>
                    <a:pt x="6882" y="6820"/>
                  </a:lnTo>
                  <a:close/>
                </a:path>
              </a:pathLst>
            </a:custGeom>
            <a:grpFill/>
            <a:ln w="3621"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9EC9A2E-261E-1046-ABA2-6A99FD742108}"/>
                </a:ext>
              </a:extLst>
            </p:cNvPr>
            <p:cNvSpPr/>
            <p:nvPr/>
          </p:nvSpPr>
          <p:spPr>
            <a:xfrm>
              <a:off x="7281148" y="1208598"/>
              <a:ext cx="186037" cy="209300"/>
            </a:xfrm>
            <a:custGeom>
              <a:avLst/>
              <a:gdLst>
                <a:gd name="connsiteX0" fmla="*/ 144418 w 186037"/>
                <a:gd name="connsiteY0" fmla="*/ 133484 h 209300"/>
                <a:gd name="connsiteX1" fmla="*/ 79294 w 186037"/>
                <a:gd name="connsiteY1" fmla="*/ 140625 h 209300"/>
                <a:gd name="connsiteX2" fmla="*/ 72126 w 186037"/>
                <a:gd name="connsiteY2" fmla="*/ 75745 h 209300"/>
                <a:gd name="connsiteX3" fmla="*/ 137250 w 186037"/>
                <a:gd name="connsiteY3" fmla="*/ 68603 h 209300"/>
                <a:gd name="connsiteX4" fmla="*/ 144418 w 186037"/>
                <a:gd name="connsiteY4" fmla="*/ 75745 h 209300"/>
                <a:gd name="connsiteX5" fmla="*/ 186038 w 186037"/>
                <a:gd name="connsiteY5" fmla="*/ 34282 h 209300"/>
                <a:gd name="connsiteX6" fmla="*/ 108377 w 186037"/>
                <a:gd name="connsiteY6" fmla="*/ 0 h 209300"/>
                <a:gd name="connsiteX7" fmla="*/ 0 w 186037"/>
                <a:gd name="connsiteY7" fmla="*/ 104650 h 209300"/>
                <a:gd name="connsiteX8" fmla="*/ 108377 w 186037"/>
                <a:gd name="connsiteY8" fmla="*/ 209301 h 209300"/>
                <a:gd name="connsiteX9" fmla="*/ 186038 w 186037"/>
                <a:gd name="connsiteY9" fmla="*/ 175055 h 20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037" h="209300">
                  <a:moveTo>
                    <a:pt x="144418" y="133484"/>
                  </a:moveTo>
                  <a:cubicBezTo>
                    <a:pt x="128415" y="153371"/>
                    <a:pt x="99256" y="156568"/>
                    <a:pt x="79294" y="140625"/>
                  </a:cubicBezTo>
                  <a:cubicBezTo>
                    <a:pt x="59328" y="124682"/>
                    <a:pt x="56119" y="95633"/>
                    <a:pt x="72126" y="75745"/>
                  </a:cubicBezTo>
                  <a:cubicBezTo>
                    <a:pt x="88129" y="55857"/>
                    <a:pt x="117284" y="52659"/>
                    <a:pt x="137250" y="68603"/>
                  </a:cubicBezTo>
                  <a:cubicBezTo>
                    <a:pt x="139894" y="70715"/>
                    <a:pt x="142299" y="73111"/>
                    <a:pt x="144418" y="75745"/>
                  </a:cubicBezTo>
                  <a:lnTo>
                    <a:pt x="186038" y="34282"/>
                  </a:lnTo>
                  <a:cubicBezTo>
                    <a:pt x="166173" y="12439"/>
                    <a:pt x="137963" y="-15"/>
                    <a:pt x="108377" y="0"/>
                  </a:cubicBezTo>
                  <a:cubicBezTo>
                    <a:pt x="50421" y="0"/>
                    <a:pt x="0" y="41066"/>
                    <a:pt x="0" y="104650"/>
                  </a:cubicBezTo>
                  <a:cubicBezTo>
                    <a:pt x="0" y="168235"/>
                    <a:pt x="50458" y="209301"/>
                    <a:pt x="108377" y="209301"/>
                  </a:cubicBezTo>
                  <a:cubicBezTo>
                    <a:pt x="137953" y="209312"/>
                    <a:pt x="166159" y="196873"/>
                    <a:pt x="186038" y="175055"/>
                  </a:cubicBezTo>
                  <a:close/>
                </a:path>
              </a:pathLst>
            </a:custGeom>
            <a:grpFill/>
            <a:ln w="3621"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9F0ADE3-B8C7-994E-8CA9-5585F8608D52}"/>
                </a:ext>
              </a:extLst>
            </p:cNvPr>
            <p:cNvSpPr/>
            <p:nvPr/>
          </p:nvSpPr>
          <p:spPr>
            <a:xfrm>
              <a:off x="7931591" y="1208526"/>
              <a:ext cx="219253" cy="209301"/>
            </a:xfrm>
            <a:custGeom>
              <a:avLst/>
              <a:gdLst>
                <a:gd name="connsiteX0" fmla="*/ 219253 w 219253"/>
                <a:gd name="connsiteY0" fmla="*/ 204321 h 209301"/>
                <a:gd name="connsiteX1" fmla="*/ 219253 w 219253"/>
                <a:gd name="connsiteY1" fmla="*/ 4980 h 209301"/>
                <a:gd name="connsiteX2" fmla="*/ 158038 w 219253"/>
                <a:gd name="connsiteY2" fmla="*/ 4980 h 209301"/>
                <a:gd name="connsiteX3" fmla="*/ 158038 w 219253"/>
                <a:gd name="connsiteY3" fmla="*/ 25910 h 209301"/>
                <a:gd name="connsiteX4" fmla="*/ 152387 w 219253"/>
                <a:gd name="connsiteY4" fmla="*/ 20858 h 209301"/>
                <a:gd name="connsiteX5" fmla="*/ 99647 w 219253"/>
                <a:gd name="connsiteY5" fmla="*/ 0 h 209301"/>
                <a:gd name="connsiteX6" fmla="*/ 0 w 219253"/>
                <a:gd name="connsiteY6" fmla="*/ 104651 h 209301"/>
                <a:gd name="connsiteX7" fmla="*/ 99647 w 219253"/>
                <a:gd name="connsiteY7" fmla="*/ 209301 h 209301"/>
                <a:gd name="connsiteX8" fmla="*/ 152387 w 219253"/>
                <a:gd name="connsiteY8" fmla="*/ 188443 h 209301"/>
                <a:gd name="connsiteX9" fmla="*/ 158038 w 219253"/>
                <a:gd name="connsiteY9" fmla="*/ 183391 h 209301"/>
                <a:gd name="connsiteX10" fmla="*/ 158038 w 219253"/>
                <a:gd name="connsiteY10" fmla="*/ 204321 h 209301"/>
                <a:gd name="connsiteX11" fmla="*/ 109427 w 219253"/>
                <a:gd name="connsiteY11" fmla="*/ 151743 h 209301"/>
                <a:gd name="connsiteX12" fmla="*/ 62338 w 219253"/>
                <a:gd name="connsiteY12" fmla="*/ 104831 h 209301"/>
                <a:gd name="connsiteX13" fmla="*/ 109427 w 219253"/>
                <a:gd name="connsiteY13" fmla="*/ 57919 h 209301"/>
                <a:gd name="connsiteX14" fmla="*/ 156516 w 219253"/>
                <a:gd name="connsiteY14" fmla="*/ 104831 h 209301"/>
                <a:gd name="connsiteX15" fmla="*/ 109427 w 219253"/>
                <a:gd name="connsiteY15" fmla="*/ 151743 h 20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253" h="209301">
                  <a:moveTo>
                    <a:pt x="219253" y="204321"/>
                  </a:moveTo>
                  <a:lnTo>
                    <a:pt x="219253" y="4980"/>
                  </a:lnTo>
                  <a:lnTo>
                    <a:pt x="158038" y="4980"/>
                  </a:lnTo>
                  <a:lnTo>
                    <a:pt x="158038" y="25910"/>
                  </a:lnTo>
                  <a:lnTo>
                    <a:pt x="152387" y="20858"/>
                  </a:lnTo>
                  <a:cubicBezTo>
                    <a:pt x="138134" y="7440"/>
                    <a:pt x="119258" y="-25"/>
                    <a:pt x="99647" y="0"/>
                  </a:cubicBezTo>
                  <a:cubicBezTo>
                    <a:pt x="45640" y="0"/>
                    <a:pt x="0" y="47923"/>
                    <a:pt x="0" y="104651"/>
                  </a:cubicBezTo>
                  <a:cubicBezTo>
                    <a:pt x="0" y="161378"/>
                    <a:pt x="45640" y="209301"/>
                    <a:pt x="99647" y="209301"/>
                  </a:cubicBezTo>
                  <a:cubicBezTo>
                    <a:pt x="119258" y="209326"/>
                    <a:pt x="138134" y="201860"/>
                    <a:pt x="152387" y="188443"/>
                  </a:cubicBezTo>
                  <a:lnTo>
                    <a:pt x="158038" y="183391"/>
                  </a:lnTo>
                  <a:lnTo>
                    <a:pt x="158038" y="204321"/>
                  </a:lnTo>
                  <a:close/>
                  <a:moveTo>
                    <a:pt x="109427" y="151743"/>
                  </a:moveTo>
                  <a:cubicBezTo>
                    <a:pt x="83420" y="151743"/>
                    <a:pt x="62338" y="130741"/>
                    <a:pt x="62338" y="104831"/>
                  </a:cubicBezTo>
                  <a:cubicBezTo>
                    <a:pt x="62338" y="78921"/>
                    <a:pt x="83420" y="57919"/>
                    <a:pt x="109427" y="57919"/>
                  </a:cubicBezTo>
                  <a:cubicBezTo>
                    <a:pt x="135435" y="57919"/>
                    <a:pt x="156516" y="78921"/>
                    <a:pt x="156516" y="104831"/>
                  </a:cubicBezTo>
                  <a:cubicBezTo>
                    <a:pt x="156397" y="130690"/>
                    <a:pt x="135384" y="151624"/>
                    <a:pt x="109427" y="151743"/>
                  </a:cubicBezTo>
                  <a:close/>
                </a:path>
              </a:pathLst>
            </a:custGeom>
            <a:grpFill/>
            <a:ln w="3621"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BF47D28D-3436-BB47-89E1-976DBD7C0779}"/>
                </a:ext>
              </a:extLst>
            </p:cNvPr>
            <p:cNvSpPr/>
            <p:nvPr/>
          </p:nvSpPr>
          <p:spPr>
            <a:xfrm>
              <a:off x="8424938" y="1208526"/>
              <a:ext cx="219217" cy="209301"/>
            </a:xfrm>
            <a:custGeom>
              <a:avLst/>
              <a:gdLst>
                <a:gd name="connsiteX0" fmla="*/ 219217 w 219217"/>
                <a:gd name="connsiteY0" fmla="*/ 204321 h 209301"/>
                <a:gd name="connsiteX1" fmla="*/ 219217 w 219217"/>
                <a:gd name="connsiteY1" fmla="*/ 4980 h 209301"/>
                <a:gd name="connsiteX2" fmla="*/ 158002 w 219217"/>
                <a:gd name="connsiteY2" fmla="*/ 4980 h 209301"/>
                <a:gd name="connsiteX3" fmla="*/ 158002 w 219217"/>
                <a:gd name="connsiteY3" fmla="*/ 25910 h 209301"/>
                <a:gd name="connsiteX4" fmla="*/ 152351 w 219217"/>
                <a:gd name="connsiteY4" fmla="*/ 20858 h 209301"/>
                <a:gd name="connsiteX5" fmla="*/ 99611 w 219217"/>
                <a:gd name="connsiteY5" fmla="*/ 0 h 209301"/>
                <a:gd name="connsiteX6" fmla="*/ 0 w 219217"/>
                <a:gd name="connsiteY6" fmla="*/ 104651 h 209301"/>
                <a:gd name="connsiteX7" fmla="*/ 99611 w 219217"/>
                <a:gd name="connsiteY7" fmla="*/ 209301 h 209301"/>
                <a:gd name="connsiteX8" fmla="*/ 152351 w 219217"/>
                <a:gd name="connsiteY8" fmla="*/ 188443 h 209301"/>
                <a:gd name="connsiteX9" fmla="*/ 158002 w 219217"/>
                <a:gd name="connsiteY9" fmla="*/ 183391 h 209301"/>
                <a:gd name="connsiteX10" fmla="*/ 158002 w 219217"/>
                <a:gd name="connsiteY10" fmla="*/ 204321 h 209301"/>
                <a:gd name="connsiteX11" fmla="*/ 109391 w 219217"/>
                <a:gd name="connsiteY11" fmla="*/ 151743 h 209301"/>
                <a:gd name="connsiteX12" fmla="*/ 62483 w 219217"/>
                <a:gd name="connsiteY12" fmla="*/ 104651 h 209301"/>
                <a:gd name="connsiteX13" fmla="*/ 109753 w 219217"/>
                <a:gd name="connsiteY13" fmla="*/ 57919 h 209301"/>
                <a:gd name="connsiteX14" fmla="*/ 156661 w 219217"/>
                <a:gd name="connsiteY14" fmla="*/ 104831 h 209301"/>
                <a:gd name="connsiteX15" fmla="*/ 109246 w 219217"/>
                <a:gd name="connsiteY15" fmla="*/ 151743 h 20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217" h="209301">
                  <a:moveTo>
                    <a:pt x="219217" y="204321"/>
                  </a:moveTo>
                  <a:lnTo>
                    <a:pt x="219217" y="4980"/>
                  </a:lnTo>
                  <a:lnTo>
                    <a:pt x="158002" y="4980"/>
                  </a:lnTo>
                  <a:lnTo>
                    <a:pt x="158002" y="25910"/>
                  </a:lnTo>
                  <a:lnTo>
                    <a:pt x="152351" y="20858"/>
                  </a:lnTo>
                  <a:cubicBezTo>
                    <a:pt x="138097" y="7440"/>
                    <a:pt x="119222" y="-25"/>
                    <a:pt x="99611" y="0"/>
                  </a:cubicBezTo>
                  <a:cubicBezTo>
                    <a:pt x="45604" y="0"/>
                    <a:pt x="0" y="47923"/>
                    <a:pt x="0" y="104651"/>
                  </a:cubicBezTo>
                  <a:cubicBezTo>
                    <a:pt x="0" y="161378"/>
                    <a:pt x="45604" y="209301"/>
                    <a:pt x="99611" y="209301"/>
                  </a:cubicBezTo>
                  <a:cubicBezTo>
                    <a:pt x="119222" y="209326"/>
                    <a:pt x="138097" y="201860"/>
                    <a:pt x="152351" y="188443"/>
                  </a:cubicBezTo>
                  <a:lnTo>
                    <a:pt x="158002" y="183391"/>
                  </a:lnTo>
                  <a:lnTo>
                    <a:pt x="158002" y="204321"/>
                  </a:lnTo>
                  <a:close/>
                  <a:moveTo>
                    <a:pt x="109391" y="151743"/>
                  </a:moveTo>
                  <a:cubicBezTo>
                    <a:pt x="83384" y="151642"/>
                    <a:pt x="62382" y="130561"/>
                    <a:pt x="62483" y="104651"/>
                  </a:cubicBezTo>
                  <a:cubicBezTo>
                    <a:pt x="62585" y="78741"/>
                    <a:pt x="83746" y="57820"/>
                    <a:pt x="109753" y="57919"/>
                  </a:cubicBezTo>
                  <a:cubicBezTo>
                    <a:pt x="135689" y="58019"/>
                    <a:pt x="156661" y="78993"/>
                    <a:pt x="156661" y="104831"/>
                  </a:cubicBezTo>
                  <a:cubicBezTo>
                    <a:pt x="156542" y="130817"/>
                    <a:pt x="135330" y="151805"/>
                    <a:pt x="109246" y="151743"/>
                  </a:cubicBezTo>
                  <a:close/>
                </a:path>
              </a:pathLst>
            </a:custGeom>
            <a:grpFill/>
            <a:ln w="3621"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69809BD-E855-6448-AEFD-EB1ACBDDB957}"/>
                </a:ext>
              </a:extLst>
            </p:cNvPr>
            <p:cNvSpPr/>
            <p:nvPr/>
          </p:nvSpPr>
          <p:spPr>
            <a:xfrm>
              <a:off x="8183299" y="1121919"/>
              <a:ext cx="219253" cy="295908"/>
            </a:xfrm>
            <a:custGeom>
              <a:avLst/>
              <a:gdLst>
                <a:gd name="connsiteX0" fmla="*/ 61216 w 219253"/>
                <a:gd name="connsiteY0" fmla="*/ 290928 h 295908"/>
                <a:gd name="connsiteX1" fmla="*/ 61216 w 219253"/>
                <a:gd name="connsiteY1" fmla="*/ 269998 h 295908"/>
                <a:gd name="connsiteX2" fmla="*/ 66903 w 219253"/>
                <a:gd name="connsiteY2" fmla="*/ 275050 h 295908"/>
                <a:gd name="connsiteX3" fmla="*/ 119606 w 219253"/>
                <a:gd name="connsiteY3" fmla="*/ 295908 h 295908"/>
                <a:gd name="connsiteX4" fmla="*/ 219253 w 219253"/>
                <a:gd name="connsiteY4" fmla="*/ 191258 h 295908"/>
                <a:gd name="connsiteX5" fmla="*/ 119606 w 219253"/>
                <a:gd name="connsiteY5" fmla="*/ 86607 h 295908"/>
                <a:gd name="connsiteX6" fmla="*/ 66903 w 219253"/>
                <a:gd name="connsiteY6" fmla="*/ 107465 h 295908"/>
                <a:gd name="connsiteX7" fmla="*/ 61216 w 219253"/>
                <a:gd name="connsiteY7" fmla="*/ 112517 h 295908"/>
                <a:gd name="connsiteX8" fmla="*/ 61216 w 219253"/>
                <a:gd name="connsiteY8" fmla="*/ 0 h 295908"/>
                <a:gd name="connsiteX9" fmla="*/ 0 w 219253"/>
                <a:gd name="connsiteY9" fmla="*/ 0 h 295908"/>
                <a:gd name="connsiteX10" fmla="*/ 0 w 219253"/>
                <a:gd name="connsiteY10" fmla="*/ 290928 h 295908"/>
                <a:gd name="connsiteX11" fmla="*/ 62592 w 219253"/>
                <a:gd name="connsiteY11" fmla="*/ 191294 h 295908"/>
                <a:gd name="connsiteX12" fmla="*/ 109681 w 219253"/>
                <a:gd name="connsiteY12" fmla="*/ 144382 h 295908"/>
                <a:gd name="connsiteX13" fmla="*/ 156770 w 219253"/>
                <a:gd name="connsiteY13" fmla="*/ 191294 h 295908"/>
                <a:gd name="connsiteX14" fmla="*/ 109862 w 219253"/>
                <a:gd name="connsiteY14" fmla="*/ 238206 h 295908"/>
                <a:gd name="connsiteX15" fmla="*/ 62592 w 219253"/>
                <a:gd name="connsiteY15" fmla="*/ 191294 h 295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253" h="295908">
                  <a:moveTo>
                    <a:pt x="61216" y="290928"/>
                  </a:moveTo>
                  <a:lnTo>
                    <a:pt x="61216" y="269998"/>
                  </a:lnTo>
                  <a:lnTo>
                    <a:pt x="66903" y="275050"/>
                  </a:lnTo>
                  <a:cubicBezTo>
                    <a:pt x="81138" y="288474"/>
                    <a:pt x="100006" y="295937"/>
                    <a:pt x="119606" y="295908"/>
                  </a:cubicBezTo>
                  <a:cubicBezTo>
                    <a:pt x="173613" y="295908"/>
                    <a:pt x="219253" y="247986"/>
                    <a:pt x="219253" y="191258"/>
                  </a:cubicBezTo>
                  <a:cubicBezTo>
                    <a:pt x="219253" y="134530"/>
                    <a:pt x="173613" y="86607"/>
                    <a:pt x="119606" y="86607"/>
                  </a:cubicBezTo>
                  <a:cubicBezTo>
                    <a:pt x="100006" y="86577"/>
                    <a:pt x="81138" y="94043"/>
                    <a:pt x="66903" y="107465"/>
                  </a:cubicBezTo>
                  <a:lnTo>
                    <a:pt x="61216" y="112517"/>
                  </a:lnTo>
                  <a:lnTo>
                    <a:pt x="61216" y="0"/>
                  </a:lnTo>
                  <a:lnTo>
                    <a:pt x="0" y="0"/>
                  </a:lnTo>
                  <a:lnTo>
                    <a:pt x="0" y="290928"/>
                  </a:lnTo>
                  <a:close/>
                  <a:moveTo>
                    <a:pt x="62592" y="191294"/>
                  </a:moveTo>
                  <a:cubicBezTo>
                    <a:pt x="62592" y="165384"/>
                    <a:pt x="83673" y="144382"/>
                    <a:pt x="109681" y="144382"/>
                  </a:cubicBezTo>
                  <a:cubicBezTo>
                    <a:pt x="135689" y="144382"/>
                    <a:pt x="156770" y="165384"/>
                    <a:pt x="156770" y="191294"/>
                  </a:cubicBezTo>
                  <a:cubicBezTo>
                    <a:pt x="156770" y="217132"/>
                    <a:pt x="135797" y="238105"/>
                    <a:pt x="109862" y="238206"/>
                  </a:cubicBezTo>
                  <a:cubicBezTo>
                    <a:pt x="83833" y="238188"/>
                    <a:pt x="62712" y="217222"/>
                    <a:pt x="62592" y="191294"/>
                  </a:cubicBezTo>
                  <a:close/>
                </a:path>
              </a:pathLst>
            </a:custGeom>
            <a:grpFill/>
            <a:ln w="3621" cap="flat">
              <a:noFill/>
              <a:prstDash val="solid"/>
              <a:miter/>
            </a:ln>
          </p:spPr>
          <p:txBody>
            <a:bodyPr rtlCol="0" anchor="ctr"/>
            <a:lstStyle/>
            <a:p>
              <a:endParaRPr lang="en-US"/>
            </a:p>
          </p:txBody>
        </p:sp>
      </p:grpSp>
    </p:spTree>
    <p:extLst>
      <p:ext uri="{BB962C8B-B14F-4D97-AF65-F5344CB8AC3E}">
        <p14:creationId xmlns:p14="http://schemas.microsoft.com/office/powerpoint/2010/main" val="33655228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 Scotia (white)">
    <p:bg>
      <p:bgPr>
        <a:solidFill>
          <a:srgbClr val="FB633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solidFill>
                  <a:schemeClr val="bg1"/>
                </a:solidFill>
              </a:defRPr>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grpSp>
        <p:nvGrpSpPr>
          <p:cNvPr id="23" name="Group 22">
            <a:extLst>
              <a:ext uri="{FF2B5EF4-FFF2-40B4-BE49-F238E27FC236}">
                <a16:creationId xmlns:a16="http://schemas.microsoft.com/office/drawing/2014/main" id="{DEDA2E92-32BE-404B-AA8F-53E457E6F54A}"/>
              </a:ext>
            </a:extLst>
          </p:cNvPr>
          <p:cNvGrpSpPr/>
          <p:nvPr userDrawn="1"/>
        </p:nvGrpSpPr>
        <p:grpSpPr>
          <a:xfrm>
            <a:off x="10645622" y="6209271"/>
            <a:ext cx="1170321" cy="297642"/>
            <a:chOff x="21712437" y="12718037"/>
            <a:chExt cx="2340642" cy="595283"/>
          </a:xfrm>
          <a:solidFill>
            <a:srgbClr val="FFFFFF"/>
          </a:solidFill>
        </p:grpSpPr>
        <p:sp>
          <p:nvSpPr>
            <p:cNvPr id="24" name="Freeform 23">
              <a:extLst>
                <a:ext uri="{FF2B5EF4-FFF2-40B4-BE49-F238E27FC236}">
                  <a16:creationId xmlns:a16="http://schemas.microsoft.com/office/drawing/2014/main" id="{1A2E4769-65AB-D042-A2E6-9692535FAA80}"/>
                </a:ext>
              </a:extLst>
            </p:cNvPr>
            <p:cNvSpPr/>
            <p:nvPr/>
          </p:nvSpPr>
          <p:spPr>
            <a:xfrm>
              <a:off x="22523795" y="12899198"/>
              <a:ext cx="414614" cy="413837"/>
            </a:xfrm>
            <a:custGeom>
              <a:avLst/>
              <a:gdLst>
                <a:gd name="connsiteX0" fmla="*/ 207307 w 414614"/>
                <a:gd name="connsiteY0" fmla="*/ 0 h 413837"/>
                <a:gd name="connsiteX1" fmla="*/ 0 w 414614"/>
                <a:gd name="connsiteY1" fmla="*/ 206919 h 413837"/>
                <a:gd name="connsiteX2" fmla="*/ 207307 w 414614"/>
                <a:gd name="connsiteY2" fmla="*/ 413838 h 413837"/>
                <a:gd name="connsiteX3" fmla="*/ 414615 w 414614"/>
                <a:gd name="connsiteY3" fmla="*/ 206919 h 413837"/>
                <a:gd name="connsiteX4" fmla="*/ 207307 w 414614"/>
                <a:gd name="connsiteY4" fmla="*/ 0 h 413837"/>
                <a:gd name="connsiteX5" fmla="*/ 207307 w 414614"/>
                <a:gd name="connsiteY5" fmla="*/ 298106 h 413837"/>
                <a:gd name="connsiteX6" fmla="*/ 115806 w 414614"/>
                <a:gd name="connsiteY6" fmla="*/ 206919 h 413837"/>
                <a:gd name="connsiteX7" fmla="*/ 207164 w 414614"/>
                <a:gd name="connsiteY7" fmla="*/ 115589 h 413837"/>
                <a:gd name="connsiteX8" fmla="*/ 298666 w 414614"/>
                <a:gd name="connsiteY8" fmla="*/ 206776 h 413837"/>
                <a:gd name="connsiteX9" fmla="*/ 298666 w 414614"/>
                <a:gd name="connsiteY9" fmla="*/ 206847 h 413837"/>
                <a:gd name="connsiteX10" fmla="*/ 207307 w 414614"/>
                <a:gd name="connsiteY10" fmla="*/ 298106 h 41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4614" h="413837">
                  <a:moveTo>
                    <a:pt x="207307" y="0"/>
                  </a:moveTo>
                  <a:cubicBezTo>
                    <a:pt x="92815" y="0"/>
                    <a:pt x="0" y="92641"/>
                    <a:pt x="0" y="206919"/>
                  </a:cubicBezTo>
                  <a:cubicBezTo>
                    <a:pt x="0" y="321197"/>
                    <a:pt x="92815" y="413838"/>
                    <a:pt x="207307" y="413838"/>
                  </a:cubicBezTo>
                  <a:cubicBezTo>
                    <a:pt x="321800" y="413838"/>
                    <a:pt x="414615" y="321197"/>
                    <a:pt x="414615" y="206919"/>
                  </a:cubicBezTo>
                  <a:cubicBezTo>
                    <a:pt x="414615" y="92641"/>
                    <a:pt x="321800" y="0"/>
                    <a:pt x="207307" y="0"/>
                  </a:cubicBezTo>
                  <a:close/>
                  <a:moveTo>
                    <a:pt x="207307" y="298106"/>
                  </a:moveTo>
                  <a:cubicBezTo>
                    <a:pt x="156812" y="298145"/>
                    <a:pt x="115846" y="257319"/>
                    <a:pt x="115806" y="206919"/>
                  </a:cubicBezTo>
                  <a:cubicBezTo>
                    <a:pt x="115767" y="156518"/>
                    <a:pt x="156669" y="115629"/>
                    <a:pt x="207164" y="115589"/>
                  </a:cubicBezTo>
                  <a:cubicBezTo>
                    <a:pt x="257660" y="115550"/>
                    <a:pt x="298626" y="156376"/>
                    <a:pt x="298666" y="206776"/>
                  </a:cubicBezTo>
                  <a:cubicBezTo>
                    <a:pt x="298666" y="206800"/>
                    <a:pt x="298666" y="206824"/>
                    <a:pt x="298666" y="206847"/>
                  </a:cubicBezTo>
                  <a:cubicBezTo>
                    <a:pt x="298587" y="257188"/>
                    <a:pt x="257742" y="297988"/>
                    <a:pt x="207307" y="298106"/>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5" name="Freeform 24">
              <a:extLst>
                <a:ext uri="{FF2B5EF4-FFF2-40B4-BE49-F238E27FC236}">
                  <a16:creationId xmlns:a16="http://schemas.microsoft.com/office/drawing/2014/main" id="{C9E3B255-DBAA-1A4F-ABB1-1F786A67557B}"/>
                </a:ext>
              </a:extLst>
            </p:cNvPr>
            <p:cNvSpPr/>
            <p:nvPr/>
          </p:nvSpPr>
          <p:spPr>
            <a:xfrm>
              <a:off x="22965145" y="12786891"/>
              <a:ext cx="237045" cy="516226"/>
            </a:xfrm>
            <a:custGeom>
              <a:avLst/>
              <a:gdLst>
                <a:gd name="connsiteX0" fmla="*/ 237045 w 237045"/>
                <a:gd name="connsiteY0" fmla="*/ 122153 h 516226"/>
                <a:gd name="connsiteX1" fmla="*/ 180500 w 237045"/>
                <a:gd name="connsiteY1" fmla="*/ 122153 h 516226"/>
                <a:gd name="connsiteX2" fmla="*/ 180500 w 237045"/>
                <a:gd name="connsiteY2" fmla="*/ 0 h 516226"/>
                <a:gd name="connsiteX3" fmla="*/ 56616 w 237045"/>
                <a:gd name="connsiteY3" fmla="*/ 0 h 516226"/>
                <a:gd name="connsiteX4" fmla="*/ 56616 w 237045"/>
                <a:gd name="connsiteY4" fmla="*/ 122153 h 516226"/>
                <a:gd name="connsiteX5" fmla="*/ 0 w 237045"/>
                <a:gd name="connsiteY5" fmla="*/ 122153 h 516226"/>
                <a:gd name="connsiteX6" fmla="*/ 0 w 237045"/>
                <a:gd name="connsiteY6" fmla="*/ 234104 h 516226"/>
                <a:gd name="connsiteX7" fmla="*/ 56616 w 237045"/>
                <a:gd name="connsiteY7" fmla="*/ 234104 h 516226"/>
                <a:gd name="connsiteX8" fmla="*/ 56616 w 237045"/>
                <a:gd name="connsiteY8" fmla="*/ 516227 h 516226"/>
                <a:gd name="connsiteX9" fmla="*/ 180500 w 237045"/>
                <a:gd name="connsiteY9" fmla="*/ 516227 h 516226"/>
                <a:gd name="connsiteX10" fmla="*/ 180500 w 237045"/>
                <a:gd name="connsiteY10" fmla="*/ 234104 h 516226"/>
                <a:gd name="connsiteX11" fmla="*/ 237045 w 237045"/>
                <a:gd name="connsiteY11" fmla="*/ 234104 h 516226"/>
                <a:gd name="connsiteX12" fmla="*/ 237045 w 237045"/>
                <a:gd name="connsiteY12" fmla="*/ 122153 h 51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7045" h="516226">
                  <a:moveTo>
                    <a:pt x="237045" y="122153"/>
                  </a:moveTo>
                  <a:lnTo>
                    <a:pt x="180500" y="122153"/>
                  </a:lnTo>
                  <a:lnTo>
                    <a:pt x="180500" y="0"/>
                  </a:lnTo>
                  <a:lnTo>
                    <a:pt x="56616" y="0"/>
                  </a:lnTo>
                  <a:lnTo>
                    <a:pt x="56616" y="122153"/>
                  </a:lnTo>
                  <a:lnTo>
                    <a:pt x="0" y="122153"/>
                  </a:lnTo>
                  <a:lnTo>
                    <a:pt x="0" y="234104"/>
                  </a:lnTo>
                  <a:lnTo>
                    <a:pt x="56616" y="234104"/>
                  </a:lnTo>
                  <a:lnTo>
                    <a:pt x="56616" y="516227"/>
                  </a:lnTo>
                  <a:lnTo>
                    <a:pt x="180500" y="516227"/>
                  </a:lnTo>
                  <a:lnTo>
                    <a:pt x="180500" y="234104"/>
                  </a:lnTo>
                  <a:lnTo>
                    <a:pt x="237045" y="234104"/>
                  </a:lnTo>
                  <a:lnTo>
                    <a:pt x="237045" y="122153"/>
                  </a:ln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6" name="Freeform 25">
              <a:extLst>
                <a:ext uri="{FF2B5EF4-FFF2-40B4-BE49-F238E27FC236}">
                  <a16:creationId xmlns:a16="http://schemas.microsoft.com/office/drawing/2014/main" id="{84104674-962B-8F41-8EF1-6FF833C5E51F}"/>
                </a:ext>
              </a:extLst>
            </p:cNvPr>
            <p:cNvSpPr/>
            <p:nvPr/>
          </p:nvSpPr>
          <p:spPr>
            <a:xfrm>
              <a:off x="23259093" y="12909044"/>
              <a:ext cx="123883" cy="394144"/>
            </a:xfrm>
            <a:custGeom>
              <a:avLst/>
              <a:gdLst>
                <a:gd name="connsiteX0" fmla="*/ 0 w 123883"/>
                <a:gd name="connsiteY0" fmla="*/ 0 h 394144"/>
                <a:gd name="connsiteX1" fmla="*/ 123884 w 123883"/>
                <a:gd name="connsiteY1" fmla="*/ 0 h 394144"/>
                <a:gd name="connsiteX2" fmla="*/ 123884 w 123883"/>
                <a:gd name="connsiteY2" fmla="*/ 394145 h 394144"/>
                <a:gd name="connsiteX3" fmla="*/ 0 w 123883"/>
                <a:gd name="connsiteY3" fmla="*/ 394145 h 394144"/>
              </a:gdLst>
              <a:ahLst/>
              <a:cxnLst>
                <a:cxn ang="0">
                  <a:pos x="connsiteX0" y="connsiteY0"/>
                </a:cxn>
                <a:cxn ang="0">
                  <a:pos x="connsiteX1" y="connsiteY1"/>
                </a:cxn>
                <a:cxn ang="0">
                  <a:pos x="connsiteX2" y="connsiteY2"/>
                </a:cxn>
                <a:cxn ang="0">
                  <a:pos x="connsiteX3" y="connsiteY3"/>
                </a:cxn>
              </a:cxnLst>
              <a:rect l="l" t="t" r="r" b="b"/>
              <a:pathLst>
                <a:path w="123883" h="394144">
                  <a:moveTo>
                    <a:pt x="0" y="0"/>
                  </a:moveTo>
                  <a:lnTo>
                    <a:pt x="123884" y="0"/>
                  </a:lnTo>
                  <a:lnTo>
                    <a:pt x="123884" y="394145"/>
                  </a:lnTo>
                  <a:lnTo>
                    <a:pt x="0" y="394145"/>
                  </a:ln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7" name="Freeform 26">
              <a:extLst>
                <a:ext uri="{FF2B5EF4-FFF2-40B4-BE49-F238E27FC236}">
                  <a16:creationId xmlns:a16="http://schemas.microsoft.com/office/drawing/2014/main" id="{4D6DC987-ED01-F344-953B-0FC4E0010A26}"/>
                </a:ext>
              </a:extLst>
            </p:cNvPr>
            <p:cNvSpPr/>
            <p:nvPr/>
          </p:nvSpPr>
          <p:spPr>
            <a:xfrm>
              <a:off x="23251944" y="12718037"/>
              <a:ext cx="138109" cy="137850"/>
            </a:xfrm>
            <a:custGeom>
              <a:avLst/>
              <a:gdLst>
                <a:gd name="connsiteX0" fmla="*/ 69055 w 138109"/>
                <a:gd name="connsiteY0" fmla="*/ 0 h 137850"/>
                <a:gd name="connsiteX1" fmla="*/ 0 w 138109"/>
                <a:gd name="connsiteY1" fmla="*/ 68925 h 137850"/>
                <a:gd name="connsiteX2" fmla="*/ 69055 w 138109"/>
                <a:gd name="connsiteY2" fmla="*/ 137851 h 137850"/>
                <a:gd name="connsiteX3" fmla="*/ 138110 w 138109"/>
                <a:gd name="connsiteY3" fmla="*/ 68925 h 137850"/>
                <a:gd name="connsiteX4" fmla="*/ 138110 w 138109"/>
                <a:gd name="connsiteY4" fmla="*/ 68854 h 137850"/>
                <a:gd name="connsiteX5" fmla="*/ 69055 w 138109"/>
                <a:gd name="connsiteY5" fmla="*/ 0 h 13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09" h="137850">
                  <a:moveTo>
                    <a:pt x="69055" y="0"/>
                  </a:moveTo>
                  <a:cubicBezTo>
                    <a:pt x="30917" y="0"/>
                    <a:pt x="0" y="30859"/>
                    <a:pt x="0" y="68925"/>
                  </a:cubicBezTo>
                  <a:cubicBezTo>
                    <a:pt x="0" y="106992"/>
                    <a:pt x="30917" y="137851"/>
                    <a:pt x="69055" y="137851"/>
                  </a:cubicBezTo>
                  <a:cubicBezTo>
                    <a:pt x="107193" y="137851"/>
                    <a:pt x="138110" y="106992"/>
                    <a:pt x="138110" y="68925"/>
                  </a:cubicBezTo>
                  <a:cubicBezTo>
                    <a:pt x="138110" y="68902"/>
                    <a:pt x="138110" y="68878"/>
                    <a:pt x="138110" y="68854"/>
                  </a:cubicBezTo>
                  <a:cubicBezTo>
                    <a:pt x="138070" y="30815"/>
                    <a:pt x="107165" y="0"/>
                    <a:pt x="69055" y="0"/>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8" name="Freeform 27">
              <a:extLst>
                <a:ext uri="{FF2B5EF4-FFF2-40B4-BE49-F238E27FC236}">
                  <a16:creationId xmlns:a16="http://schemas.microsoft.com/office/drawing/2014/main" id="{88DAF9D5-A242-604E-A7EA-1729DE19C42B}"/>
                </a:ext>
              </a:extLst>
            </p:cNvPr>
            <p:cNvSpPr/>
            <p:nvPr/>
          </p:nvSpPr>
          <p:spPr>
            <a:xfrm>
              <a:off x="23434303" y="12899126"/>
              <a:ext cx="432986" cy="413837"/>
            </a:xfrm>
            <a:custGeom>
              <a:avLst/>
              <a:gdLst>
                <a:gd name="connsiteX0" fmla="*/ 432986 w 432986"/>
                <a:gd name="connsiteY0" fmla="*/ 403991 h 413837"/>
                <a:gd name="connsiteX1" fmla="*/ 432986 w 432986"/>
                <a:gd name="connsiteY1" fmla="*/ 9847 h 413837"/>
                <a:gd name="connsiteX2" fmla="*/ 311890 w 432986"/>
                <a:gd name="connsiteY2" fmla="*/ 9847 h 413837"/>
                <a:gd name="connsiteX3" fmla="*/ 311890 w 432986"/>
                <a:gd name="connsiteY3" fmla="*/ 51230 h 413837"/>
                <a:gd name="connsiteX4" fmla="*/ 300739 w 432986"/>
                <a:gd name="connsiteY4" fmla="*/ 41241 h 413837"/>
                <a:gd name="connsiteX5" fmla="*/ 196656 w 432986"/>
                <a:gd name="connsiteY5" fmla="*/ 0 h 413837"/>
                <a:gd name="connsiteX6" fmla="*/ 0 w 432986"/>
                <a:gd name="connsiteY6" fmla="*/ 206919 h 413837"/>
                <a:gd name="connsiteX7" fmla="*/ 196656 w 432986"/>
                <a:gd name="connsiteY7" fmla="*/ 413838 h 413837"/>
                <a:gd name="connsiteX8" fmla="*/ 300739 w 432986"/>
                <a:gd name="connsiteY8" fmla="*/ 372597 h 413837"/>
                <a:gd name="connsiteX9" fmla="*/ 311890 w 432986"/>
                <a:gd name="connsiteY9" fmla="*/ 362607 h 413837"/>
                <a:gd name="connsiteX10" fmla="*/ 311890 w 432986"/>
                <a:gd name="connsiteY10" fmla="*/ 403991 h 413837"/>
                <a:gd name="connsiteX11" fmla="*/ 216243 w 432986"/>
                <a:gd name="connsiteY11" fmla="*/ 300032 h 413837"/>
                <a:gd name="connsiteX12" fmla="*/ 123312 w 432986"/>
                <a:gd name="connsiteY12" fmla="*/ 207276 h 413837"/>
                <a:gd name="connsiteX13" fmla="*/ 216243 w 432986"/>
                <a:gd name="connsiteY13" fmla="*/ 114519 h 413837"/>
                <a:gd name="connsiteX14" fmla="*/ 309174 w 432986"/>
                <a:gd name="connsiteY14" fmla="*/ 207276 h 413837"/>
                <a:gd name="connsiteX15" fmla="*/ 216243 w 432986"/>
                <a:gd name="connsiteY15" fmla="*/ 300032 h 41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2986" h="413837">
                  <a:moveTo>
                    <a:pt x="432986" y="403991"/>
                  </a:moveTo>
                  <a:lnTo>
                    <a:pt x="432986" y="9847"/>
                  </a:lnTo>
                  <a:lnTo>
                    <a:pt x="311890" y="9847"/>
                  </a:lnTo>
                  <a:lnTo>
                    <a:pt x="311890" y="51230"/>
                  </a:lnTo>
                  <a:lnTo>
                    <a:pt x="300739" y="41241"/>
                  </a:lnTo>
                  <a:cubicBezTo>
                    <a:pt x="272608" y="14710"/>
                    <a:pt x="235359" y="-50"/>
                    <a:pt x="196656" y="0"/>
                  </a:cubicBezTo>
                  <a:cubicBezTo>
                    <a:pt x="90072" y="0"/>
                    <a:pt x="0" y="94755"/>
                    <a:pt x="0" y="206919"/>
                  </a:cubicBezTo>
                  <a:cubicBezTo>
                    <a:pt x="0" y="319083"/>
                    <a:pt x="90072" y="413838"/>
                    <a:pt x="196656" y="413838"/>
                  </a:cubicBezTo>
                  <a:cubicBezTo>
                    <a:pt x="235359" y="413887"/>
                    <a:pt x="272608" y="399128"/>
                    <a:pt x="300739" y="372597"/>
                  </a:cubicBezTo>
                  <a:lnTo>
                    <a:pt x="311890" y="362607"/>
                  </a:lnTo>
                  <a:lnTo>
                    <a:pt x="311890" y="403991"/>
                  </a:lnTo>
                  <a:close/>
                  <a:moveTo>
                    <a:pt x="216243" y="300032"/>
                  </a:moveTo>
                  <a:cubicBezTo>
                    <a:pt x="164919" y="300032"/>
                    <a:pt x="123312" y="258504"/>
                    <a:pt x="123312" y="207276"/>
                  </a:cubicBezTo>
                  <a:cubicBezTo>
                    <a:pt x="123312" y="156047"/>
                    <a:pt x="164919" y="114519"/>
                    <a:pt x="216243" y="114519"/>
                  </a:cubicBezTo>
                  <a:cubicBezTo>
                    <a:pt x="267567" y="114519"/>
                    <a:pt x="309174" y="156047"/>
                    <a:pt x="309174" y="207276"/>
                  </a:cubicBezTo>
                  <a:cubicBezTo>
                    <a:pt x="308939" y="258406"/>
                    <a:pt x="267470" y="299798"/>
                    <a:pt x="216243" y="300032"/>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9" name="Freeform 28">
              <a:extLst>
                <a:ext uri="{FF2B5EF4-FFF2-40B4-BE49-F238E27FC236}">
                  <a16:creationId xmlns:a16="http://schemas.microsoft.com/office/drawing/2014/main" id="{B0415B9F-87EA-D548-B6DC-540E9033987B}"/>
                </a:ext>
              </a:extLst>
            </p:cNvPr>
            <p:cNvSpPr/>
            <p:nvPr/>
          </p:nvSpPr>
          <p:spPr>
            <a:xfrm>
              <a:off x="21712437" y="12718300"/>
              <a:ext cx="397343" cy="595020"/>
            </a:xfrm>
            <a:custGeom>
              <a:avLst/>
              <a:gdLst>
                <a:gd name="connsiteX0" fmla="*/ 384591 w 397343"/>
                <a:gd name="connsiteY0" fmla="*/ 478789 h 595020"/>
                <a:gd name="connsiteX1" fmla="*/ 397244 w 397343"/>
                <a:gd name="connsiteY1" fmla="*/ 406154 h 595020"/>
                <a:gd name="connsiteX2" fmla="*/ 362073 w 397343"/>
                <a:gd name="connsiteY2" fmla="*/ 306262 h 595020"/>
                <a:gd name="connsiteX3" fmla="*/ 227681 w 397343"/>
                <a:gd name="connsiteY3" fmla="*/ 234911 h 595020"/>
                <a:gd name="connsiteX4" fmla="*/ 192438 w 397343"/>
                <a:gd name="connsiteY4" fmla="*/ 221711 h 595020"/>
                <a:gd name="connsiteX5" fmla="*/ 166203 w 397343"/>
                <a:gd name="connsiteY5" fmla="*/ 202232 h 595020"/>
                <a:gd name="connsiteX6" fmla="*/ 154909 w 397343"/>
                <a:gd name="connsiteY6" fmla="*/ 170266 h 595020"/>
                <a:gd name="connsiteX7" fmla="*/ 180715 w 397343"/>
                <a:gd name="connsiteY7" fmla="*/ 129525 h 595020"/>
                <a:gd name="connsiteX8" fmla="*/ 278650 w 397343"/>
                <a:gd name="connsiteY8" fmla="*/ 130310 h 595020"/>
                <a:gd name="connsiteX9" fmla="*/ 318681 w 397343"/>
                <a:gd name="connsiteY9" fmla="*/ 149146 h 595020"/>
                <a:gd name="connsiteX10" fmla="*/ 371295 w 397343"/>
                <a:gd name="connsiteY10" fmla="*/ 44617 h 595020"/>
                <a:gd name="connsiteX11" fmla="*/ 295806 w 397343"/>
                <a:gd name="connsiteY11" fmla="*/ 10582 h 595020"/>
                <a:gd name="connsiteX12" fmla="*/ 211668 w 397343"/>
                <a:gd name="connsiteY12" fmla="*/ 22 h 595020"/>
                <a:gd name="connsiteX13" fmla="*/ 133034 w 397343"/>
                <a:gd name="connsiteY13" fmla="*/ 12937 h 595020"/>
                <a:gd name="connsiteX14" fmla="*/ 72844 w 397343"/>
                <a:gd name="connsiteY14" fmla="*/ 52109 h 595020"/>
                <a:gd name="connsiteX15" fmla="*/ 32812 w 397343"/>
                <a:gd name="connsiteY15" fmla="*/ 111901 h 595020"/>
                <a:gd name="connsiteX16" fmla="*/ 19587 w 397343"/>
                <a:gd name="connsiteY16" fmla="*/ 184751 h 595020"/>
                <a:gd name="connsiteX17" fmla="*/ 66267 w 397343"/>
                <a:gd name="connsiteY17" fmla="*/ 289209 h 595020"/>
                <a:gd name="connsiteX18" fmla="*/ 159698 w 397343"/>
                <a:gd name="connsiteY18" fmla="*/ 341295 h 595020"/>
                <a:gd name="connsiteX19" fmla="*/ 205878 w 397343"/>
                <a:gd name="connsiteY19" fmla="*/ 357635 h 595020"/>
                <a:gd name="connsiteX20" fmla="*/ 239833 w 397343"/>
                <a:gd name="connsiteY20" fmla="*/ 374902 h 595020"/>
                <a:gd name="connsiteX21" fmla="*/ 257847 w 397343"/>
                <a:gd name="connsiteY21" fmla="*/ 394952 h 595020"/>
                <a:gd name="connsiteX22" fmla="*/ 261708 w 397343"/>
                <a:gd name="connsiteY22" fmla="*/ 420067 h 595020"/>
                <a:gd name="connsiteX23" fmla="*/ 244122 w 397343"/>
                <a:gd name="connsiteY23" fmla="*/ 454030 h 595020"/>
                <a:gd name="connsiteX24" fmla="*/ 186934 w 397343"/>
                <a:gd name="connsiteY24" fmla="*/ 469728 h 595020"/>
                <a:gd name="connsiteX25" fmla="*/ 117951 w 397343"/>
                <a:gd name="connsiteY25" fmla="*/ 452817 h 595020"/>
                <a:gd name="connsiteX26" fmla="*/ 61835 w 397343"/>
                <a:gd name="connsiteY26" fmla="*/ 423135 h 595020"/>
                <a:gd name="connsiteX27" fmla="*/ 0 w 397343"/>
                <a:gd name="connsiteY27" fmla="*/ 530804 h 595020"/>
                <a:gd name="connsiteX28" fmla="*/ 175639 w 397343"/>
                <a:gd name="connsiteY28" fmla="*/ 595021 h 595020"/>
                <a:gd name="connsiteX29" fmla="*/ 268999 w 397343"/>
                <a:gd name="connsiteY29" fmla="*/ 580179 h 595020"/>
                <a:gd name="connsiteX30" fmla="*/ 339555 w 397343"/>
                <a:gd name="connsiteY30" fmla="*/ 540294 h 595020"/>
                <a:gd name="connsiteX31" fmla="*/ 384591 w 397343"/>
                <a:gd name="connsiteY31" fmla="*/ 478789 h 59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7343" h="595020">
                  <a:moveTo>
                    <a:pt x="384591" y="478789"/>
                  </a:moveTo>
                  <a:cubicBezTo>
                    <a:pt x="393762" y="455702"/>
                    <a:pt x="398069" y="430976"/>
                    <a:pt x="397244" y="406154"/>
                  </a:cubicBezTo>
                  <a:cubicBezTo>
                    <a:pt x="397244" y="366411"/>
                    <a:pt x="384805" y="330807"/>
                    <a:pt x="362073" y="306262"/>
                  </a:cubicBezTo>
                  <a:cubicBezTo>
                    <a:pt x="335623" y="277721"/>
                    <a:pt x="290588" y="253319"/>
                    <a:pt x="227681" y="234911"/>
                  </a:cubicBezTo>
                  <a:cubicBezTo>
                    <a:pt x="215582" y="231508"/>
                    <a:pt x="203793" y="227092"/>
                    <a:pt x="192438" y="221711"/>
                  </a:cubicBezTo>
                  <a:cubicBezTo>
                    <a:pt x="182528" y="216949"/>
                    <a:pt x="173622" y="210337"/>
                    <a:pt x="166203" y="202232"/>
                  </a:cubicBezTo>
                  <a:cubicBezTo>
                    <a:pt x="158329" y="193500"/>
                    <a:pt x="154264" y="181997"/>
                    <a:pt x="154909" y="170266"/>
                  </a:cubicBezTo>
                  <a:cubicBezTo>
                    <a:pt x="154909" y="152000"/>
                    <a:pt x="164774" y="139585"/>
                    <a:pt x="180715" y="129525"/>
                  </a:cubicBezTo>
                  <a:cubicBezTo>
                    <a:pt x="200731" y="116967"/>
                    <a:pt x="239261" y="115754"/>
                    <a:pt x="278650" y="130310"/>
                  </a:cubicBezTo>
                  <a:cubicBezTo>
                    <a:pt x="292534" y="135375"/>
                    <a:pt x="305932" y="141679"/>
                    <a:pt x="318681" y="149146"/>
                  </a:cubicBezTo>
                  <a:lnTo>
                    <a:pt x="371295" y="44617"/>
                  </a:lnTo>
                  <a:cubicBezTo>
                    <a:pt x="347844" y="29815"/>
                    <a:pt x="322435" y="18359"/>
                    <a:pt x="295806" y="10582"/>
                  </a:cubicBezTo>
                  <a:cubicBezTo>
                    <a:pt x="268324" y="3507"/>
                    <a:pt x="240050" y="-41"/>
                    <a:pt x="211668" y="22"/>
                  </a:cubicBezTo>
                  <a:cubicBezTo>
                    <a:pt x="184897" y="-352"/>
                    <a:pt x="158273" y="4021"/>
                    <a:pt x="133034" y="12937"/>
                  </a:cubicBezTo>
                  <a:cubicBezTo>
                    <a:pt x="110513" y="21778"/>
                    <a:pt x="90033" y="35106"/>
                    <a:pt x="72844" y="52109"/>
                  </a:cubicBezTo>
                  <a:cubicBezTo>
                    <a:pt x="55682" y="69212"/>
                    <a:pt x="42078" y="89532"/>
                    <a:pt x="32812" y="111901"/>
                  </a:cubicBezTo>
                  <a:cubicBezTo>
                    <a:pt x="23726" y="135102"/>
                    <a:pt x="19235" y="159842"/>
                    <a:pt x="19587" y="184751"/>
                  </a:cubicBezTo>
                  <a:cubicBezTo>
                    <a:pt x="21074" y="224274"/>
                    <a:pt x="37798" y="261698"/>
                    <a:pt x="66267" y="289209"/>
                  </a:cubicBezTo>
                  <a:cubicBezTo>
                    <a:pt x="102009" y="322958"/>
                    <a:pt x="143257" y="334945"/>
                    <a:pt x="159698" y="341295"/>
                  </a:cubicBezTo>
                  <a:cubicBezTo>
                    <a:pt x="176140" y="347646"/>
                    <a:pt x="194297" y="352997"/>
                    <a:pt x="205878" y="357635"/>
                  </a:cubicBezTo>
                  <a:cubicBezTo>
                    <a:pt x="217820" y="362076"/>
                    <a:pt x="229213" y="367869"/>
                    <a:pt x="239833" y="374902"/>
                  </a:cubicBezTo>
                  <a:cubicBezTo>
                    <a:pt x="247458" y="379936"/>
                    <a:pt x="253661" y="386839"/>
                    <a:pt x="257847" y="394952"/>
                  </a:cubicBezTo>
                  <a:cubicBezTo>
                    <a:pt x="261559" y="402769"/>
                    <a:pt x="262901" y="411499"/>
                    <a:pt x="261708" y="420067"/>
                  </a:cubicBezTo>
                  <a:cubicBezTo>
                    <a:pt x="260449" y="433227"/>
                    <a:pt x="254149" y="445394"/>
                    <a:pt x="244122" y="454030"/>
                  </a:cubicBezTo>
                  <a:cubicBezTo>
                    <a:pt x="233471" y="464020"/>
                    <a:pt x="214313" y="469728"/>
                    <a:pt x="186934" y="469728"/>
                  </a:cubicBezTo>
                  <a:cubicBezTo>
                    <a:pt x="163009" y="468956"/>
                    <a:pt x="139511" y="463196"/>
                    <a:pt x="117951" y="452817"/>
                  </a:cubicBezTo>
                  <a:cubicBezTo>
                    <a:pt x="98608" y="444173"/>
                    <a:pt x="79862" y="434258"/>
                    <a:pt x="61835" y="423135"/>
                  </a:cubicBezTo>
                  <a:lnTo>
                    <a:pt x="0" y="530804"/>
                  </a:lnTo>
                  <a:cubicBezTo>
                    <a:pt x="42891" y="569120"/>
                    <a:pt x="113304" y="595021"/>
                    <a:pt x="175639" y="595021"/>
                  </a:cubicBezTo>
                  <a:cubicBezTo>
                    <a:pt x="207351" y="595046"/>
                    <a:pt x="238864" y="590036"/>
                    <a:pt x="268999" y="580179"/>
                  </a:cubicBezTo>
                  <a:cubicBezTo>
                    <a:pt x="294828" y="571445"/>
                    <a:pt x="318768" y="557912"/>
                    <a:pt x="339555" y="540294"/>
                  </a:cubicBezTo>
                  <a:cubicBezTo>
                    <a:pt x="358721" y="523171"/>
                    <a:pt x="374065" y="502216"/>
                    <a:pt x="384591" y="478789"/>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30" name="Freeform 29">
              <a:extLst>
                <a:ext uri="{FF2B5EF4-FFF2-40B4-BE49-F238E27FC236}">
                  <a16:creationId xmlns:a16="http://schemas.microsoft.com/office/drawing/2014/main" id="{F78874D7-AA57-004A-ACA8-6BC5CA146FC0}"/>
                </a:ext>
              </a:extLst>
            </p:cNvPr>
            <p:cNvSpPr/>
            <p:nvPr/>
          </p:nvSpPr>
          <p:spPr>
            <a:xfrm>
              <a:off x="23915113" y="13165410"/>
              <a:ext cx="137966" cy="137707"/>
            </a:xfrm>
            <a:custGeom>
              <a:avLst/>
              <a:gdLst>
                <a:gd name="connsiteX0" fmla="*/ 68912 w 137966"/>
                <a:gd name="connsiteY0" fmla="*/ 0 h 137707"/>
                <a:gd name="connsiteX1" fmla="*/ 0 w 137966"/>
                <a:gd name="connsiteY1" fmla="*/ 68925 h 137707"/>
                <a:gd name="connsiteX2" fmla="*/ 69055 w 137966"/>
                <a:gd name="connsiteY2" fmla="*/ 137708 h 137707"/>
                <a:gd name="connsiteX3" fmla="*/ 137967 w 137966"/>
                <a:gd name="connsiteY3" fmla="*/ 68854 h 137707"/>
                <a:gd name="connsiteX4" fmla="*/ 68984 w 137966"/>
                <a:gd name="connsiteY4" fmla="*/ 0 h 137707"/>
                <a:gd name="connsiteX5" fmla="*/ 68912 w 137966"/>
                <a:gd name="connsiteY5" fmla="*/ 0 h 137707"/>
                <a:gd name="connsiteX6" fmla="*/ 68912 w 137966"/>
                <a:gd name="connsiteY6" fmla="*/ 123866 h 137707"/>
                <a:gd name="connsiteX7" fmla="*/ 13797 w 137966"/>
                <a:gd name="connsiteY7" fmla="*/ 68854 h 137707"/>
                <a:gd name="connsiteX8" fmla="*/ 68912 w 137966"/>
                <a:gd name="connsiteY8" fmla="*/ 13842 h 137707"/>
                <a:gd name="connsiteX9" fmla="*/ 124027 w 137966"/>
                <a:gd name="connsiteY9" fmla="*/ 68854 h 137707"/>
                <a:gd name="connsiteX10" fmla="*/ 68912 w 137966"/>
                <a:gd name="connsiteY10" fmla="*/ 123866 h 137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966" h="137707">
                  <a:moveTo>
                    <a:pt x="68912" y="0"/>
                  </a:moveTo>
                  <a:cubicBezTo>
                    <a:pt x="30813" y="39"/>
                    <a:pt x="-39" y="30898"/>
                    <a:pt x="0" y="68925"/>
                  </a:cubicBezTo>
                  <a:cubicBezTo>
                    <a:pt x="40" y="106952"/>
                    <a:pt x="30956" y="137747"/>
                    <a:pt x="69055" y="137708"/>
                  </a:cubicBezTo>
                  <a:cubicBezTo>
                    <a:pt x="107125" y="137668"/>
                    <a:pt x="137967" y="106853"/>
                    <a:pt x="137967" y="68854"/>
                  </a:cubicBezTo>
                  <a:cubicBezTo>
                    <a:pt x="137967" y="30827"/>
                    <a:pt x="107082" y="0"/>
                    <a:pt x="68984" y="0"/>
                  </a:cubicBezTo>
                  <a:cubicBezTo>
                    <a:pt x="68960" y="0"/>
                    <a:pt x="68936" y="0"/>
                    <a:pt x="68912" y="0"/>
                  </a:cubicBezTo>
                  <a:close/>
                  <a:moveTo>
                    <a:pt x="68912" y="123866"/>
                  </a:moveTo>
                  <a:cubicBezTo>
                    <a:pt x="38472" y="123866"/>
                    <a:pt x="13797" y="99236"/>
                    <a:pt x="13797" y="68854"/>
                  </a:cubicBezTo>
                  <a:cubicBezTo>
                    <a:pt x="13797" y="38472"/>
                    <a:pt x="38472" y="13842"/>
                    <a:pt x="68912" y="13842"/>
                  </a:cubicBezTo>
                  <a:cubicBezTo>
                    <a:pt x="99351" y="13842"/>
                    <a:pt x="124027" y="38472"/>
                    <a:pt x="124027" y="68854"/>
                  </a:cubicBezTo>
                  <a:cubicBezTo>
                    <a:pt x="124027" y="99236"/>
                    <a:pt x="99351" y="123866"/>
                    <a:pt x="68912" y="123866"/>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31" name="Freeform 30">
              <a:extLst>
                <a:ext uri="{FF2B5EF4-FFF2-40B4-BE49-F238E27FC236}">
                  <a16:creationId xmlns:a16="http://schemas.microsoft.com/office/drawing/2014/main" id="{80AB7655-CACF-B04D-A69C-FDF819C76484}"/>
                </a:ext>
              </a:extLst>
            </p:cNvPr>
            <p:cNvSpPr/>
            <p:nvPr/>
          </p:nvSpPr>
          <p:spPr>
            <a:xfrm>
              <a:off x="23959220" y="13196661"/>
              <a:ext cx="55544" cy="75346"/>
            </a:xfrm>
            <a:custGeom>
              <a:avLst/>
              <a:gdLst>
                <a:gd name="connsiteX0" fmla="*/ 24663 w 55544"/>
                <a:gd name="connsiteY0" fmla="*/ 49090 h 75346"/>
                <a:gd name="connsiteX1" fmla="*/ 13654 w 55544"/>
                <a:gd name="connsiteY1" fmla="*/ 49090 h 75346"/>
                <a:gd name="connsiteX2" fmla="*/ 13654 w 55544"/>
                <a:gd name="connsiteY2" fmla="*/ 75204 h 75346"/>
                <a:gd name="connsiteX3" fmla="*/ 0 w 55544"/>
                <a:gd name="connsiteY3" fmla="*/ 75204 h 75346"/>
                <a:gd name="connsiteX4" fmla="*/ 0 w 55544"/>
                <a:gd name="connsiteY4" fmla="*/ 0 h 75346"/>
                <a:gd name="connsiteX5" fmla="*/ 28952 w 55544"/>
                <a:gd name="connsiteY5" fmla="*/ 0 h 75346"/>
                <a:gd name="connsiteX6" fmla="*/ 53972 w 55544"/>
                <a:gd name="connsiteY6" fmla="*/ 24902 h 75346"/>
                <a:gd name="connsiteX7" fmla="*/ 39674 w 55544"/>
                <a:gd name="connsiteY7" fmla="*/ 46806 h 75346"/>
                <a:gd name="connsiteX8" fmla="*/ 55544 w 55544"/>
                <a:gd name="connsiteY8" fmla="*/ 75347 h 75346"/>
                <a:gd name="connsiteX9" fmla="*/ 39246 w 55544"/>
                <a:gd name="connsiteY9" fmla="*/ 75347 h 75346"/>
                <a:gd name="connsiteX10" fmla="*/ 13654 w 55544"/>
                <a:gd name="connsiteY10" fmla="*/ 36461 h 75346"/>
                <a:gd name="connsiteX11" fmla="*/ 29452 w 55544"/>
                <a:gd name="connsiteY11" fmla="*/ 36461 h 75346"/>
                <a:gd name="connsiteX12" fmla="*/ 39676 w 55544"/>
                <a:gd name="connsiteY12" fmla="*/ 23691 h 75346"/>
                <a:gd name="connsiteX13" fmla="*/ 29452 w 55544"/>
                <a:gd name="connsiteY13" fmla="*/ 13485 h 75346"/>
                <a:gd name="connsiteX14" fmla="*/ 13654 w 55544"/>
                <a:gd name="connsiteY14" fmla="*/ 13485 h 7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44" h="75346">
                  <a:moveTo>
                    <a:pt x="24663" y="49090"/>
                  </a:moveTo>
                  <a:lnTo>
                    <a:pt x="13654" y="49090"/>
                  </a:lnTo>
                  <a:lnTo>
                    <a:pt x="13654" y="75204"/>
                  </a:lnTo>
                  <a:lnTo>
                    <a:pt x="0" y="75204"/>
                  </a:lnTo>
                  <a:lnTo>
                    <a:pt x="0" y="0"/>
                  </a:lnTo>
                  <a:lnTo>
                    <a:pt x="28952" y="0"/>
                  </a:lnTo>
                  <a:cubicBezTo>
                    <a:pt x="42742" y="0"/>
                    <a:pt x="53932" y="11137"/>
                    <a:pt x="53972" y="24902"/>
                  </a:cubicBezTo>
                  <a:cubicBezTo>
                    <a:pt x="53874" y="34356"/>
                    <a:pt x="48299" y="42898"/>
                    <a:pt x="39674" y="46806"/>
                  </a:cubicBezTo>
                  <a:lnTo>
                    <a:pt x="55544" y="75347"/>
                  </a:lnTo>
                  <a:lnTo>
                    <a:pt x="39246" y="75347"/>
                  </a:lnTo>
                  <a:close/>
                  <a:moveTo>
                    <a:pt x="13654" y="36461"/>
                  </a:moveTo>
                  <a:lnTo>
                    <a:pt x="29452" y="36461"/>
                  </a:lnTo>
                  <a:cubicBezTo>
                    <a:pt x="35809" y="35752"/>
                    <a:pt x="40386" y="30035"/>
                    <a:pt x="39676" y="23691"/>
                  </a:cubicBezTo>
                  <a:cubicBezTo>
                    <a:pt x="39076" y="18322"/>
                    <a:pt x="34831" y="14085"/>
                    <a:pt x="29452" y="13485"/>
                  </a:cubicBezTo>
                  <a:lnTo>
                    <a:pt x="13654" y="13485"/>
                  </a:ln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32" name="Freeform 31">
              <a:extLst>
                <a:ext uri="{FF2B5EF4-FFF2-40B4-BE49-F238E27FC236}">
                  <a16:creationId xmlns:a16="http://schemas.microsoft.com/office/drawing/2014/main" id="{5E2C2BFF-DCF8-4948-B070-72BE03D09C75}"/>
                </a:ext>
              </a:extLst>
            </p:cNvPr>
            <p:cNvSpPr/>
            <p:nvPr/>
          </p:nvSpPr>
          <p:spPr>
            <a:xfrm>
              <a:off x="22151357" y="12899269"/>
              <a:ext cx="367076" cy="413837"/>
            </a:xfrm>
            <a:custGeom>
              <a:avLst/>
              <a:gdLst>
                <a:gd name="connsiteX0" fmla="*/ 284940 w 367076"/>
                <a:gd name="connsiteY0" fmla="*/ 263928 h 413837"/>
                <a:gd name="connsiteX1" fmla="*/ 156416 w 367076"/>
                <a:gd name="connsiteY1" fmla="*/ 278050 h 413837"/>
                <a:gd name="connsiteX2" fmla="*/ 142267 w 367076"/>
                <a:gd name="connsiteY2" fmla="*/ 149766 h 413837"/>
                <a:gd name="connsiteX3" fmla="*/ 270792 w 367076"/>
                <a:gd name="connsiteY3" fmla="*/ 135645 h 413837"/>
                <a:gd name="connsiteX4" fmla="*/ 284940 w 367076"/>
                <a:gd name="connsiteY4" fmla="*/ 149766 h 413837"/>
                <a:gd name="connsiteX5" fmla="*/ 367077 w 367076"/>
                <a:gd name="connsiteY5" fmla="*/ 67784 h 413837"/>
                <a:gd name="connsiteX6" fmla="*/ 213812 w 367076"/>
                <a:gd name="connsiteY6" fmla="*/ 0 h 413837"/>
                <a:gd name="connsiteX7" fmla="*/ 0 w 367076"/>
                <a:gd name="connsiteY7" fmla="*/ 206919 h 413837"/>
                <a:gd name="connsiteX8" fmla="*/ 213812 w 367076"/>
                <a:gd name="connsiteY8" fmla="*/ 413838 h 413837"/>
                <a:gd name="connsiteX9" fmla="*/ 367077 w 367076"/>
                <a:gd name="connsiteY9" fmla="*/ 346054 h 41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076" h="413837">
                  <a:moveTo>
                    <a:pt x="284940" y="263928"/>
                  </a:moveTo>
                  <a:cubicBezTo>
                    <a:pt x="253356" y="303253"/>
                    <a:pt x="195814" y="309575"/>
                    <a:pt x="156416" y="278050"/>
                  </a:cubicBezTo>
                  <a:cubicBezTo>
                    <a:pt x="117018" y="246525"/>
                    <a:pt x="110683" y="189091"/>
                    <a:pt x="142267" y="149766"/>
                  </a:cubicBezTo>
                  <a:cubicBezTo>
                    <a:pt x="173851" y="110442"/>
                    <a:pt x="231394" y="104120"/>
                    <a:pt x="270792" y="135645"/>
                  </a:cubicBezTo>
                  <a:cubicBezTo>
                    <a:pt x="276012" y="139821"/>
                    <a:pt x="280756" y="144557"/>
                    <a:pt x="284940" y="149766"/>
                  </a:cubicBezTo>
                  <a:lnTo>
                    <a:pt x="367077" y="67784"/>
                  </a:lnTo>
                  <a:cubicBezTo>
                    <a:pt x="327876" y="24594"/>
                    <a:pt x="272200" y="-30"/>
                    <a:pt x="213812" y="0"/>
                  </a:cubicBezTo>
                  <a:cubicBezTo>
                    <a:pt x="99436" y="0"/>
                    <a:pt x="0" y="81198"/>
                    <a:pt x="0" y="206919"/>
                  </a:cubicBezTo>
                  <a:cubicBezTo>
                    <a:pt x="0" y="332640"/>
                    <a:pt x="99508" y="413838"/>
                    <a:pt x="213812" y="413838"/>
                  </a:cubicBezTo>
                  <a:cubicBezTo>
                    <a:pt x="272200" y="413867"/>
                    <a:pt x="327876" y="389244"/>
                    <a:pt x="367077" y="346054"/>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grpSp>
    </p:spTree>
    <p:extLst>
      <p:ext uri="{BB962C8B-B14F-4D97-AF65-F5344CB8AC3E}">
        <p14:creationId xmlns:p14="http://schemas.microsoft.com/office/powerpoint/2010/main" val="35323811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Scotia Digital (White)">
    <p:bg>
      <p:bgPr>
        <a:solidFill>
          <a:schemeClr val="tx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1818379-8711-A74A-93D1-645FE341FFD3}"/>
              </a:ext>
            </a:extLst>
          </p:cNvPr>
          <p:cNvSpPr>
            <a:spLocks noGrp="1"/>
          </p:cNvSpPr>
          <p:nvPr>
            <p:ph type="pic" sz="quarter" idx="12"/>
          </p:nvPr>
        </p:nvSpPr>
        <p:spPr>
          <a:xfrm>
            <a:off x="0" y="0"/>
            <a:ext cx="12192000" cy="6858000"/>
          </a:xfrm>
        </p:spPr>
        <p:txBody>
          <a:bodyPr anchor="ctr"/>
          <a:lstStyle>
            <a:lvl1pPr marL="0" indent="0" algn="ctr">
              <a:buNone/>
              <a:defRPr>
                <a:solidFill>
                  <a:schemeClr val="bg1"/>
                </a:solidFill>
              </a:defRPr>
            </a:lvl1pPr>
          </a:lstStyle>
          <a:p>
            <a:endParaRPr lang="en-CA"/>
          </a:p>
        </p:txBody>
      </p:sp>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solidFill>
                  <a:schemeClr val="bg1"/>
                </a:solidFill>
              </a:defRPr>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pic>
        <p:nvPicPr>
          <p:cNvPr id="4" name="Graphic 3">
            <a:extLst>
              <a:ext uri="{FF2B5EF4-FFF2-40B4-BE49-F238E27FC236}">
                <a16:creationId xmlns:a16="http://schemas.microsoft.com/office/drawing/2014/main" id="{1F975E08-67A4-394D-8C63-71BBB8D36E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41567" y="6179129"/>
            <a:ext cx="2284120" cy="539883"/>
          </a:xfrm>
          <a:prstGeom prst="rect">
            <a:avLst/>
          </a:prstGeom>
        </p:spPr>
      </p:pic>
    </p:spTree>
    <p:extLst>
      <p:ext uri="{BB962C8B-B14F-4D97-AF65-F5344CB8AC3E}">
        <p14:creationId xmlns:p14="http://schemas.microsoft.com/office/powerpoint/2010/main" val="28705572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 Scotia Digital (brandbox)">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solidFill>
                  <a:srgbClr val="FFFFFF"/>
                </a:solidFill>
              </a:defRPr>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pic>
        <p:nvPicPr>
          <p:cNvPr id="8" name="Graphic 7">
            <a:extLst>
              <a:ext uri="{FF2B5EF4-FFF2-40B4-BE49-F238E27FC236}">
                <a16:creationId xmlns:a16="http://schemas.microsoft.com/office/drawing/2014/main" id="{418E7133-1353-DE4B-AEEE-42197F0648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21078" y="6286684"/>
            <a:ext cx="2570922" cy="571316"/>
          </a:xfrm>
          <a:prstGeom prst="rect">
            <a:avLst/>
          </a:prstGeom>
        </p:spPr>
      </p:pic>
    </p:spTree>
    <p:extLst>
      <p:ext uri="{BB962C8B-B14F-4D97-AF65-F5344CB8AC3E}">
        <p14:creationId xmlns:p14="http://schemas.microsoft.com/office/powerpoint/2010/main" val="19883921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3" name="Text Placeholder 15">
            <a:extLst>
              <a:ext uri="{FF2B5EF4-FFF2-40B4-BE49-F238E27FC236}">
                <a16:creationId xmlns:a16="http://schemas.microsoft.com/office/drawing/2014/main" id="{4423622D-39C8-1646-A22B-F494435E66AD}"/>
              </a:ext>
            </a:extLst>
          </p:cNvPr>
          <p:cNvSpPr>
            <a:spLocks noGrp="1"/>
          </p:cNvSpPr>
          <p:nvPr>
            <p:ph type="body" sz="quarter" idx="12" hasCustomPrompt="1"/>
          </p:nvPr>
        </p:nvSpPr>
        <p:spPr>
          <a:xfrm>
            <a:off x="4989441" y="2158643"/>
            <a:ext cx="357474" cy="3637724"/>
          </a:xfrm>
        </p:spPr>
        <p:txBody>
          <a:bodyPr>
            <a:noAutofit/>
          </a:bodyPr>
          <a:lstStyle>
            <a:lvl1pPr marL="0" indent="0">
              <a:lnSpc>
                <a:spcPct val="120000"/>
              </a:lnSpc>
              <a:spcBef>
                <a:spcPts val="0"/>
              </a:spcBef>
              <a:spcAft>
                <a:spcPts val="2000"/>
              </a:spcAft>
              <a:buFont typeface="+mj-lt"/>
              <a:buNone/>
              <a:defRPr sz="2000" b="1" i="0">
                <a:solidFill>
                  <a:srgbClr val="7849B8"/>
                </a:solidFill>
                <a:latin typeface="Scotia" panose="020B0503020203020204" pitchFamily="34" charset="0"/>
                <a:ea typeface="Scotia" panose="020B0503020203020204" pitchFamily="34" charset="0"/>
              </a:defRPr>
            </a:lvl1pPr>
            <a:lvl5pPr marL="1828800" indent="0">
              <a:spcAft>
                <a:spcPts val="2000"/>
              </a:spcAft>
              <a:buFont typeface="+mj-lt"/>
              <a:buNone/>
              <a:defRPr sz="2000" b="1" i="0">
                <a:solidFill>
                  <a:srgbClr val="7849B8"/>
                </a:solidFill>
              </a:defRPr>
            </a:lvl5pPr>
          </a:lstStyle>
          <a:p>
            <a:pPr lvl="0"/>
            <a:r>
              <a:rPr lang="en-US"/>
              <a:t>1.</a:t>
            </a:r>
          </a:p>
          <a:p>
            <a:pPr lvl="0"/>
            <a:r>
              <a:rPr lang="en-US"/>
              <a:t>2.</a:t>
            </a:r>
          </a:p>
          <a:p>
            <a:pPr lvl="0"/>
            <a:r>
              <a:rPr lang="en-US"/>
              <a:t>3.</a:t>
            </a:r>
          </a:p>
          <a:p>
            <a:pPr lvl="0"/>
            <a:r>
              <a:rPr lang="en-US"/>
              <a:t>4.</a:t>
            </a:r>
          </a:p>
          <a:p>
            <a:pPr lvl="0"/>
            <a:r>
              <a:rPr lang="en-US"/>
              <a:t>5.</a:t>
            </a:r>
          </a:p>
          <a:p>
            <a:pPr lvl="0"/>
            <a:endParaRPr lang="en-US"/>
          </a:p>
          <a:p>
            <a:pPr lvl="4"/>
            <a:endParaRPr lang="en-CA"/>
          </a:p>
        </p:txBody>
      </p:sp>
      <p:sp>
        <p:nvSpPr>
          <p:cNvPr id="12" name="Text Placeholder 15">
            <a:extLst>
              <a:ext uri="{FF2B5EF4-FFF2-40B4-BE49-F238E27FC236}">
                <a16:creationId xmlns:a16="http://schemas.microsoft.com/office/drawing/2014/main" id="{2724C162-1C7D-A243-B5D0-BD36578ED691}"/>
              </a:ext>
            </a:extLst>
          </p:cNvPr>
          <p:cNvSpPr>
            <a:spLocks noGrp="1"/>
          </p:cNvSpPr>
          <p:nvPr>
            <p:ph type="body" sz="quarter" idx="11" hasCustomPrompt="1"/>
          </p:nvPr>
        </p:nvSpPr>
        <p:spPr>
          <a:xfrm>
            <a:off x="5531882" y="2158643"/>
            <a:ext cx="5394423" cy="3637724"/>
          </a:xfrm>
        </p:spPr>
        <p:txBody>
          <a:bodyPr>
            <a:noAutofit/>
          </a:bodyPr>
          <a:lstStyle>
            <a:lvl1pPr marL="0" indent="0">
              <a:lnSpc>
                <a:spcPct val="120000"/>
              </a:lnSpc>
              <a:spcBef>
                <a:spcPts val="0"/>
              </a:spcBef>
              <a:spcAft>
                <a:spcPts val="2000"/>
              </a:spcAft>
              <a:buFont typeface="+mj-lt"/>
              <a:buNone/>
              <a:defRPr sz="2000"/>
            </a:lvl1pPr>
            <a:lvl5pPr marL="1828800" indent="0">
              <a:spcAft>
                <a:spcPts val="2000"/>
              </a:spcAft>
              <a:buFont typeface="+mj-lt"/>
              <a:buNone/>
              <a:defRPr sz="2000"/>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endParaRPr lang="en-US"/>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a:p>
            <a:pPr lvl="0"/>
            <a:endParaRPr lang="en-US"/>
          </a:p>
          <a:p>
            <a:pPr lvl="4"/>
            <a:endParaRPr lang="en-CA"/>
          </a:p>
        </p:txBody>
      </p:sp>
      <p:sp>
        <p:nvSpPr>
          <p:cNvPr id="5" name="Rectangle">
            <a:extLst>
              <a:ext uri="{FF2B5EF4-FFF2-40B4-BE49-F238E27FC236}">
                <a16:creationId xmlns:a16="http://schemas.microsoft.com/office/drawing/2014/main" id="{56E7D5B8-FD7C-CF4D-9C12-9AA61CEAC5D7}"/>
              </a:ext>
            </a:extLst>
          </p:cNvPr>
          <p:cNvSpPr/>
          <p:nvPr userDrawn="1"/>
        </p:nvSpPr>
        <p:spPr>
          <a:xfrm flipH="1">
            <a:off x="397" y="0"/>
            <a:ext cx="4066768" cy="6858000"/>
          </a:xfrm>
          <a:prstGeom prst="rect">
            <a:avLst/>
          </a:prstGeom>
          <a:solidFill>
            <a:srgbClr val="7849B8"/>
          </a:solidFill>
          <a:ln w="12700">
            <a:miter lim="400000"/>
          </a:ln>
        </p:spPr>
        <p:txBody>
          <a:bodyPr lIns="45716" rIns="45716" anchor="ctr"/>
          <a:lstStyle/>
          <a:p>
            <a:pPr>
              <a:defRPr>
                <a:solidFill>
                  <a:srgbClr val="1FA2DC"/>
                </a:solidFill>
              </a:defRPr>
            </a:pPr>
            <a:endParaRPr sz="3600">
              <a:latin typeface="Scotia Regular" panose="020B0503020203020204" pitchFamily="34" charset="0"/>
            </a:endParaRPr>
          </a:p>
        </p:txBody>
      </p:sp>
      <p:sp>
        <p:nvSpPr>
          <p:cNvPr id="9" name="Title 1">
            <a:extLst>
              <a:ext uri="{FF2B5EF4-FFF2-40B4-BE49-F238E27FC236}">
                <a16:creationId xmlns:a16="http://schemas.microsoft.com/office/drawing/2014/main" id="{22611832-3C57-EF4D-853F-C55BF68E8DC6}"/>
              </a:ext>
            </a:extLst>
          </p:cNvPr>
          <p:cNvSpPr>
            <a:spLocks noGrp="1"/>
          </p:cNvSpPr>
          <p:nvPr>
            <p:ph type="title" hasCustomPrompt="1"/>
          </p:nvPr>
        </p:nvSpPr>
        <p:spPr>
          <a:xfrm>
            <a:off x="467422" y="816110"/>
            <a:ext cx="3400089" cy="795876"/>
          </a:xfrm>
        </p:spPr>
        <p:txBody>
          <a:bodyPr anchor="t">
            <a:noAutofit/>
          </a:bodyPr>
          <a:lstStyle>
            <a:lvl1pPr>
              <a:defRPr>
                <a:solidFill>
                  <a:srgbClr val="FFFFFF"/>
                </a:solidFill>
              </a:defRPr>
            </a:lvl1pPr>
          </a:lstStyle>
          <a:p>
            <a:r>
              <a:rPr lang="en-US"/>
              <a:t>Agenda</a:t>
            </a:r>
          </a:p>
        </p:txBody>
      </p:sp>
      <p:sp>
        <p:nvSpPr>
          <p:cNvPr id="10" name="TextBox 9">
            <a:extLst>
              <a:ext uri="{FF2B5EF4-FFF2-40B4-BE49-F238E27FC236}">
                <a16:creationId xmlns:a16="http://schemas.microsoft.com/office/drawing/2014/main" id="{744C7778-6BD9-C94B-9E03-DAD41DF624C0}"/>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1" name="Graphic 10">
            <a:extLst>
              <a:ext uri="{FF2B5EF4-FFF2-40B4-BE49-F238E27FC236}">
                <a16:creationId xmlns:a16="http://schemas.microsoft.com/office/drawing/2014/main" id="{E242851E-9708-BB4F-B672-1048A8549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32790222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v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2611832-3C57-EF4D-853F-C55BF68E8DC6}"/>
              </a:ext>
            </a:extLst>
          </p:cNvPr>
          <p:cNvSpPr>
            <a:spLocks noGrp="1"/>
          </p:cNvSpPr>
          <p:nvPr>
            <p:ph type="title" hasCustomPrompt="1"/>
          </p:nvPr>
        </p:nvSpPr>
        <p:spPr>
          <a:xfrm>
            <a:off x="6898195" y="2219327"/>
            <a:ext cx="3400089" cy="795876"/>
          </a:xfrm>
        </p:spPr>
        <p:txBody>
          <a:bodyPr anchor="t">
            <a:noAutofit/>
          </a:bodyPr>
          <a:lstStyle>
            <a:lvl1pPr>
              <a:defRPr>
                <a:solidFill>
                  <a:schemeClr val="accent3"/>
                </a:solidFill>
              </a:defRPr>
            </a:lvl1pPr>
          </a:lstStyle>
          <a:p>
            <a:r>
              <a:rPr lang="en-US"/>
              <a:t>Agenda</a:t>
            </a:r>
          </a:p>
        </p:txBody>
      </p:sp>
      <p:sp>
        <p:nvSpPr>
          <p:cNvPr id="10" name="TextBox 9">
            <a:extLst>
              <a:ext uri="{FF2B5EF4-FFF2-40B4-BE49-F238E27FC236}">
                <a16:creationId xmlns:a16="http://schemas.microsoft.com/office/drawing/2014/main" id="{744C7778-6BD9-C94B-9E03-DAD41DF624C0}"/>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1" name="Graphic 10">
            <a:extLst>
              <a:ext uri="{FF2B5EF4-FFF2-40B4-BE49-F238E27FC236}">
                <a16:creationId xmlns:a16="http://schemas.microsoft.com/office/drawing/2014/main" id="{E242851E-9708-BB4F-B672-1048A8549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3" name="Picture Placeholder 2">
            <a:extLst>
              <a:ext uri="{FF2B5EF4-FFF2-40B4-BE49-F238E27FC236}">
                <a16:creationId xmlns:a16="http://schemas.microsoft.com/office/drawing/2014/main" id="{14FDC2E6-C3FE-D74A-B8E3-E786F6745CCD}"/>
              </a:ext>
            </a:extLst>
          </p:cNvPr>
          <p:cNvSpPr>
            <a:spLocks noGrp="1"/>
          </p:cNvSpPr>
          <p:nvPr>
            <p:ph type="pic" sz="quarter" idx="10"/>
          </p:nvPr>
        </p:nvSpPr>
        <p:spPr>
          <a:xfrm>
            <a:off x="0" y="0"/>
            <a:ext cx="6096000" cy="6858000"/>
          </a:xfrm>
          <a:solidFill>
            <a:schemeClr val="accent3"/>
          </a:solidFill>
        </p:spPr>
        <p:txBody>
          <a:bodyPr anchor="ctr"/>
          <a:lstStyle>
            <a:lvl1pPr marL="0" indent="0" algn="ctr">
              <a:buNone/>
              <a:defRPr/>
            </a:lvl1pPr>
          </a:lstStyle>
          <a:p>
            <a:endParaRPr lang="en-CA"/>
          </a:p>
        </p:txBody>
      </p:sp>
      <p:sp>
        <p:nvSpPr>
          <p:cNvPr id="16" name="Text Placeholder 15">
            <a:extLst>
              <a:ext uri="{FF2B5EF4-FFF2-40B4-BE49-F238E27FC236}">
                <a16:creationId xmlns:a16="http://schemas.microsoft.com/office/drawing/2014/main" id="{998DE3D3-0450-CC4D-8E72-4DDA498C019C}"/>
              </a:ext>
            </a:extLst>
          </p:cNvPr>
          <p:cNvSpPr>
            <a:spLocks noGrp="1"/>
          </p:cNvSpPr>
          <p:nvPr>
            <p:ph type="body" sz="quarter" idx="11" hasCustomPrompt="1"/>
          </p:nvPr>
        </p:nvSpPr>
        <p:spPr>
          <a:xfrm>
            <a:off x="6897688" y="3109086"/>
            <a:ext cx="4579102" cy="2589213"/>
          </a:xfrm>
        </p:spPr>
        <p:txBody>
          <a:bodyPr>
            <a:noAutofit/>
          </a:bodyPr>
          <a:lstStyle>
            <a:lvl1pPr marL="342900" indent="-342900">
              <a:lnSpc>
                <a:spcPct val="120000"/>
              </a:lnSpc>
              <a:spcBef>
                <a:spcPts val="0"/>
              </a:spcBef>
              <a:spcAft>
                <a:spcPts val="1600"/>
              </a:spcAft>
              <a:buFont typeface="+mj-lt"/>
              <a:buAutoNum type="arabicPeriod"/>
              <a:defRPr sz="1600"/>
            </a:lvl1pPr>
            <a:lvl5pPr marL="2171700" indent="-342900">
              <a:buFont typeface="+mj-lt"/>
              <a:buAutoNum type="arabicPeriod"/>
              <a:defRPr/>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endParaRPr lang="en-US"/>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a:p>
            <a:pPr lvl="0"/>
            <a:endParaRPr lang="en-US"/>
          </a:p>
          <a:p>
            <a:pPr lvl="4"/>
            <a:endParaRPr lang="en-CA"/>
          </a:p>
        </p:txBody>
      </p:sp>
    </p:spTree>
    <p:extLst>
      <p:ext uri="{BB962C8B-B14F-4D97-AF65-F5344CB8AC3E}">
        <p14:creationId xmlns:p14="http://schemas.microsoft.com/office/powerpoint/2010/main" val="35831844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57932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with logo + page #">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3472277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title with logo + page # ">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6" name="Title 1">
            <a:extLst>
              <a:ext uri="{FF2B5EF4-FFF2-40B4-BE49-F238E27FC236}">
                <a16:creationId xmlns:a16="http://schemas.microsoft.com/office/drawing/2014/main" id="{A7AC751A-AFB2-FE4E-A7F7-93515D224B92}"/>
              </a:ext>
            </a:extLst>
          </p:cNvPr>
          <p:cNvSpPr>
            <a:spLocks noGrp="1"/>
          </p:cNvSpPr>
          <p:nvPr>
            <p:ph type="title" hasCustomPrompt="1"/>
          </p:nvPr>
        </p:nvSpPr>
        <p:spPr>
          <a:xfrm>
            <a:off x="467422" y="816110"/>
            <a:ext cx="10937178" cy="530090"/>
          </a:xfrm>
        </p:spPr>
        <p:txBody>
          <a:bodyPr anchor="t">
            <a:noAutofit/>
          </a:bodyPr>
          <a:lstStyle>
            <a:lvl1pPr>
              <a:defRPr>
                <a:solidFill>
                  <a:schemeClr val="tx1"/>
                </a:solidFill>
              </a:defRPr>
            </a:lvl1pPr>
          </a:lstStyle>
          <a:p>
            <a:r>
              <a:rPr lang="en-US"/>
              <a:t>Slide title</a:t>
            </a:r>
          </a:p>
        </p:txBody>
      </p:sp>
      <p:sp>
        <p:nvSpPr>
          <p:cNvPr id="7" name="Text Placeholder 2">
            <a:extLst>
              <a:ext uri="{FF2B5EF4-FFF2-40B4-BE49-F238E27FC236}">
                <a16:creationId xmlns:a16="http://schemas.microsoft.com/office/drawing/2014/main" id="{373D12B5-11A4-8D40-933B-77D3B5369B0A}"/>
              </a:ext>
            </a:extLst>
          </p:cNvPr>
          <p:cNvSpPr>
            <a:spLocks noGrp="1"/>
          </p:cNvSpPr>
          <p:nvPr>
            <p:ph type="body" sz="quarter" idx="23" hasCustomPrompt="1"/>
          </p:nvPr>
        </p:nvSpPr>
        <p:spPr>
          <a:xfrm>
            <a:off x="471050" y="1389073"/>
            <a:ext cx="10933549" cy="384336"/>
          </a:xfrm>
        </p:spPr>
        <p:txBody>
          <a:bodyPr>
            <a:noAutofit/>
          </a:bodyPr>
          <a:lstStyle>
            <a:lvl1pPr marL="0" indent="0">
              <a:lnSpc>
                <a:spcPct val="110000"/>
              </a:lnSpc>
              <a:spcBef>
                <a:spcPts val="0"/>
              </a:spcBef>
              <a:spcAft>
                <a:spcPts val="1600"/>
              </a:spcAft>
              <a:buFont typeface="Arial" panose="020B0604020202020204" pitchFamily="34" charset="0"/>
              <a:buNone/>
              <a:defRPr sz="24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Important subheading goes here:</a:t>
            </a:r>
          </a:p>
        </p:txBody>
      </p:sp>
    </p:spTree>
    <p:extLst>
      <p:ext uri="{BB962C8B-B14F-4D97-AF65-F5344CB8AC3E}">
        <p14:creationId xmlns:p14="http://schemas.microsoft.com/office/powerpoint/2010/main" val="21982314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old header (left)">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3C7F0030-AF86-2940-8C16-BE29AC2123C3}"/>
              </a:ext>
            </a:extLst>
          </p:cNvPr>
          <p:cNvSpPr/>
          <p:nvPr userDrawn="1"/>
        </p:nvSpPr>
        <p:spPr>
          <a:xfrm>
            <a:off x="4067032" y="0"/>
            <a:ext cx="8124967" cy="6858000"/>
          </a:xfrm>
          <a:prstGeom prst="rect">
            <a:avLst/>
          </a:prstGeom>
          <a:solidFill>
            <a:schemeClr val="bg2"/>
          </a:solidFill>
          <a:ln w="12700">
            <a:miter lim="400000"/>
          </a:ln>
        </p:spPr>
        <p:txBody>
          <a:bodyPr lIns="45719" rIns="45719" anchor="ctr"/>
          <a:lstStyle/>
          <a:p>
            <a:pPr>
              <a:defRPr>
                <a:solidFill>
                  <a:srgbClr val="1FA2DC"/>
                </a:solidFill>
              </a:defRPr>
            </a:pPr>
            <a:endParaRPr/>
          </a:p>
        </p:txBody>
      </p:sp>
      <p:sp>
        <p:nvSpPr>
          <p:cNvPr id="15" name="TextBox 7">
            <a:extLst>
              <a:ext uri="{FF2B5EF4-FFF2-40B4-BE49-F238E27FC236}">
                <a16:creationId xmlns:a16="http://schemas.microsoft.com/office/drawing/2014/main" id="{BCFB4D21-22CB-444F-A03A-88B6B929B344}"/>
              </a:ext>
            </a:extLst>
          </p:cNvPr>
          <p:cNvSpPr txBox="1">
            <a:spLocks/>
          </p:cNvSpPr>
          <p:nvPr userDrawn="1"/>
        </p:nvSpPr>
        <p:spPr>
          <a:xfrm>
            <a:off x="11375838" y="376731"/>
            <a:ext cx="416436" cy="123111"/>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b="0" i="0" smtClean="0">
                <a:solidFill>
                  <a:schemeClr val="tx1"/>
                </a:solidFill>
                <a:latin typeface="Scotia Regular" panose="020B0503020203020204" pitchFamily="34" charset="0"/>
              </a:rPr>
              <a:pPr algn="r"/>
              <a:t>‹#›</a:t>
            </a:fld>
            <a:endParaRPr lang="en-CA" sz="800" b="0" i="0">
              <a:solidFill>
                <a:schemeClr val="tx1"/>
              </a:solidFill>
              <a:latin typeface="Scotia Regular" panose="020B0503020203020204" pitchFamily="34" charset="0"/>
            </a:endParaRPr>
          </a:p>
        </p:txBody>
      </p:sp>
      <p:pic>
        <p:nvPicPr>
          <p:cNvPr id="17" name="Picture 16">
            <a:extLst>
              <a:ext uri="{FF2B5EF4-FFF2-40B4-BE49-F238E27FC236}">
                <a16:creationId xmlns:a16="http://schemas.microsoft.com/office/drawing/2014/main" id="{B6CA6A3E-D593-6042-AE52-9ED55C8127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613" y="390639"/>
            <a:ext cx="566335" cy="80905"/>
          </a:xfrm>
          <a:prstGeom prst="rect">
            <a:avLst/>
          </a:prstGeom>
        </p:spPr>
      </p:pic>
      <p:sp>
        <p:nvSpPr>
          <p:cNvPr id="8" name="Rectangle 3">
            <a:extLst>
              <a:ext uri="{FF2B5EF4-FFF2-40B4-BE49-F238E27FC236}">
                <a16:creationId xmlns:a16="http://schemas.microsoft.com/office/drawing/2014/main" id="{0C16D3CD-7E1E-48B6-B49E-A410DD610072}"/>
              </a:ext>
            </a:extLst>
          </p:cNvPr>
          <p:cNvSpPr/>
          <p:nvPr userDrawn="1"/>
        </p:nvSpPr>
        <p:spPr>
          <a:xfrm>
            <a:off x="11800685" y="6539541"/>
            <a:ext cx="391316" cy="246221"/>
          </a:xfrm>
          <a:prstGeom prst="rect">
            <a:avLst/>
          </a:prstGeom>
          <a:solidFill>
            <a:srgbClr val="EC111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Gilroy Medium"/>
            </a:endParaRPr>
          </a:p>
        </p:txBody>
      </p:sp>
      <p:pic>
        <p:nvPicPr>
          <p:cNvPr id="9" name="Picture 5">
            <a:extLst>
              <a:ext uri="{FF2B5EF4-FFF2-40B4-BE49-F238E27FC236}">
                <a16:creationId xmlns:a16="http://schemas.microsoft.com/office/drawing/2014/main" id="{4EC65317-1780-49AF-86C2-3BA52912DA09}"/>
              </a:ext>
            </a:extLst>
          </p:cNvPr>
          <p:cNvPicPr>
            <a:picLocks noChangeAspect="1"/>
          </p:cNvPicPr>
          <p:nvPr userDrawn="1"/>
        </p:nvPicPr>
        <p:blipFill>
          <a:blip r:embed="rId3"/>
          <a:stretch>
            <a:fillRect/>
          </a:stretch>
        </p:blipFill>
        <p:spPr>
          <a:xfrm>
            <a:off x="11915301" y="6573612"/>
            <a:ext cx="162082" cy="178079"/>
          </a:xfrm>
          <a:prstGeom prst="rect">
            <a:avLst/>
          </a:prstGeom>
        </p:spPr>
      </p:pic>
      <p:sp>
        <p:nvSpPr>
          <p:cNvPr id="10" name="Rectangle 9">
            <a:extLst>
              <a:ext uri="{FF2B5EF4-FFF2-40B4-BE49-F238E27FC236}">
                <a16:creationId xmlns:a16="http://schemas.microsoft.com/office/drawing/2014/main" id="{2CF84E80-79C3-4865-9C07-C40AF2216742}"/>
              </a:ext>
            </a:extLst>
          </p:cNvPr>
          <p:cNvSpPr/>
          <p:nvPr userDrawn="1"/>
        </p:nvSpPr>
        <p:spPr>
          <a:xfrm>
            <a:off x="11800684" y="6467302"/>
            <a:ext cx="391316" cy="390698"/>
          </a:xfrm>
          <a:prstGeom prst="rect">
            <a:avLst/>
          </a:prstGeom>
          <a:solidFill>
            <a:srgbClr val="EC111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Gilroy Medium"/>
            </a:endParaRPr>
          </a:p>
        </p:txBody>
      </p:sp>
      <p:pic>
        <p:nvPicPr>
          <p:cNvPr id="11" name="Picture 10">
            <a:extLst>
              <a:ext uri="{FF2B5EF4-FFF2-40B4-BE49-F238E27FC236}">
                <a16:creationId xmlns:a16="http://schemas.microsoft.com/office/drawing/2014/main" id="{E60AB8CB-C598-4518-83F6-B880B346A203}"/>
              </a:ext>
            </a:extLst>
          </p:cNvPr>
          <p:cNvPicPr>
            <a:picLocks noChangeAspect="1"/>
          </p:cNvPicPr>
          <p:nvPr userDrawn="1"/>
        </p:nvPicPr>
        <p:blipFill>
          <a:blip r:embed="rId3"/>
          <a:stretch>
            <a:fillRect/>
          </a:stretch>
        </p:blipFill>
        <p:spPr>
          <a:xfrm>
            <a:off x="11915301" y="6573612"/>
            <a:ext cx="162082" cy="178079"/>
          </a:xfrm>
          <a:prstGeom prst="rect">
            <a:avLst/>
          </a:prstGeom>
        </p:spPr>
      </p:pic>
    </p:spTree>
    <p:extLst>
      <p:ext uri="{BB962C8B-B14F-4D97-AF65-F5344CB8AC3E}">
        <p14:creationId xmlns:p14="http://schemas.microsoft.com/office/powerpoint/2010/main" val="10231676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 Colour">
    <p:bg>
      <p:bgPr>
        <a:solidFill>
          <a:srgbClr val="009DD6"/>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55E712C-73F7-894E-A37D-02C55456A67D}"/>
              </a:ext>
            </a:extLst>
          </p:cNvPr>
          <p:cNvSpPr>
            <a:spLocks noGrp="1"/>
          </p:cNvSpPr>
          <p:nvPr>
            <p:ph type="body" sz="quarter" idx="10" hasCustomPrompt="1"/>
          </p:nvPr>
        </p:nvSpPr>
        <p:spPr>
          <a:xfrm>
            <a:off x="622300" y="1777428"/>
            <a:ext cx="1193800" cy="455509"/>
          </a:xfrm>
          <a:ln w="12700">
            <a:miter lim="400000"/>
          </a:ln>
        </p:spPr>
        <p:txBody>
          <a:bodyPr wrap="square" lIns="0" tIns="0" rIns="0" bIns="0">
            <a:noAutofit/>
          </a:bodyPr>
          <a:lstStyle>
            <a:lvl1pPr marL="0" indent="0">
              <a:buNone/>
              <a:defRPr lang="en-US" sz="3200" smtClean="0">
                <a:solidFill>
                  <a:schemeClr val="bg1"/>
                </a:solidFill>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01</a:t>
            </a: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622300" y="2372518"/>
            <a:ext cx="7296404" cy="2074222"/>
          </a:xfrm>
        </p:spPr>
        <p:txBody>
          <a:bodyPr anchor="t">
            <a:noAutofit/>
          </a:bodyPr>
          <a:lstStyle>
            <a:lvl1pPr>
              <a:defRPr lang="es-ES_tradnl" sz="7500" b="1" kern="1200" dirty="0">
                <a:solidFill>
                  <a:schemeClr val="bg1"/>
                </a:solidFill>
                <a:latin typeface="Scotia Headline"/>
                <a:ea typeface="Gilroy ExtraBold Italic"/>
                <a:cs typeface="Gilroy ExtraBold Italic"/>
              </a:defRPr>
            </a:lvl1pPr>
          </a:lstStyle>
          <a:p>
            <a:r>
              <a:rPr lang="en-US"/>
              <a:t>Section title</a:t>
            </a:r>
            <a:endParaRPr lang="es-ES_tradnl"/>
          </a:p>
        </p:txBody>
      </p:sp>
    </p:spTree>
    <p:extLst>
      <p:ext uri="{BB962C8B-B14F-4D97-AF65-F5344CB8AC3E}">
        <p14:creationId xmlns:p14="http://schemas.microsoft.com/office/powerpoint/2010/main" val="37733482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hapter Title - Colour">
    <p:bg>
      <p:bgPr>
        <a:solidFill>
          <a:srgbClr val="7849B8"/>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55E712C-73F7-894E-A37D-02C55456A67D}"/>
              </a:ext>
            </a:extLst>
          </p:cNvPr>
          <p:cNvSpPr>
            <a:spLocks noGrp="1"/>
          </p:cNvSpPr>
          <p:nvPr>
            <p:ph type="body" sz="quarter" idx="10" hasCustomPrompt="1"/>
          </p:nvPr>
        </p:nvSpPr>
        <p:spPr>
          <a:xfrm>
            <a:off x="5499100" y="2170339"/>
            <a:ext cx="1193800" cy="455509"/>
          </a:xfrm>
          <a:ln w="12700">
            <a:miter lim="400000"/>
          </a:ln>
        </p:spPr>
        <p:txBody>
          <a:bodyPr wrap="square" lIns="0" tIns="0" rIns="0" bIns="0">
            <a:noAutofit/>
          </a:bodyPr>
          <a:lstStyle>
            <a:lvl1pPr marL="0" indent="0" algn="ctr">
              <a:buNone/>
              <a:defRPr lang="en-US" sz="4000" b="1" smtClean="0">
                <a:solidFill>
                  <a:srgbClr val="FFFFFF"/>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01</a:t>
            </a: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2447798" y="2965269"/>
            <a:ext cx="7296404" cy="2074222"/>
          </a:xfrm>
        </p:spPr>
        <p:txBody>
          <a:bodyPr anchor="t">
            <a:noAutofit/>
          </a:bodyPr>
          <a:lstStyle>
            <a:lvl1pPr algn="ctr">
              <a:defRPr lang="es-ES_tradnl" sz="6000" b="1" kern="1200" dirty="0">
                <a:solidFill>
                  <a:srgbClr val="FFFFFF"/>
                </a:solidFill>
                <a:latin typeface="Scotia Headline"/>
                <a:ea typeface="Gilroy ExtraBold Italic"/>
                <a:cs typeface="Gilroy ExtraBold Italic"/>
              </a:defRPr>
            </a:lvl1pPr>
          </a:lstStyle>
          <a:p>
            <a:r>
              <a:rPr lang="en-US"/>
              <a:t>Section title </a:t>
            </a:r>
            <a:br>
              <a:rPr lang="en-US"/>
            </a:br>
            <a:r>
              <a:rPr lang="en-US"/>
              <a:t>on two lines</a:t>
            </a:r>
            <a:endParaRPr lang="es-ES_tradnl"/>
          </a:p>
        </p:txBody>
      </p:sp>
    </p:spTree>
    <p:extLst>
      <p:ext uri="{BB962C8B-B14F-4D97-AF65-F5344CB8AC3E}">
        <p14:creationId xmlns:p14="http://schemas.microsoft.com/office/powerpoint/2010/main" val="7443818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hapter Title - Colour">
    <p:bg>
      <p:bgPr>
        <a:solidFill>
          <a:srgbClr val="009D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5567AD5-F1EB-BF40-BA2F-1996E95206BF}"/>
              </a:ext>
            </a:extLst>
          </p:cNvPr>
          <p:cNvSpPr/>
          <p:nvPr userDrawn="1"/>
        </p:nvSpPr>
        <p:spPr>
          <a:xfrm>
            <a:off x="366157" y="381000"/>
            <a:ext cx="11445240" cy="61264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Text Placeholder 11">
            <a:extLst>
              <a:ext uri="{FF2B5EF4-FFF2-40B4-BE49-F238E27FC236}">
                <a16:creationId xmlns:a16="http://schemas.microsoft.com/office/drawing/2014/main" id="{B55E712C-73F7-894E-A37D-02C55456A67D}"/>
              </a:ext>
            </a:extLst>
          </p:cNvPr>
          <p:cNvSpPr>
            <a:spLocks noGrp="1"/>
          </p:cNvSpPr>
          <p:nvPr>
            <p:ph type="body" sz="quarter" idx="10" hasCustomPrompt="1"/>
          </p:nvPr>
        </p:nvSpPr>
        <p:spPr>
          <a:xfrm>
            <a:off x="3717430" y="2302834"/>
            <a:ext cx="4737430" cy="455509"/>
          </a:xfrm>
          <a:ln w="12700">
            <a:miter lim="400000"/>
          </a:ln>
        </p:spPr>
        <p:txBody>
          <a:bodyPr wrap="square" lIns="0" tIns="0" rIns="0" bIns="0">
            <a:noAutofit/>
          </a:bodyPr>
          <a:lstStyle>
            <a:lvl1pPr marL="0" indent="0" algn="ctr">
              <a:buNone/>
              <a:defRPr lang="en-US" sz="2600" b="1" cap="all" spc="300" baseline="0" smtClean="0">
                <a:solidFill>
                  <a:srgbClr val="009DD6"/>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ing:</a:t>
            </a: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1900833" y="2985326"/>
            <a:ext cx="8370623" cy="989214"/>
          </a:xfrm>
        </p:spPr>
        <p:txBody>
          <a:bodyPr anchor="t">
            <a:noAutofit/>
          </a:bodyPr>
          <a:lstStyle>
            <a:lvl1pPr algn="ctr">
              <a:defRPr lang="es-ES_tradnl" sz="5200" b="1" kern="1200" dirty="0">
                <a:solidFill>
                  <a:schemeClr val="tx1"/>
                </a:solidFill>
                <a:latin typeface="Scotia Headline"/>
                <a:ea typeface="Gilroy ExtraBold Italic"/>
                <a:cs typeface="Gilroy ExtraBold Italic"/>
              </a:defRPr>
            </a:lvl1pPr>
          </a:lstStyle>
          <a:p>
            <a:r>
              <a:rPr lang="en-US"/>
              <a:t>Title goes here</a:t>
            </a:r>
            <a:endParaRPr lang="es-ES_tradnl"/>
          </a:p>
        </p:txBody>
      </p:sp>
      <p:sp>
        <p:nvSpPr>
          <p:cNvPr id="3" name="Text Placeholder 2">
            <a:extLst>
              <a:ext uri="{FF2B5EF4-FFF2-40B4-BE49-F238E27FC236}">
                <a16:creationId xmlns:a16="http://schemas.microsoft.com/office/drawing/2014/main" id="{46600663-9684-2E4C-B2ED-A00D40588E60}"/>
              </a:ext>
            </a:extLst>
          </p:cNvPr>
          <p:cNvSpPr>
            <a:spLocks noGrp="1"/>
          </p:cNvSpPr>
          <p:nvPr>
            <p:ph type="body" sz="quarter" idx="11" hasCustomPrompt="1"/>
          </p:nvPr>
        </p:nvSpPr>
        <p:spPr>
          <a:xfrm>
            <a:off x="3889435" y="4125629"/>
            <a:ext cx="4393417" cy="962025"/>
          </a:xfrm>
        </p:spPr>
        <p:txBody>
          <a:bodyPr>
            <a:normAutofit/>
          </a:bodyPr>
          <a:lstStyle>
            <a:lvl1pPr marL="0" indent="0" algn="ctr">
              <a:lnSpc>
                <a:spcPct val="110000"/>
              </a:lnSpc>
              <a:spcBef>
                <a:spcPts val="0"/>
              </a:spcBef>
              <a:buNone/>
              <a:defRPr sz="2100" b="0"/>
            </a:lvl1pPr>
            <a:lvl2pPr marL="457200" indent="0">
              <a:buNone/>
              <a:defRPr b="0"/>
            </a:lvl2pPr>
            <a:lvl3pPr marL="914400" indent="0">
              <a:buNone/>
              <a:defRPr b="0"/>
            </a:lvl3pPr>
            <a:lvl4pPr marL="1371600" indent="0">
              <a:buNone/>
              <a:defRPr b="0"/>
            </a:lvl4pPr>
            <a:lvl5pPr marL="1828800" indent="0">
              <a:buNone/>
              <a:defRPr b="0"/>
            </a:lvl5pPr>
          </a:lstStyle>
          <a:p>
            <a:pPr lvl="0"/>
            <a:r>
              <a:rPr lang="en-US"/>
              <a:t>Short description about what you plan on talking about goes here. </a:t>
            </a:r>
            <a:endParaRPr lang="en-CA"/>
          </a:p>
        </p:txBody>
      </p:sp>
    </p:spTree>
    <p:extLst>
      <p:ext uri="{BB962C8B-B14F-4D97-AF65-F5344CB8AC3E}">
        <p14:creationId xmlns:p14="http://schemas.microsoft.com/office/powerpoint/2010/main" val="3723964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header - Numbered section - Colour">
    <p:bg>
      <p:bgPr>
        <a:solidFill>
          <a:srgbClr val="009DD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BA17B42-0026-674A-99A4-33CFFED1CECD}"/>
              </a:ext>
            </a:extLst>
          </p:cNvPr>
          <p:cNvSpPr/>
          <p:nvPr userDrawn="1"/>
        </p:nvSpPr>
        <p:spPr>
          <a:xfrm flipV="1">
            <a:off x="397" y="1649248"/>
            <a:ext cx="12191207" cy="520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FFFFFF"/>
                </a:solidFill>
                <a:latin typeface="Scotia" panose="020B0503020203020204" pitchFamily="34" charset="0"/>
              </a:rPr>
              <a:pPr algn="r"/>
              <a:t>‹#›</a:t>
            </a:fld>
            <a:endParaRPr lang="en-CA" sz="800">
              <a:solidFill>
                <a:srgbClr val="FFFFFF"/>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FFFFFF"/>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rgbClr val="FFFFFF"/>
                </a:solidFill>
              </a:defRPr>
            </a:lvl1pPr>
          </a:lstStyle>
          <a:p>
            <a:r>
              <a:rPr lang="en-US"/>
              <a:t>Slide title</a:t>
            </a:r>
          </a:p>
        </p:txBody>
      </p:sp>
      <p:sp>
        <p:nvSpPr>
          <p:cNvPr id="29" name="Text Placeholder 3">
            <a:extLst>
              <a:ext uri="{FF2B5EF4-FFF2-40B4-BE49-F238E27FC236}">
                <a16:creationId xmlns:a16="http://schemas.microsoft.com/office/drawing/2014/main" id="{F00BBAFA-AB98-874F-B310-4F1C79EBEBFE}"/>
              </a:ext>
            </a:extLst>
          </p:cNvPr>
          <p:cNvSpPr>
            <a:spLocks noGrp="1"/>
          </p:cNvSpPr>
          <p:nvPr>
            <p:ph type="body" sz="quarter" idx="11" hasCustomPrompt="1"/>
          </p:nvPr>
        </p:nvSpPr>
        <p:spPr>
          <a:xfrm>
            <a:off x="462711" y="2079396"/>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1</a:t>
            </a:r>
            <a:endParaRPr lang="en-CA"/>
          </a:p>
        </p:txBody>
      </p:sp>
      <p:sp>
        <p:nvSpPr>
          <p:cNvPr id="30" name="Text Placeholder 3">
            <a:extLst>
              <a:ext uri="{FF2B5EF4-FFF2-40B4-BE49-F238E27FC236}">
                <a16:creationId xmlns:a16="http://schemas.microsoft.com/office/drawing/2014/main" id="{060558B2-8E58-344A-8B9B-9E6F0A6BB6A8}"/>
              </a:ext>
            </a:extLst>
          </p:cNvPr>
          <p:cNvSpPr>
            <a:spLocks noGrp="1"/>
          </p:cNvSpPr>
          <p:nvPr>
            <p:ph type="body" sz="quarter" idx="12" hasCustomPrompt="1"/>
          </p:nvPr>
        </p:nvSpPr>
        <p:spPr>
          <a:xfrm>
            <a:off x="1014426" y="2104241"/>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1" name="Text Placeholder 2">
            <a:extLst>
              <a:ext uri="{FF2B5EF4-FFF2-40B4-BE49-F238E27FC236}">
                <a16:creationId xmlns:a16="http://schemas.microsoft.com/office/drawing/2014/main" id="{5CD79CF8-A7A0-B241-A5C9-34BAFD15C0CA}"/>
              </a:ext>
            </a:extLst>
          </p:cNvPr>
          <p:cNvSpPr>
            <a:spLocks noGrp="1"/>
          </p:cNvSpPr>
          <p:nvPr>
            <p:ph type="body" sz="quarter" idx="13" hasCustomPrompt="1"/>
          </p:nvPr>
        </p:nvSpPr>
        <p:spPr>
          <a:xfrm>
            <a:off x="1009714" y="2373052"/>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2" name="Text Placeholder 3">
            <a:extLst>
              <a:ext uri="{FF2B5EF4-FFF2-40B4-BE49-F238E27FC236}">
                <a16:creationId xmlns:a16="http://schemas.microsoft.com/office/drawing/2014/main" id="{5EB2EF3F-DDF7-2A4D-80D9-908B7A70D3A7}"/>
              </a:ext>
            </a:extLst>
          </p:cNvPr>
          <p:cNvSpPr>
            <a:spLocks noGrp="1"/>
          </p:cNvSpPr>
          <p:nvPr>
            <p:ph type="body" sz="quarter" idx="14" hasCustomPrompt="1"/>
          </p:nvPr>
        </p:nvSpPr>
        <p:spPr>
          <a:xfrm>
            <a:off x="462711" y="3601587"/>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2</a:t>
            </a:r>
            <a:endParaRPr lang="en-CA"/>
          </a:p>
        </p:txBody>
      </p:sp>
      <p:sp>
        <p:nvSpPr>
          <p:cNvPr id="33" name="Text Placeholder 3">
            <a:extLst>
              <a:ext uri="{FF2B5EF4-FFF2-40B4-BE49-F238E27FC236}">
                <a16:creationId xmlns:a16="http://schemas.microsoft.com/office/drawing/2014/main" id="{C6DFB7E4-C61F-C74E-9487-AA7D327906B9}"/>
              </a:ext>
            </a:extLst>
          </p:cNvPr>
          <p:cNvSpPr>
            <a:spLocks noGrp="1"/>
          </p:cNvSpPr>
          <p:nvPr>
            <p:ph type="body" sz="quarter" idx="15" hasCustomPrompt="1"/>
          </p:nvPr>
        </p:nvSpPr>
        <p:spPr>
          <a:xfrm>
            <a:off x="1014426" y="3626432"/>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4" name="Text Placeholder 2">
            <a:extLst>
              <a:ext uri="{FF2B5EF4-FFF2-40B4-BE49-F238E27FC236}">
                <a16:creationId xmlns:a16="http://schemas.microsoft.com/office/drawing/2014/main" id="{E421A8C0-4F5E-DD48-AD00-C9BF584380FC}"/>
              </a:ext>
            </a:extLst>
          </p:cNvPr>
          <p:cNvSpPr>
            <a:spLocks noGrp="1"/>
          </p:cNvSpPr>
          <p:nvPr>
            <p:ph type="body" sz="quarter" idx="16" hasCustomPrompt="1"/>
          </p:nvPr>
        </p:nvSpPr>
        <p:spPr>
          <a:xfrm>
            <a:off x="1009714" y="3895243"/>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5" name="Text Placeholder 3">
            <a:extLst>
              <a:ext uri="{FF2B5EF4-FFF2-40B4-BE49-F238E27FC236}">
                <a16:creationId xmlns:a16="http://schemas.microsoft.com/office/drawing/2014/main" id="{5841B5AD-D971-D746-BB2C-ED58814E49B9}"/>
              </a:ext>
            </a:extLst>
          </p:cNvPr>
          <p:cNvSpPr>
            <a:spLocks noGrp="1"/>
          </p:cNvSpPr>
          <p:nvPr>
            <p:ph type="body" sz="quarter" idx="17" hasCustomPrompt="1"/>
          </p:nvPr>
        </p:nvSpPr>
        <p:spPr>
          <a:xfrm>
            <a:off x="462711" y="5130473"/>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3</a:t>
            </a:r>
            <a:endParaRPr lang="en-CA"/>
          </a:p>
        </p:txBody>
      </p:sp>
      <p:sp>
        <p:nvSpPr>
          <p:cNvPr id="36" name="Text Placeholder 3">
            <a:extLst>
              <a:ext uri="{FF2B5EF4-FFF2-40B4-BE49-F238E27FC236}">
                <a16:creationId xmlns:a16="http://schemas.microsoft.com/office/drawing/2014/main" id="{485776F5-9E0C-074D-BA2A-F5872EAB30D8}"/>
              </a:ext>
            </a:extLst>
          </p:cNvPr>
          <p:cNvSpPr>
            <a:spLocks noGrp="1"/>
          </p:cNvSpPr>
          <p:nvPr>
            <p:ph type="body" sz="quarter" idx="18" hasCustomPrompt="1"/>
          </p:nvPr>
        </p:nvSpPr>
        <p:spPr>
          <a:xfrm>
            <a:off x="1014426" y="5155318"/>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7" name="Text Placeholder 2">
            <a:extLst>
              <a:ext uri="{FF2B5EF4-FFF2-40B4-BE49-F238E27FC236}">
                <a16:creationId xmlns:a16="http://schemas.microsoft.com/office/drawing/2014/main" id="{D01AE4BC-1204-7442-B068-9B19FD7E4989}"/>
              </a:ext>
            </a:extLst>
          </p:cNvPr>
          <p:cNvSpPr>
            <a:spLocks noGrp="1"/>
          </p:cNvSpPr>
          <p:nvPr>
            <p:ph type="body" sz="quarter" idx="19" hasCustomPrompt="1"/>
          </p:nvPr>
        </p:nvSpPr>
        <p:spPr>
          <a:xfrm>
            <a:off x="1009714" y="5424129"/>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8" name="Text Placeholder 3">
            <a:extLst>
              <a:ext uri="{FF2B5EF4-FFF2-40B4-BE49-F238E27FC236}">
                <a16:creationId xmlns:a16="http://schemas.microsoft.com/office/drawing/2014/main" id="{2F9A77A9-E6F7-F140-9950-9C6464B9C223}"/>
              </a:ext>
            </a:extLst>
          </p:cNvPr>
          <p:cNvSpPr>
            <a:spLocks noGrp="1"/>
          </p:cNvSpPr>
          <p:nvPr>
            <p:ph type="body" sz="quarter" idx="20" hasCustomPrompt="1"/>
          </p:nvPr>
        </p:nvSpPr>
        <p:spPr>
          <a:xfrm>
            <a:off x="6324338" y="2141312"/>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4</a:t>
            </a:r>
            <a:endParaRPr lang="en-CA"/>
          </a:p>
        </p:txBody>
      </p:sp>
      <p:sp>
        <p:nvSpPr>
          <p:cNvPr id="39" name="Text Placeholder 3">
            <a:extLst>
              <a:ext uri="{FF2B5EF4-FFF2-40B4-BE49-F238E27FC236}">
                <a16:creationId xmlns:a16="http://schemas.microsoft.com/office/drawing/2014/main" id="{8D703C3F-C709-9E4F-A571-476A6F278BA3}"/>
              </a:ext>
            </a:extLst>
          </p:cNvPr>
          <p:cNvSpPr>
            <a:spLocks noGrp="1"/>
          </p:cNvSpPr>
          <p:nvPr>
            <p:ph type="body" sz="quarter" idx="21" hasCustomPrompt="1"/>
          </p:nvPr>
        </p:nvSpPr>
        <p:spPr>
          <a:xfrm>
            <a:off x="6876053" y="2166157"/>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40" name="Text Placeholder 2">
            <a:extLst>
              <a:ext uri="{FF2B5EF4-FFF2-40B4-BE49-F238E27FC236}">
                <a16:creationId xmlns:a16="http://schemas.microsoft.com/office/drawing/2014/main" id="{34177063-2C96-E441-B65D-F68467FEE331}"/>
              </a:ext>
            </a:extLst>
          </p:cNvPr>
          <p:cNvSpPr>
            <a:spLocks noGrp="1"/>
          </p:cNvSpPr>
          <p:nvPr>
            <p:ph type="body" sz="quarter" idx="22" hasCustomPrompt="1"/>
          </p:nvPr>
        </p:nvSpPr>
        <p:spPr>
          <a:xfrm>
            <a:off x="6871341" y="2434968"/>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41" name="Text Placeholder 3">
            <a:extLst>
              <a:ext uri="{FF2B5EF4-FFF2-40B4-BE49-F238E27FC236}">
                <a16:creationId xmlns:a16="http://schemas.microsoft.com/office/drawing/2014/main" id="{06028CB8-5D99-9049-B95A-8B908C008BE7}"/>
              </a:ext>
            </a:extLst>
          </p:cNvPr>
          <p:cNvSpPr>
            <a:spLocks noGrp="1"/>
          </p:cNvSpPr>
          <p:nvPr>
            <p:ph type="body" sz="quarter" idx="23" hasCustomPrompt="1"/>
          </p:nvPr>
        </p:nvSpPr>
        <p:spPr>
          <a:xfrm>
            <a:off x="6324338" y="3663503"/>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5</a:t>
            </a:r>
            <a:endParaRPr lang="en-CA"/>
          </a:p>
        </p:txBody>
      </p:sp>
      <p:sp>
        <p:nvSpPr>
          <p:cNvPr id="42" name="Text Placeholder 3">
            <a:extLst>
              <a:ext uri="{FF2B5EF4-FFF2-40B4-BE49-F238E27FC236}">
                <a16:creationId xmlns:a16="http://schemas.microsoft.com/office/drawing/2014/main" id="{909159AF-CBD4-A34D-9314-EDD9EB434AEC}"/>
              </a:ext>
            </a:extLst>
          </p:cNvPr>
          <p:cNvSpPr>
            <a:spLocks noGrp="1"/>
          </p:cNvSpPr>
          <p:nvPr>
            <p:ph type="body" sz="quarter" idx="24" hasCustomPrompt="1"/>
          </p:nvPr>
        </p:nvSpPr>
        <p:spPr>
          <a:xfrm>
            <a:off x="6876053" y="3688348"/>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43" name="Text Placeholder 2">
            <a:extLst>
              <a:ext uri="{FF2B5EF4-FFF2-40B4-BE49-F238E27FC236}">
                <a16:creationId xmlns:a16="http://schemas.microsoft.com/office/drawing/2014/main" id="{CC25BFAA-841C-184F-94FB-F0CFB5DF3BEC}"/>
              </a:ext>
            </a:extLst>
          </p:cNvPr>
          <p:cNvSpPr>
            <a:spLocks noGrp="1"/>
          </p:cNvSpPr>
          <p:nvPr>
            <p:ph type="body" sz="quarter" idx="25" hasCustomPrompt="1"/>
          </p:nvPr>
        </p:nvSpPr>
        <p:spPr>
          <a:xfrm>
            <a:off x="6871341" y="3957159"/>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44" name="Text Placeholder 3">
            <a:extLst>
              <a:ext uri="{FF2B5EF4-FFF2-40B4-BE49-F238E27FC236}">
                <a16:creationId xmlns:a16="http://schemas.microsoft.com/office/drawing/2014/main" id="{A07C93D0-D760-B947-8C52-B4C46AE7E7A9}"/>
              </a:ext>
            </a:extLst>
          </p:cNvPr>
          <p:cNvSpPr>
            <a:spLocks noGrp="1"/>
          </p:cNvSpPr>
          <p:nvPr>
            <p:ph type="body" sz="quarter" idx="26" hasCustomPrompt="1"/>
          </p:nvPr>
        </p:nvSpPr>
        <p:spPr>
          <a:xfrm>
            <a:off x="6324338" y="5192389"/>
            <a:ext cx="539449" cy="478724"/>
          </a:xfrm>
        </p:spPr>
        <p:txBody>
          <a:bodyPr>
            <a:noAutofit/>
          </a:bodyPr>
          <a:lstStyle>
            <a:lvl1pPr marL="0" indent="0">
              <a:buNone/>
              <a:defRPr sz="4800" b="0" i="0">
                <a:solidFill>
                  <a:srgbClr val="009DD6"/>
                </a:solidFill>
                <a:latin typeface="+mj-lt"/>
                <a:ea typeface="Scotia Light" panose="020B04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6</a:t>
            </a:r>
            <a:endParaRPr lang="en-CA"/>
          </a:p>
        </p:txBody>
      </p:sp>
      <p:sp>
        <p:nvSpPr>
          <p:cNvPr id="45" name="Text Placeholder 3">
            <a:extLst>
              <a:ext uri="{FF2B5EF4-FFF2-40B4-BE49-F238E27FC236}">
                <a16:creationId xmlns:a16="http://schemas.microsoft.com/office/drawing/2014/main" id="{44D75CE3-9B0F-054D-B1BD-FA433BA40C95}"/>
              </a:ext>
            </a:extLst>
          </p:cNvPr>
          <p:cNvSpPr>
            <a:spLocks noGrp="1"/>
          </p:cNvSpPr>
          <p:nvPr>
            <p:ph type="body" sz="quarter" idx="27" hasCustomPrompt="1"/>
          </p:nvPr>
        </p:nvSpPr>
        <p:spPr>
          <a:xfrm>
            <a:off x="6876053" y="5217234"/>
            <a:ext cx="4563570" cy="268811"/>
          </a:xfrm>
        </p:spPr>
        <p:txBody>
          <a:bodyPr>
            <a:noAutofit/>
          </a:bodyPr>
          <a:lstStyle>
            <a:lvl1pPr marL="0" indent="0">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46" name="Text Placeholder 2">
            <a:extLst>
              <a:ext uri="{FF2B5EF4-FFF2-40B4-BE49-F238E27FC236}">
                <a16:creationId xmlns:a16="http://schemas.microsoft.com/office/drawing/2014/main" id="{760B5286-8781-9542-9BF6-15D5BF84B88B}"/>
              </a:ext>
            </a:extLst>
          </p:cNvPr>
          <p:cNvSpPr>
            <a:spLocks noGrp="1"/>
          </p:cNvSpPr>
          <p:nvPr>
            <p:ph type="body" sz="quarter" idx="28" hasCustomPrompt="1"/>
          </p:nvPr>
        </p:nvSpPr>
        <p:spPr>
          <a:xfrm>
            <a:off x="6871341" y="5486045"/>
            <a:ext cx="4560728" cy="749500"/>
          </a:xfrm>
        </p:spPr>
        <p:txBody>
          <a:bodyPr>
            <a:noAutofit/>
          </a:bodyPr>
          <a:lstStyle>
            <a:lvl1pPr marL="0" indent="0">
              <a:lnSpc>
                <a:spcPct val="12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pic>
        <p:nvPicPr>
          <p:cNvPr id="47" name="Graphic 46">
            <a:extLst>
              <a:ext uri="{FF2B5EF4-FFF2-40B4-BE49-F238E27FC236}">
                <a16:creationId xmlns:a16="http://schemas.microsoft.com/office/drawing/2014/main" id="{132FB6D0-D3C8-3C49-979D-DAB7571FFC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41874744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ategories">
    <p:bg>
      <p:bgPr>
        <a:solidFill>
          <a:schemeClr val="accent2"/>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4EF56B-BA64-9B43-8A0B-60A365D0D31B}"/>
              </a:ext>
            </a:extLst>
          </p:cNvPr>
          <p:cNvSpPr/>
          <p:nvPr userDrawn="1"/>
        </p:nvSpPr>
        <p:spPr>
          <a:xfrm>
            <a:off x="6096000" y="0"/>
            <a:ext cx="60956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cotia" panose="020F0502020204030204"/>
              <a:ea typeface="+mn-ea"/>
              <a:cs typeface="+mn-cs"/>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1" y="816110"/>
            <a:ext cx="4079575" cy="1114290"/>
          </a:xfrm>
        </p:spPr>
        <p:txBody>
          <a:bodyPr anchor="t">
            <a:noAutofit/>
          </a:bodyPr>
          <a:lstStyle>
            <a:lvl1pPr>
              <a:defRPr>
                <a:solidFill>
                  <a:srgbClr val="FFFFFF"/>
                </a:solidFill>
              </a:defRPr>
            </a:lvl1pPr>
          </a:lstStyle>
          <a:p>
            <a:r>
              <a:rPr lang="en-US"/>
              <a:t>One subhead on two lines</a:t>
            </a:r>
          </a:p>
        </p:txBody>
      </p:sp>
      <p:sp>
        <p:nvSpPr>
          <p:cNvPr id="9" name="Text Placeholder 8">
            <a:extLst>
              <a:ext uri="{FF2B5EF4-FFF2-40B4-BE49-F238E27FC236}">
                <a16:creationId xmlns:a16="http://schemas.microsoft.com/office/drawing/2014/main" id="{990A04F8-56E6-3B4E-824D-8E614727089E}"/>
              </a:ext>
            </a:extLst>
          </p:cNvPr>
          <p:cNvSpPr>
            <a:spLocks noGrp="1"/>
          </p:cNvSpPr>
          <p:nvPr>
            <p:ph type="body" sz="quarter" idx="13" hasCustomPrompt="1"/>
          </p:nvPr>
        </p:nvSpPr>
        <p:spPr>
          <a:xfrm>
            <a:off x="6619155" y="816110"/>
            <a:ext cx="4290145" cy="1114290"/>
          </a:xfrm>
        </p:spPr>
        <p:txBody>
          <a:bodyPr>
            <a:noAutofit/>
          </a:bodyPr>
          <a:lstStyle>
            <a:lvl1pPr marL="0" indent="0">
              <a:buNone/>
              <a:defRPr sz="4000">
                <a:solidFill>
                  <a:schemeClr val="accent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Another subhead on two lines</a:t>
            </a:r>
            <a:endParaRPr lang="en-CA"/>
          </a:p>
        </p:txBody>
      </p:sp>
      <p:sp>
        <p:nvSpPr>
          <p:cNvPr id="8" name="Text Placeholder 7">
            <a:extLst>
              <a:ext uri="{FF2B5EF4-FFF2-40B4-BE49-F238E27FC236}">
                <a16:creationId xmlns:a16="http://schemas.microsoft.com/office/drawing/2014/main" id="{28723BEE-51F7-E94F-B993-CA886E9A616E}"/>
              </a:ext>
            </a:extLst>
          </p:cNvPr>
          <p:cNvSpPr>
            <a:spLocks noGrp="1"/>
          </p:cNvSpPr>
          <p:nvPr>
            <p:ph type="body" sz="quarter" idx="14" hasCustomPrompt="1"/>
          </p:nvPr>
        </p:nvSpPr>
        <p:spPr>
          <a:xfrm>
            <a:off x="467420" y="2197501"/>
            <a:ext cx="5082479" cy="4081462"/>
          </a:xfrm>
        </p:spPr>
        <p:txBody>
          <a:bodyPr>
            <a:noAutofit/>
          </a:bodyPr>
          <a:lstStyle>
            <a:lvl1pPr marL="285750" indent="-285750">
              <a:lnSpc>
                <a:spcPct val="110000"/>
              </a:lnSpc>
              <a:spcBef>
                <a:spcPts val="1800"/>
              </a:spcBef>
              <a:buFont typeface="Arial" panose="020B0604020202020204" pitchFamily="34" charset="0"/>
              <a:buChar char="•"/>
              <a:defRPr sz="1600">
                <a:solidFill>
                  <a:srgbClr val="FFFFFF"/>
                </a:solidFill>
              </a:defRPr>
            </a:lvl1pPr>
            <a:lvl2pPr marL="914400" indent="-457200">
              <a:buFont typeface="+mj-lt"/>
              <a:buAutoNum type="arabicPeriod"/>
              <a:defRPr/>
            </a:lvl2pPr>
            <a:lvl3pPr marL="1257300" indent="-3429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r>
              <a:rPr lang="en-US" err="1"/>
              <a:t>est</a:t>
            </a:r>
            <a:r>
              <a:rPr lang="en-US"/>
              <a:t> lorem.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r>
              <a:rPr lang="en-US"/>
              <a:t> </a:t>
            </a:r>
            <a:r>
              <a:rPr lang="en-US" err="1"/>
              <a:t>neque</a:t>
            </a:r>
            <a:r>
              <a:rPr lang="en-US"/>
              <a:t> </a:t>
            </a:r>
            <a:r>
              <a:rPr lang="en-US" err="1"/>
              <a:t>volutpat</a:t>
            </a:r>
            <a:r>
              <a:rPr lang="en-US"/>
              <a:t>. Aenean sed adipiscing diam </a:t>
            </a:r>
            <a:r>
              <a:rPr lang="en-US" err="1"/>
              <a:t>donec</a:t>
            </a:r>
            <a:r>
              <a:rPr lang="en-US"/>
              <a:t> adipiscing. </a:t>
            </a:r>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p:txBody>
      </p:sp>
      <p:sp>
        <p:nvSpPr>
          <p:cNvPr id="14" name="Text Placeholder 7">
            <a:extLst>
              <a:ext uri="{FF2B5EF4-FFF2-40B4-BE49-F238E27FC236}">
                <a16:creationId xmlns:a16="http://schemas.microsoft.com/office/drawing/2014/main" id="{851AE481-18CD-4140-94BF-3F030B2B490D}"/>
              </a:ext>
            </a:extLst>
          </p:cNvPr>
          <p:cNvSpPr>
            <a:spLocks noGrp="1"/>
          </p:cNvSpPr>
          <p:nvPr>
            <p:ph type="body" sz="quarter" idx="15" hasCustomPrompt="1"/>
          </p:nvPr>
        </p:nvSpPr>
        <p:spPr>
          <a:xfrm>
            <a:off x="6619155" y="2195782"/>
            <a:ext cx="5082479" cy="4081462"/>
          </a:xfrm>
        </p:spPr>
        <p:txBody>
          <a:bodyPr>
            <a:noAutofit/>
          </a:bodyPr>
          <a:lstStyle>
            <a:lvl1pPr marL="0" marR="0" indent="0" algn="l" defTabSz="914400" rtl="0" eaLnBrk="1" fontAlgn="base" latinLnBrk="0" hangingPunct="1">
              <a:lnSpc>
                <a:spcPct val="110000"/>
              </a:lnSpc>
              <a:spcBef>
                <a:spcPts val="0"/>
              </a:spcBef>
              <a:spcAft>
                <a:spcPts val="1800"/>
              </a:spcAft>
              <a:buClrTx/>
              <a:buSzTx/>
              <a:buFont typeface="Arial" panose="020B0604020202020204" pitchFamily="34" charset="0"/>
              <a:buChar char="•"/>
              <a:tabLst/>
              <a:defRPr sz="1600">
                <a:solidFill>
                  <a:srgbClr val="333333"/>
                </a:solidFill>
              </a:defRPr>
            </a:lvl1pPr>
            <a:lvl2pPr marL="914400" indent="-457200">
              <a:buFont typeface="+mj-lt"/>
              <a:buAutoNum type="arabicPeriod"/>
              <a:defRPr/>
            </a:lvl2pPr>
            <a:lvl3pPr marL="1257300" indent="-3429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Molesti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non </a:t>
            </a:r>
            <a:r>
              <a:rPr kumimoji="0" lang="en-CA" sz="1600" b="0" i="0" u="none" strike="noStrike" kern="1200" cap="none" spc="0" normalizeH="0" baseline="0" noProof="0" err="1">
                <a:ln>
                  <a:noFill/>
                </a:ln>
                <a:solidFill>
                  <a:srgbClr val="333333"/>
                </a:solidFill>
                <a:effectLst/>
                <a:uLnTx/>
                <a:uFillTx/>
                <a:latin typeface="+mn-lt"/>
                <a:ea typeface="+mn-ea"/>
                <a:cs typeface="+mn-cs"/>
              </a:rPr>
              <a:t>blandi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ssa</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c</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ttis</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Felis </a:t>
            </a:r>
            <a:r>
              <a:rPr kumimoji="0" lang="en-CA" sz="1600" b="0" i="0" u="none" strike="noStrike" kern="1200" cap="none" spc="0" normalizeH="0" baseline="0" noProof="0" err="1">
                <a:ln>
                  <a:noFill/>
                </a:ln>
                <a:solidFill>
                  <a:srgbClr val="333333"/>
                </a:solidFill>
                <a:effectLst/>
                <a:uLnTx/>
                <a:uFillTx/>
                <a:latin typeface="+mn-lt"/>
                <a:ea typeface="+mn-ea"/>
                <a:cs typeface="+mn-cs"/>
              </a:rPr>
              <a:t>bibendu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ristique</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quis</a:t>
            </a:r>
            <a:r>
              <a:rPr kumimoji="0" lang="en-CA" sz="1600" b="0" i="0" u="none" strike="noStrike" kern="1200" cap="none" spc="0" normalizeH="0" baseline="0" noProof="0">
                <a:ln>
                  <a:noFill/>
                </a:ln>
                <a:solidFill>
                  <a:srgbClr val="333333"/>
                </a:solidFill>
                <a:effectLst/>
                <a:uLnTx/>
                <a:uFillTx/>
                <a:latin typeface="+mn-lt"/>
                <a:ea typeface="+mn-ea"/>
                <a:cs typeface="+mn-cs"/>
              </a:rPr>
              <a:t> ipsum </a:t>
            </a:r>
            <a:r>
              <a:rPr kumimoji="0" lang="en-CA" sz="1600" b="0" i="0" u="none" strike="noStrike" kern="1200" cap="none" spc="0" normalizeH="0" baseline="0" noProof="0" err="1">
                <a:ln>
                  <a:noFill/>
                </a:ln>
                <a:solidFill>
                  <a:srgbClr val="333333"/>
                </a:solidFill>
                <a:effectLst/>
                <a:uLnTx/>
                <a:uFillTx/>
                <a:latin typeface="+mn-lt"/>
                <a:ea typeface="+mn-ea"/>
                <a:cs typeface="+mn-cs"/>
              </a:rPr>
              <a:t>suspendisse</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Sed </a:t>
            </a:r>
            <a:r>
              <a:rPr kumimoji="0" lang="en-CA" sz="1600" b="0" i="0" u="none" strike="noStrike" kern="1200" cap="none" spc="0" normalizeH="0" baseline="0" noProof="0" err="1">
                <a:ln>
                  <a:noFill/>
                </a:ln>
                <a:solidFill>
                  <a:srgbClr val="333333"/>
                </a:solidFill>
                <a:effectLst/>
                <a:uLnTx/>
                <a:uFillTx/>
                <a:latin typeface="+mn-lt"/>
                <a:ea typeface="+mn-ea"/>
                <a:cs typeface="+mn-cs"/>
              </a:rPr>
              <a:t>blandit</a:t>
            </a:r>
            <a:r>
              <a:rPr kumimoji="0" lang="en-CA" sz="1600" b="0" i="0" u="none" strike="noStrike" kern="1200" cap="none" spc="0" normalizeH="0" baseline="0" noProof="0">
                <a:ln>
                  <a:noFill/>
                </a:ln>
                <a:solidFill>
                  <a:srgbClr val="333333"/>
                </a:solidFill>
                <a:effectLst/>
                <a:uLnTx/>
                <a:uFillTx/>
                <a:latin typeface="+mn-lt"/>
                <a:ea typeface="+mn-ea"/>
                <a:cs typeface="+mn-cs"/>
              </a:rPr>
              <a:t> libero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sed. </a:t>
            </a:r>
            <a:r>
              <a:rPr kumimoji="0" lang="en-CA" sz="1600" b="0" i="0" u="none" strike="noStrike" kern="1200" cap="none" spc="0" normalizeH="0" baseline="0" noProof="0" err="1">
                <a:ln>
                  <a:noFill/>
                </a:ln>
                <a:solidFill>
                  <a:srgbClr val="333333"/>
                </a:solidFill>
                <a:effectLst/>
                <a:uLnTx/>
                <a:uFillTx/>
                <a:latin typeface="+mn-lt"/>
                <a:ea typeface="+mn-ea"/>
                <a:cs typeface="+mn-cs"/>
              </a:rPr>
              <a:t>Sodal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sodal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tiam</a:t>
            </a:r>
            <a:r>
              <a:rPr kumimoji="0" lang="en-CA" sz="1600" b="0" i="0" u="none" strike="noStrike" kern="1200" cap="none" spc="0" normalizeH="0" baseline="0" noProof="0">
                <a:ln>
                  <a:noFill/>
                </a:ln>
                <a:solidFill>
                  <a:srgbClr val="333333"/>
                </a:solidFill>
                <a:effectLst/>
                <a:uLnTx/>
                <a:uFillTx/>
                <a:latin typeface="+mn-lt"/>
                <a:ea typeface="+mn-ea"/>
                <a:cs typeface="+mn-cs"/>
              </a:rPr>
              <a:t> sit </a:t>
            </a:r>
            <a:r>
              <a:rPr kumimoji="0" lang="en-CA" sz="1600" b="0" i="0" u="none" strike="noStrike" kern="1200" cap="none" spc="0" normalizeH="0" baseline="0" noProof="0" err="1">
                <a:ln>
                  <a:noFill/>
                </a:ln>
                <a:solidFill>
                  <a:srgbClr val="333333"/>
                </a:solidFill>
                <a:effectLst/>
                <a:uLnTx/>
                <a:uFillTx/>
                <a:latin typeface="+mn-lt"/>
                <a:ea typeface="+mn-ea"/>
                <a:cs typeface="+mn-cs"/>
              </a:rPr>
              <a:t>amet</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Turp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incidunt</a:t>
            </a:r>
            <a:r>
              <a:rPr kumimoji="0" lang="en-CA" sz="1600" b="0" i="0" u="none" strike="noStrike" kern="1200" cap="none" spc="0" normalizeH="0" baseline="0" noProof="0">
                <a:ln>
                  <a:noFill/>
                </a:ln>
                <a:solidFill>
                  <a:srgbClr val="333333"/>
                </a:solidFill>
                <a:effectLst/>
                <a:uLnTx/>
                <a:uFillTx/>
                <a:latin typeface="+mn-lt"/>
                <a:ea typeface="+mn-ea"/>
                <a:cs typeface="+mn-cs"/>
              </a:rPr>
              <a:t> id </a:t>
            </a:r>
            <a:r>
              <a:rPr kumimoji="0" lang="en-CA" sz="1600" b="0" i="0" u="none" strike="noStrike" kern="1200" cap="none" spc="0" normalizeH="0" baseline="0" noProof="0" err="1">
                <a:ln>
                  <a:noFill/>
                </a:ln>
                <a:solidFill>
                  <a:srgbClr val="333333"/>
                </a:solidFill>
                <a:effectLst/>
                <a:uLnTx/>
                <a:uFillTx/>
                <a:latin typeface="+mn-lt"/>
                <a:ea typeface="+mn-ea"/>
                <a:cs typeface="+mn-cs"/>
              </a:rPr>
              <a:t>alique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risus</a:t>
            </a:r>
            <a:r>
              <a:rPr kumimoji="0" lang="en-CA" sz="1600" b="0" i="0" u="none" strike="noStrike" kern="1200" cap="none" spc="0" normalizeH="0" baseline="0" noProof="0">
                <a:ln>
                  <a:noFill/>
                </a:ln>
                <a:solidFill>
                  <a:srgbClr val="333333"/>
                </a:solidFill>
                <a:effectLst/>
                <a:uLnTx/>
                <a:uFillTx/>
                <a:latin typeface="+mn-lt"/>
                <a:ea typeface="+mn-ea"/>
                <a:cs typeface="+mn-cs"/>
              </a:rPr>
              <a:t>. Morbi </a:t>
            </a:r>
            <a:r>
              <a:rPr kumimoji="0" lang="en-CA" sz="1600" b="0" i="0" u="none" strike="noStrike" kern="1200" cap="none" spc="0" normalizeH="0" baseline="0" noProof="0" err="1">
                <a:ln>
                  <a:noFill/>
                </a:ln>
                <a:solidFill>
                  <a:srgbClr val="333333"/>
                </a:solidFill>
                <a:effectLst/>
                <a:uLnTx/>
                <a:uFillTx/>
                <a:latin typeface="+mn-lt"/>
                <a:ea typeface="+mn-ea"/>
                <a:cs typeface="+mn-cs"/>
              </a:rPr>
              <a:t>tristi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senectus</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netus</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malesuada</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Accumsan</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lacus</a:t>
            </a:r>
            <a:r>
              <a:rPr kumimoji="0" lang="en-CA" sz="1600" b="0" i="0" u="none" strike="noStrike" kern="1200" cap="none" spc="0" normalizeH="0" baseline="0" noProof="0">
                <a:ln>
                  <a:noFill/>
                </a:ln>
                <a:solidFill>
                  <a:srgbClr val="333333"/>
                </a:solidFill>
                <a:effectLst/>
                <a:uLnTx/>
                <a:uFillTx/>
                <a:latin typeface="+mn-lt"/>
                <a:ea typeface="+mn-ea"/>
                <a:cs typeface="+mn-cs"/>
              </a:rPr>
              <a:t> vel </a:t>
            </a:r>
            <a:r>
              <a:rPr kumimoji="0" lang="en-CA" sz="1600" b="0" i="0" u="none" strike="noStrike" kern="1200" cap="none" spc="0" normalizeH="0" baseline="0" noProof="0" err="1">
                <a:ln>
                  <a:noFill/>
                </a:ln>
                <a:solidFill>
                  <a:srgbClr val="333333"/>
                </a:solidFill>
                <a:effectLst/>
                <a:uLnTx/>
                <a:uFillTx/>
                <a:latin typeface="+mn-lt"/>
                <a:ea typeface="+mn-ea"/>
                <a:cs typeface="+mn-cs"/>
              </a:rPr>
              <a:t>facilis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s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eli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Elementum</a:t>
            </a:r>
            <a:r>
              <a:rPr kumimoji="0" lang="en-CA" sz="1600" b="0" i="0" u="none" strike="noStrike" kern="1200" cap="none" spc="0" normalizeH="0" baseline="0" noProof="0">
                <a:ln>
                  <a:noFill/>
                </a:ln>
                <a:solidFill>
                  <a:srgbClr val="333333"/>
                </a:solidFill>
                <a:effectLst/>
                <a:uLnTx/>
                <a:uFillTx/>
                <a:latin typeface="+mn-lt"/>
                <a:ea typeface="+mn-ea"/>
                <a:cs typeface="+mn-cs"/>
              </a:rPr>
              <a:t> tempus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sed sed </a:t>
            </a:r>
            <a:r>
              <a:rPr kumimoji="0" lang="en-CA" sz="1600" b="0" i="0" u="none" strike="noStrike" kern="1200" cap="none" spc="0" normalizeH="0" baseline="0" noProof="0" err="1">
                <a:ln>
                  <a:noFill/>
                </a:ln>
                <a:solidFill>
                  <a:srgbClr val="333333"/>
                </a:solidFill>
                <a:effectLst/>
                <a:uLnTx/>
                <a:uFillTx/>
                <a:latin typeface="+mn-lt"/>
                <a:ea typeface="+mn-ea"/>
                <a:cs typeface="+mn-cs"/>
              </a:rPr>
              <a:t>risus</a:t>
            </a:r>
            <a:r>
              <a:rPr kumimoji="0" lang="en-CA" sz="1600" b="0" i="0" u="none" strike="noStrike" kern="1200" cap="none" spc="0" normalizeH="0" baseline="0" noProof="0">
                <a:ln>
                  <a:noFill/>
                </a:ln>
                <a:solidFill>
                  <a:srgbClr val="333333"/>
                </a:solidFill>
                <a:effectLst/>
                <a:uLnTx/>
                <a:uFillTx/>
                <a:latin typeface="+mn-lt"/>
                <a:ea typeface="+mn-ea"/>
                <a:cs typeface="+mn-cs"/>
              </a:rPr>
              <a:t>.</a:t>
            </a:r>
            <a:endParaRPr kumimoji="0" lang="en-CA" sz="1400" b="0" i="0" u="none" strike="noStrike" kern="1200" cap="none" spc="0" normalizeH="0" baseline="0" noProof="0">
              <a:ln>
                <a:noFill/>
              </a:ln>
              <a:solidFill>
                <a:srgbClr val="333333"/>
              </a:solidFill>
              <a:effectLst/>
              <a:uLnTx/>
              <a:uFillTx/>
              <a:latin typeface="+mn-lt"/>
              <a:ea typeface="+mn-ea"/>
              <a:cs typeface="+mn-cs"/>
            </a:endParaRPr>
          </a:p>
        </p:txBody>
      </p:sp>
    </p:spTree>
    <p:extLst>
      <p:ext uri="{BB962C8B-B14F-4D97-AF65-F5344CB8AC3E}">
        <p14:creationId xmlns:p14="http://schemas.microsoft.com/office/powerpoint/2010/main" val="1867060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ategories (reversed)">
    <p:bg>
      <p:bgPr>
        <a:solidFill>
          <a:schemeClr val="accent2"/>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4EF56B-BA64-9B43-8A0B-60A365D0D31B}"/>
              </a:ext>
            </a:extLst>
          </p:cNvPr>
          <p:cNvSpPr/>
          <p:nvPr userDrawn="1"/>
        </p:nvSpPr>
        <p:spPr>
          <a:xfrm>
            <a:off x="-39143" y="0"/>
            <a:ext cx="60956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cotia" panose="020F0502020204030204"/>
              <a:ea typeface="+mn-ea"/>
              <a:cs typeface="+mn-cs"/>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FFFFFF"/>
                </a:solidFill>
                <a:latin typeface="Scotia" panose="020B0503020203020204" pitchFamily="34" charset="0"/>
              </a:rPr>
              <a:pPr algn="r"/>
              <a:t>‹#›</a:t>
            </a:fld>
            <a:endParaRPr lang="en-CA" sz="800">
              <a:solidFill>
                <a:srgbClr val="FFFFFF"/>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FFFFFF"/>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1" y="816110"/>
            <a:ext cx="4053779" cy="1190490"/>
          </a:xfrm>
        </p:spPr>
        <p:txBody>
          <a:bodyPr anchor="t">
            <a:noAutofit/>
          </a:bodyPr>
          <a:lstStyle>
            <a:lvl1pPr>
              <a:defRPr>
                <a:solidFill>
                  <a:schemeClr val="accent2"/>
                </a:solidFill>
              </a:defRPr>
            </a:lvl1pPr>
          </a:lstStyle>
          <a:p>
            <a:r>
              <a:rPr lang="en-US"/>
              <a:t>One subhead on two lines</a:t>
            </a:r>
          </a:p>
        </p:txBody>
      </p:sp>
      <p:sp>
        <p:nvSpPr>
          <p:cNvPr id="9" name="Text Placeholder 8">
            <a:extLst>
              <a:ext uri="{FF2B5EF4-FFF2-40B4-BE49-F238E27FC236}">
                <a16:creationId xmlns:a16="http://schemas.microsoft.com/office/drawing/2014/main" id="{990A04F8-56E6-3B4E-824D-8E614727089E}"/>
              </a:ext>
            </a:extLst>
          </p:cNvPr>
          <p:cNvSpPr>
            <a:spLocks noGrp="1"/>
          </p:cNvSpPr>
          <p:nvPr>
            <p:ph type="body" sz="quarter" idx="13" hasCustomPrompt="1"/>
          </p:nvPr>
        </p:nvSpPr>
        <p:spPr>
          <a:xfrm>
            <a:off x="6619155" y="816110"/>
            <a:ext cx="4315545" cy="1190490"/>
          </a:xfrm>
        </p:spPr>
        <p:txBody>
          <a:bodyPr>
            <a:noAutofit/>
          </a:bodyPr>
          <a:lstStyle>
            <a:lvl1pPr marL="0" indent="0">
              <a:buNone/>
              <a:defRPr sz="4000">
                <a:solidFill>
                  <a:srgbClr val="FFFFFF"/>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Another subhead on two lines</a:t>
            </a:r>
            <a:endParaRPr lang="en-CA"/>
          </a:p>
        </p:txBody>
      </p:sp>
      <p:sp>
        <p:nvSpPr>
          <p:cNvPr id="8" name="Text Placeholder 7">
            <a:extLst>
              <a:ext uri="{FF2B5EF4-FFF2-40B4-BE49-F238E27FC236}">
                <a16:creationId xmlns:a16="http://schemas.microsoft.com/office/drawing/2014/main" id="{28723BEE-51F7-E94F-B993-CA886E9A616E}"/>
              </a:ext>
            </a:extLst>
          </p:cNvPr>
          <p:cNvSpPr>
            <a:spLocks noGrp="1"/>
          </p:cNvSpPr>
          <p:nvPr>
            <p:ph type="body" sz="quarter" idx="14" hasCustomPrompt="1"/>
          </p:nvPr>
        </p:nvSpPr>
        <p:spPr>
          <a:xfrm>
            <a:off x="467420" y="2197501"/>
            <a:ext cx="5082479" cy="4081462"/>
          </a:xfrm>
        </p:spPr>
        <p:txBody>
          <a:bodyPr>
            <a:noAutofit/>
          </a:bodyPr>
          <a:lstStyle>
            <a:lvl1pPr marL="285750" indent="-285750">
              <a:lnSpc>
                <a:spcPct val="110000"/>
              </a:lnSpc>
              <a:spcBef>
                <a:spcPts val="1800"/>
              </a:spcBef>
              <a:buFont typeface="Arial" panose="020B0604020202020204" pitchFamily="34" charset="0"/>
              <a:buChar char="•"/>
              <a:defRPr sz="1600">
                <a:solidFill>
                  <a:srgbClr val="333333"/>
                </a:solidFill>
              </a:defRPr>
            </a:lvl1pPr>
            <a:lvl2pPr marL="914400" indent="-457200">
              <a:buFont typeface="+mj-lt"/>
              <a:buAutoNum type="arabicPeriod"/>
              <a:defRPr/>
            </a:lvl2pPr>
            <a:lvl3pPr marL="1257300" indent="-3429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r>
              <a:rPr lang="en-US" err="1"/>
              <a:t>est</a:t>
            </a:r>
            <a:r>
              <a:rPr lang="en-US"/>
              <a:t> lorem.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r>
              <a:rPr lang="en-US"/>
              <a:t> </a:t>
            </a:r>
            <a:r>
              <a:rPr lang="en-US" err="1"/>
              <a:t>neque</a:t>
            </a:r>
            <a:r>
              <a:rPr lang="en-US"/>
              <a:t> </a:t>
            </a:r>
            <a:r>
              <a:rPr lang="en-US" err="1"/>
              <a:t>volutpat</a:t>
            </a:r>
            <a:r>
              <a:rPr lang="en-US"/>
              <a:t>. Aenean sed adipiscing diam </a:t>
            </a:r>
            <a:r>
              <a:rPr lang="en-US" err="1"/>
              <a:t>donec</a:t>
            </a:r>
            <a:r>
              <a:rPr lang="en-US"/>
              <a:t> adipiscing. </a:t>
            </a:r>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p:txBody>
      </p:sp>
      <p:sp>
        <p:nvSpPr>
          <p:cNvPr id="6" name="Text Placeholder 5">
            <a:extLst>
              <a:ext uri="{FF2B5EF4-FFF2-40B4-BE49-F238E27FC236}">
                <a16:creationId xmlns:a16="http://schemas.microsoft.com/office/drawing/2014/main" id="{302E218F-61EF-3347-8FD3-254F7F9B6AA0}"/>
              </a:ext>
            </a:extLst>
          </p:cNvPr>
          <p:cNvSpPr>
            <a:spLocks noGrp="1"/>
          </p:cNvSpPr>
          <p:nvPr>
            <p:ph type="body" sz="quarter" idx="16" hasCustomPrompt="1"/>
          </p:nvPr>
        </p:nvSpPr>
        <p:spPr>
          <a:xfrm>
            <a:off x="6619875" y="2195513"/>
            <a:ext cx="5104705" cy="4083450"/>
          </a:xfrm>
        </p:spPr>
        <p:txBody>
          <a:bodyPr>
            <a:noAutofit/>
          </a:bodyPr>
          <a:lstStyle>
            <a:lvl1pPr marL="285750" indent="-285750">
              <a:lnSpc>
                <a:spcPct val="110000"/>
              </a:lnSpc>
              <a:spcBef>
                <a:spcPts val="1800"/>
              </a:spcBef>
              <a:buFont typeface="Arial" panose="020B0604020202020204" pitchFamily="34" charset="0"/>
              <a:buChar char="•"/>
              <a:defRPr sz="1600">
                <a:solidFill>
                  <a:srgbClr val="FFFFFF"/>
                </a:solidFill>
              </a:defRPr>
            </a:lvl1pPr>
          </a:lstStyle>
          <a:p>
            <a:pPr lvl="0"/>
            <a:r>
              <a:rPr lang="en-US" err="1"/>
              <a:t>Molestie</a:t>
            </a:r>
            <a:r>
              <a:rPr lang="en-US"/>
              <a:t> </a:t>
            </a:r>
            <a:r>
              <a:rPr lang="en-US" err="1"/>
              <a:t>nunc</a:t>
            </a:r>
            <a:r>
              <a:rPr lang="en-US"/>
              <a:t> non </a:t>
            </a:r>
            <a:r>
              <a:rPr lang="en-US" err="1"/>
              <a:t>blandit</a:t>
            </a:r>
            <a:r>
              <a:rPr lang="en-US"/>
              <a:t> </a:t>
            </a:r>
            <a:r>
              <a:rPr lang="en-US" err="1"/>
              <a:t>massa</a:t>
            </a:r>
            <a:r>
              <a:rPr lang="en-US"/>
              <a:t> </a:t>
            </a:r>
            <a:r>
              <a:rPr lang="en-US" err="1"/>
              <a:t>enim</a:t>
            </a:r>
            <a:r>
              <a:rPr lang="en-US"/>
              <a:t> </a:t>
            </a:r>
            <a:r>
              <a:rPr lang="en-US" err="1"/>
              <a:t>nec</a:t>
            </a:r>
            <a:r>
              <a:rPr lang="en-US"/>
              <a:t> dui </a:t>
            </a:r>
            <a:r>
              <a:rPr lang="en-US" err="1"/>
              <a:t>nunc</a:t>
            </a:r>
            <a:r>
              <a:rPr lang="en-US"/>
              <a:t> </a:t>
            </a:r>
            <a:r>
              <a:rPr lang="en-US" err="1"/>
              <a:t>mattis</a:t>
            </a:r>
            <a:r>
              <a:rPr lang="en-US"/>
              <a:t>. </a:t>
            </a:r>
          </a:p>
          <a:p>
            <a:pPr lvl="0"/>
            <a:r>
              <a:rPr lang="en-US"/>
              <a:t>Felis </a:t>
            </a:r>
            <a:r>
              <a:rPr lang="en-US" err="1"/>
              <a:t>bibendum</a:t>
            </a:r>
            <a:r>
              <a:rPr lang="en-US"/>
              <a:t> </a:t>
            </a:r>
            <a:r>
              <a:rPr lang="en-US" err="1"/>
              <a:t>ut</a:t>
            </a:r>
            <a:r>
              <a:rPr lang="en-US"/>
              <a:t> </a:t>
            </a:r>
            <a:r>
              <a:rPr lang="en-US" err="1"/>
              <a:t>tristique</a:t>
            </a:r>
            <a:r>
              <a:rPr lang="en-US"/>
              <a:t> et </a:t>
            </a:r>
            <a:r>
              <a:rPr lang="en-US" err="1"/>
              <a:t>egestas</a:t>
            </a:r>
            <a:r>
              <a:rPr lang="en-US"/>
              <a:t> </a:t>
            </a:r>
            <a:r>
              <a:rPr lang="en-US" err="1"/>
              <a:t>quis</a:t>
            </a:r>
            <a:r>
              <a:rPr lang="en-US"/>
              <a:t> ipsum </a:t>
            </a:r>
            <a:r>
              <a:rPr lang="en-US" err="1"/>
              <a:t>suspendisse</a:t>
            </a:r>
            <a:r>
              <a:rPr lang="en-US"/>
              <a:t>. </a:t>
            </a:r>
          </a:p>
          <a:p>
            <a:pPr lvl="0"/>
            <a:r>
              <a:rPr lang="en-US"/>
              <a:t>Sed </a:t>
            </a:r>
            <a:r>
              <a:rPr lang="en-US" err="1"/>
              <a:t>blandit</a:t>
            </a:r>
            <a:r>
              <a:rPr lang="en-US"/>
              <a:t> libero </a:t>
            </a:r>
            <a:r>
              <a:rPr lang="en-US" err="1"/>
              <a:t>volutpat</a:t>
            </a:r>
            <a:r>
              <a:rPr lang="en-US"/>
              <a:t> sed. </a:t>
            </a:r>
            <a:r>
              <a:rPr lang="en-US" err="1"/>
              <a:t>Sodales</a:t>
            </a:r>
            <a:r>
              <a:rPr lang="en-US"/>
              <a:t> </a:t>
            </a:r>
            <a:r>
              <a:rPr lang="en-US" err="1"/>
              <a:t>neque</a:t>
            </a:r>
            <a:r>
              <a:rPr lang="en-US"/>
              <a:t> </a:t>
            </a:r>
            <a:r>
              <a:rPr lang="en-US" err="1"/>
              <a:t>sodales</a:t>
            </a:r>
            <a:r>
              <a:rPr lang="en-US"/>
              <a:t> </a:t>
            </a:r>
            <a:r>
              <a:rPr lang="en-US" err="1"/>
              <a:t>ut</a:t>
            </a:r>
            <a:r>
              <a:rPr lang="en-US"/>
              <a:t> </a:t>
            </a:r>
            <a:r>
              <a:rPr lang="en-US" err="1"/>
              <a:t>etiam</a:t>
            </a:r>
            <a:r>
              <a:rPr lang="en-US"/>
              <a:t> sit </a:t>
            </a:r>
            <a:r>
              <a:rPr lang="en-US" err="1"/>
              <a:t>amet</a:t>
            </a:r>
            <a:r>
              <a:rPr lang="en-US"/>
              <a:t>. </a:t>
            </a:r>
          </a:p>
          <a:p>
            <a:pPr lvl="0"/>
            <a:r>
              <a:rPr lang="en-US" err="1"/>
              <a:t>Turpis</a:t>
            </a:r>
            <a:r>
              <a:rPr lang="en-US"/>
              <a:t> </a:t>
            </a:r>
            <a:r>
              <a:rPr lang="en-US" err="1"/>
              <a:t>tincidunt</a:t>
            </a:r>
            <a:r>
              <a:rPr lang="en-US"/>
              <a:t> id </a:t>
            </a:r>
            <a:r>
              <a:rPr lang="en-US" err="1"/>
              <a:t>aliquet</a:t>
            </a:r>
            <a:r>
              <a:rPr lang="en-US"/>
              <a:t> </a:t>
            </a:r>
            <a:r>
              <a:rPr lang="en-US" err="1"/>
              <a:t>risus</a:t>
            </a:r>
            <a:r>
              <a:rPr lang="en-US"/>
              <a:t>. Morbi </a:t>
            </a:r>
            <a:r>
              <a:rPr lang="en-US" err="1"/>
              <a:t>tristique</a:t>
            </a:r>
            <a:r>
              <a:rPr lang="en-US"/>
              <a:t> </a:t>
            </a:r>
            <a:r>
              <a:rPr lang="en-US" err="1"/>
              <a:t>senectus</a:t>
            </a:r>
            <a:r>
              <a:rPr lang="en-US"/>
              <a:t> et </a:t>
            </a:r>
            <a:r>
              <a:rPr lang="en-US" err="1"/>
              <a:t>netus</a:t>
            </a:r>
            <a:r>
              <a:rPr lang="en-US"/>
              <a:t> et </a:t>
            </a:r>
            <a:r>
              <a:rPr lang="en-US" err="1"/>
              <a:t>malesuada</a:t>
            </a:r>
            <a:r>
              <a:rPr lang="en-US"/>
              <a:t>. </a:t>
            </a:r>
          </a:p>
          <a:p>
            <a:pPr lvl="0"/>
            <a:r>
              <a:rPr lang="en-US" err="1"/>
              <a:t>Accumsan</a:t>
            </a:r>
            <a:r>
              <a:rPr lang="en-US"/>
              <a:t> </a:t>
            </a:r>
            <a:r>
              <a:rPr lang="en-US" err="1"/>
              <a:t>lacus</a:t>
            </a:r>
            <a:r>
              <a:rPr lang="en-US"/>
              <a:t> vel </a:t>
            </a:r>
            <a:r>
              <a:rPr lang="en-US" err="1"/>
              <a:t>facilisis</a:t>
            </a:r>
            <a:r>
              <a:rPr lang="en-US"/>
              <a:t> </a:t>
            </a:r>
            <a:r>
              <a:rPr lang="en-US" err="1"/>
              <a:t>volutpat</a:t>
            </a:r>
            <a:r>
              <a:rPr lang="en-US"/>
              <a:t> </a:t>
            </a:r>
            <a:r>
              <a:rPr lang="en-US" err="1"/>
              <a:t>est</a:t>
            </a:r>
            <a:r>
              <a:rPr lang="en-US"/>
              <a:t> </a:t>
            </a:r>
            <a:r>
              <a:rPr lang="en-US" err="1"/>
              <a:t>velit</a:t>
            </a:r>
            <a:r>
              <a:rPr lang="en-US"/>
              <a:t> </a:t>
            </a:r>
            <a:r>
              <a:rPr lang="en-US" err="1"/>
              <a:t>egestas</a:t>
            </a:r>
            <a:r>
              <a:rPr lang="en-US"/>
              <a:t> dui. </a:t>
            </a:r>
            <a:r>
              <a:rPr lang="en-US" err="1"/>
              <a:t>Elementum</a:t>
            </a:r>
            <a:r>
              <a:rPr lang="en-US"/>
              <a:t> tempus </a:t>
            </a:r>
            <a:r>
              <a:rPr lang="en-US" err="1"/>
              <a:t>egestas</a:t>
            </a:r>
            <a:r>
              <a:rPr lang="en-US"/>
              <a:t> sed sed </a:t>
            </a:r>
            <a:r>
              <a:rPr lang="en-US" err="1"/>
              <a:t>risus</a:t>
            </a:r>
            <a:r>
              <a:rPr lang="en-US"/>
              <a:t>.</a:t>
            </a:r>
          </a:p>
        </p:txBody>
      </p:sp>
    </p:spTree>
    <p:extLst>
      <p:ext uri="{BB962C8B-B14F-4D97-AF65-F5344CB8AC3E}">
        <p14:creationId xmlns:p14="http://schemas.microsoft.com/office/powerpoint/2010/main" val="12788180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wo categories (reversed)">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4EF56B-BA64-9B43-8A0B-60A365D0D31B}"/>
              </a:ext>
            </a:extLst>
          </p:cNvPr>
          <p:cNvSpPr/>
          <p:nvPr userDrawn="1"/>
        </p:nvSpPr>
        <p:spPr>
          <a:xfrm>
            <a:off x="-39143" y="0"/>
            <a:ext cx="60956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cotia" panose="020F0502020204030204"/>
              <a:ea typeface="+mn-ea"/>
              <a:cs typeface="+mn-cs"/>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1" y="816110"/>
            <a:ext cx="4053779" cy="1190490"/>
          </a:xfrm>
        </p:spPr>
        <p:txBody>
          <a:bodyPr anchor="t">
            <a:noAutofit/>
          </a:bodyPr>
          <a:lstStyle>
            <a:lvl1pPr>
              <a:defRPr>
                <a:solidFill>
                  <a:srgbClr val="333333"/>
                </a:solidFill>
              </a:defRPr>
            </a:lvl1pPr>
          </a:lstStyle>
          <a:p>
            <a:r>
              <a:rPr lang="en-US"/>
              <a:t>One subhead on two lines</a:t>
            </a:r>
          </a:p>
        </p:txBody>
      </p:sp>
      <p:sp>
        <p:nvSpPr>
          <p:cNvPr id="9" name="Text Placeholder 8">
            <a:extLst>
              <a:ext uri="{FF2B5EF4-FFF2-40B4-BE49-F238E27FC236}">
                <a16:creationId xmlns:a16="http://schemas.microsoft.com/office/drawing/2014/main" id="{990A04F8-56E6-3B4E-824D-8E614727089E}"/>
              </a:ext>
            </a:extLst>
          </p:cNvPr>
          <p:cNvSpPr>
            <a:spLocks noGrp="1"/>
          </p:cNvSpPr>
          <p:nvPr>
            <p:ph type="body" sz="quarter" idx="13" hasCustomPrompt="1"/>
          </p:nvPr>
        </p:nvSpPr>
        <p:spPr>
          <a:xfrm>
            <a:off x="6619155" y="816110"/>
            <a:ext cx="4315545" cy="1190490"/>
          </a:xfrm>
        </p:spPr>
        <p:txBody>
          <a:bodyPr>
            <a:noAutofit/>
          </a:bodyPr>
          <a:lstStyle>
            <a:lvl1pPr marL="0" indent="0">
              <a:buNone/>
              <a:defRPr sz="40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Another subhead on two lines</a:t>
            </a:r>
            <a:endParaRPr lang="en-CA"/>
          </a:p>
        </p:txBody>
      </p:sp>
      <p:sp>
        <p:nvSpPr>
          <p:cNvPr id="8" name="Text Placeholder 7">
            <a:extLst>
              <a:ext uri="{FF2B5EF4-FFF2-40B4-BE49-F238E27FC236}">
                <a16:creationId xmlns:a16="http://schemas.microsoft.com/office/drawing/2014/main" id="{28723BEE-51F7-E94F-B993-CA886E9A616E}"/>
              </a:ext>
            </a:extLst>
          </p:cNvPr>
          <p:cNvSpPr>
            <a:spLocks noGrp="1"/>
          </p:cNvSpPr>
          <p:nvPr>
            <p:ph type="body" sz="quarter" idx="14" hasCustomPrompt="1"/>
          </p:nvPr>
        </p:nvSpPr>
        <p:spPr>
          <a:xfrm>
            <a:off x="467420" y="2197501"/>
            <a:ext cx="5082479" cy="4081462"/>
          </a:xfrm>
        </p:spPr>
        <p:txBody>
          <a:bodyPr>
            <a:noAutofit/>
          </a:bodyPr>
          <a:lstStyle>
            <a:lvl1pPr marL="285750" indent="-285750">
              <a:lnSpc>
                <a:spcPct val="110000"/>
              </a:lnSpc>
              <a:spcBef>
                <a:spcPts val="1800"/>
              </a:spcBef>
              <a:buFont typeface="Arial" panose="020B0604020202020204" pitchFamily="34" charset="0"/>
              <a:buChar char="•"/>
              <a:defRPr sz="1600">
                <a:solidFill>
                  <a:srgbClr val="333333"/>
                </a:solidFill>
              </a:defRPr>
            </a:lvl1pPr>
            <a:lvl2pPr marL="914400" indent="-457200">
              <a:buFont typeface="+mj-lt"/>
              <a:buAutoNum type="arabicPeriod"/>
              <a:defRPr/>
            </a:lvl2pPr>
            <a:lvl3pPr marL="1257300" indent="-3429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r>
              <a:rPr lang="en-US" err="1"/>
              <a:t>est</a:t>
            </a:r>
            <a:r>
              <a:rPr lang="en-US"/>
              <a:t> lorem.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r>
              <a:rPr lang="en-US"/>
              <a:t> </a:t>
            </a:r>
            <a:r>
              <a:rPr lang="en-US" err="1"/>
              <a:t>neque</a:t>
            </a:r>
            <a:r>
              <a:rPr lang="en-US"/>
              <a:t> </a:t>
            </a:r>
            <a:r>
              <a:rPr lang="en-US" err="1"/>
              <a:t>volutpat</a:t>
            </a:r>
            <a:r>
              <a:rPr lang="en-US"/>
              <a:t>. Aenean sed adipiscing diam </a:t>
            </a:r>
            <a:r>
              <a:rPr lang="en-US" err="1"/>
              <a:t>donec</a:t>
            </a:r>
            <a:r>
              <a:rPr lang="en-US"/>
              <a:t> adipiscing. </a:t>
            </a:r>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p:txBody>
      </p:sp>
      <p:sp>
        <p:nvSpPr>
          <p:cNvPr id="6" name="Text Placeholder 5">
            <a:extLst>
              <a:ext uri="{FF2B5EF4-FFF2-40B4-BE49-F238E27FC236}">
                <a16:creationId xmlns:a16="http://schemas.microsoft.com/office/drawing/2014/main" id="{302E218F-61EF-3347-8FD3-254F7F9B6AA0}"/>
              </a:ext>
            </a:extLst>
          </p:cNvPr>
          <p:cNvSpPr>
            <a:spLocks noGrp="1"/>
          </p:cNvSpPr>
          <p:nvPr>
            <p:ph type="body" sz="quarter" idx="16" hasCustomPrompt="1"/>
          </p:nvPr>
        </p:nvSpPr>
        <p:spPr>
          <a:xfrm>
            <a:off x="6619875" y="2195513"/>
            <a:ext cx="5104705" cy="4083450"/>
          </a:xfrm>
        </p:spPr>
        <p:txBody>
          <a:bodyPr>
            <a:noAutofit/>
          </a:bodyPr>
          <a:lstStyle>
            <a:lvl1pPr marL="285750" indent="-285750">
              <a:lnSpc>
                <a:spcPct val="110000"/>
              </a:lnSpc>
              <a:spcBef>
                <a:spcPts val="1800"/>
              </a:spcBef>
              <a:buFont typeface="Arial" panose="020B0604020202020204" pitchFamily="34" charset="0"/>
              <a:buChar char="•"/>
              <a:defRPr sz="1600">
                <a:solidFill>
                  <a:schemeClr val="bg1"/>
                </a:solidFill>
              </a:defRPr>
            </a:lvl1pPr>
          </a:lstStyle>
          <a:p>
            <a:pPr lvl="0"/>
            <a:r>
              <a:rPr lang="en-US" err="1"/>
              <a:t>Molestie</a:t>
            </a:r>
            <a:r>
              <a:rPr lang="en-US"/>
              <a:t> </a:t>
            </a:r>
            <a:r>
              <a:rPr lang="en-US" err="1"/>
              <a:t>nunc</a:t>
            </a:r>
            <a:r>
              <a:rPr lang="en-US"/>
              <a:t> non </a:t>
            </a:r>
            <a:r>
              <a:rPr lang="en-US" err="1"/>
              <a:t>blandit</a:t>
            </a:r>
            <a:r>
              <a:rPr lang="en-US"/>
              <a:t> </a:t>
            </a:r>
            <a:r>
              <a:rPr lang="en-US" err="1"/>
              <a:t>massa</a:t>
            </a:r>
            <a:r>
              <a:rPr lang="en-US"/>
              <a:t> </a:t>
            </a:r>
            <a:r>
              <a:rPr lang="en-US" err="1"/>
              <a:t>enim</a:t>
            </a:r>
            <a:r>
              <a:rPr lang="en-US"/>
              <a:t> </a:t>
            </a:r>
            <a:r>
              <a:rPr lang="en-US" err="1"/>
              <a:t>nec</a:t>
            </a:r>
            <a:r>
              <a:rPr lang="en-US"/>
              <a:t> dui </a:t>
            </a:r>
            <a:r>
              <a:rPr lang="en-US" err="1"/>
              <a:t>nunc</a:t>
            </a:r>
            <a:r>
              <a:rPr lang="en-US"/>
              <a:t> </a:t>
            </a:r>
            <a:r>
              <a:rPr lang="en-US" err="1"/>
              <a:t>mattis</a:t>
            </a:r>
            <a:r>
              <a:rPr lang="en-US"/>
              <a:t>. </a:t>
            </a:r>
          </a:p>
          <a:p>
            <a:pPr lvl="0"/>
            <a:r>
              <a:rPr lang="en-US"/>
              <a:t>Felis </a:t>
            </a:r>
            <a:r>
              <a:rPr lang="en-US" err="1"/>
              <a:t>bibendum</a:t>
            </a:r>
            <a:r>
              <a:rPr lang="en-US"/>
              <a:t> </a:t>
            </a:r>
            <a:r>
              <a:rPr lang="en-US" err="1"/>
              <a:t>ut</a:t>
            </a:r>
            <a:r>
              <a:rPr lang="en-US"/>
              <a:t> </a:t>
            </a:r>
            <a:r>
              <a:rPr lang="en-US" err="1"/>
              <a:t>tristique</a:t>
            </a:r>
            <a:r>
              <a:rPr lang="en-US"/>
              <a:t> et </a:t>
            </a:r>
            <a:r>
              <a:rPr lang="en-US" err="1"/>
              <a:t>egestas</a:t>
            </a:r>
            <a:r>
              <a:rPr lang="en-US"/>
              <a:t> </a:t>
            </a:r>
            <a:r>
              <a:rPr lang="en-US" err="1"/>
              <a:t>quis</a:t>
            </a:r>
            <a:r>
              <a:rPr lang="en-US"/>
              <a:t> ipsum </a:t>
            </a:r>
            <a:r>
              <a:rPr lang="en-US" err="1"/>
              <a:t>suspendisse</a:t>
            </a:r>
            <a:r>
              <a:rPr lang="en-US"/>
              <a:t>. </a:t>
            </a:r>
          </a:p>
          <a:p>
            <a:pPr lvl="0"/>
            <a:r>
              <a:rPr lang="en-US"/>
              <a:t>Sed </a:t>
            </a:r>
            <a:r>
              <a:rPr lang="en-US" err="1"/>
              <a:t>blandit</a:t>
            </a:r>
            <a:r>
              <a:rPr lang="en-US"/>
              <a:t> libero </a:t>
            </a:r>
            <a:r>
              <a:rPr lang="en-US" err="1"/>
              <a:t>volutpat</a:t>
            </a:r>
            <a:r>
              <a:rPr lang="en-US"/>
              <a:t> sed. </a:t>
            </a:r>
            <a:r>
              <a:rPr lang="en-US" err="1"/>
              <a:t>Sodales</a:t>
            </a:r>
            <a:r>
              <a:rPr lang="en-US"/>
              <a:t> </a:t>
            </a:r>
            <a:r>
              <a:rPr lang="en-US" err="1"/>
              <a:t>neque</a:t>
            </a:r>
            <a:r>
              <a:rPr lang="en-US"/>
              <a:t> </a:t>
            </a:r>
            <a:r>
              <a:rPr lang="en-US" err="1"/>
              <a:t>sodales</a:t>
            </a:r>
            <a:r>
              <a:rPr lang="en-US"/>
              <a:t> </a:t>
            </a:r>
            <a:r>
              <a:rPr lang="en-US" err="1"/>
              <a:t>ut</a:t>
            </a:r>
            <a:r>
              <a:rPr lang="en-US"/>
              <a:t> </a:t>
            </a:r>
            <a:r>
              <a:rPr lang="en-US" err="1"/>
              <a:t>etiam</a:t>
            </a:r>
            <a:r>
              <a:rPr lang="en-US"/>
              <a:t> sit </a:t>
            </a:r>
            <a:r>
              <a:rPr lang="en-US" err="1"/>
              <a:t>amet</a:t>
            </a:r>
            <a:r>
              <a:rPr lang="en-US"/>
              <a:t>. </a:t>
            </a:r>
          </a:p>
          <a:p>
            <a:pPr lvl="0"/>
            <a:r>
              <a:rPr lang="en-US" err="1"/>
              <a:t>Turpis</a:t>
            </a:r>
            <a:r>
              <a:rPr lang="en-US"/>
              <a:t> </a:t>
            </a:r>
            <a:r>
              <a:rPr lang="en-US" err="1"/>
              <a:t>tincidunt</a:t>
            </a:r>
            <a:r>
              <a:rPr lang="en-US"/>
              <a:t> id </a:t>
            </a:r>
            <a:r>
              <a:rPr lang="en-US" err="1"/>
              <a:t>aliquet</a:t>
            </a:r>
            <a:r>
              <a:rPr lang="en-US"/>
              <a:t> </a:t>
            </a:r>
            <a:r>
              <a:rPr lang="en-US" err="1"/>
              <a:t>risus</a:t>
            </a:r>
            <a:r>
              <a:rPr lang="en-US"/>
              <a:t>. Morbi </a:t>
            </a:r>
            <a:r>
              <a:rPr lang="en-US" err="1"/>
              <a:t>tristique</a:t>
            </a:r>
            <a:r>
              <a:rPr lang="en-US"/>
              <a:t> </a:t>
            </a:r>
            <a:r>
              <a:rPr lang="en-US" err="1"/>
              <a:t>senectus</a:t>
            </a:r>
            <a:r>
              <a:rPr lang="en-US"/>
              <a:t> et </a:t>
            </a:r>
            <a:r>
              <a:rPr lang="en-US" err="1"/>
              <a:t>netus</a:t>
            </a:r>
            <a:r>
              <a:rPr lang="en-US"/>
              <a:t> et </a:t>
            </a:r>
            <a:r>
              <a:rPr lang="en-US" err="1"/>
              <a:t>malesuada</a:t>
            </a:r>
            <a:r>
              <a:rPr lang="en-US"/>
              <a:t>. </a:t>
            </a:r>
          </a:p>
          <a:p>
            <a:pPr lvl="0"/>
            <a:r>
              <a:rPr lang="en-US" err="1"/>
              <a:t>Accumsan</a:t>
            </a:r>
            <a:r>
              <a:rPr lang="en-US"/>
              <a:t> </a:t>
            </a:r>
            <a:r>
              <a:rPr lang="en-US" err="1"/>
              <a:t>lacus</a:t>
            </a:r>
            <a:r>
              <a:rPr lang="en-US"/>
              <a:t> vel </a:t>
            </a:r>
            <a:r>
              <a:rPr lang="en-US" err="1"/>
              <a:t>facilisis</a:t>
            </a:r>
            <a:r>
              <a:rPr lang="en-US"/>
              <a:t> </a:t>
            </a:r>
            <a:r>
              <a:rPr lang="en-US" err="1"/>
              <a:t>volutpat</a:t>
            </a:r>
            <a:r>
              <a:rPr lang="en-US"/>
              <a:t> </a:t>
            </a:r>
            <a:r>
              <a:rPr lang="en-US" err="1"/>
              <a:t>est</a:t>
            </a:r>
            <a:r>
              <a:rPr lang="en-US"/>
              <a:t> </a:t>
            </a:r>
            <a:r>
              <a:rPr lang="en-US" err="1"/>
              <a:t>velit</a:t>
            </a:r>
            <a:r>
              <a:rPr lang="en-US"/>
              <a:t> </a:t>
            </a:r>
            <a:r>
              <a:rPr lang="en-US" err="1"/>
              <a:t>egestas</a:t>
            </a:r>
            <a:r>
              <a:rPr lang="en-US"/>
              <a:t> dui. </a:t>
            </a:r>
            <a:r>
              <a:rPr lang="en-US" err="1"/>
              <a:t>Elementum</a:t>
            </a:r>
            <a:r>
              <a:rPr lang="en-US"/>
              <a:t> tempus </a:t>
            </a:r>
            <a:r>
              <a:rPr lang="en-US" err="1"/>
              <a:t>egestas</a:t>
            </a:r>
            <a:r>
              <a:rPr lang="en-US"/>
              <a:t> sed sed </a:t>
            </a:r>
            <a:r>
              <a:rPr lang="en-US" err="1"/>
              <a:t>risus</a:t>
            </a:r>
            <a:r>
              <a:rPr lang="en-US"/>
              <a:t>.</a:t>
            </a:r>
          </a:p>
        </p:txBody>
      </p:sp>
    </p:spTree>
    <p:extLst>
      <p:ext uri="{BB962C8B-B14F-4D97-AF65-F5344CB8AC3E}">
        <p14:creationId xmlns:p14="http://schemas.microsoft.com/office/powerpoint/2010/main" val="4558602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 subheads - full colour bg">
    <p:bg>
      <p:bgPr>
        <a:solidFill>
          <a:srgbClr val="7849B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21" name="Text Placeholder 3">
            <a:extLst>
              <a:ext uri="{FF2B5EF4-FFF2-40B4-BE49-F238E27FC236}">
                <a16:creationId xmlns:a16="http://schemas.microsoft.com/office/drawing/2014/main" id="{0B4AB324-FEB4-8349-8411-B11639745BEF}"/>
              </a:ext>
            </a:extLst>
          </p:cNvPr>
          <p:cNvSpPr>
            <a:spLocks noGrp="1"/>
          </p:cNvSpPr>
          <p:nvPr>
            <p:ph type="body" sz="quarter" idx="12" hasCustomPrompt="1"/>
          </p:nvPr>
        </p:nvSpPr>
        <p:spPr>
          <a:xfrm>
            <a:off x="500039"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495327"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3" name="Text Placeholder 3">
            <a:extLst>
              <a:ext uri="{FF2B5EF4-FFF2-40B4-BE49-F238E27FC236}">
                <a16:creationId xmlns:a16="http://schemas.microsoft.com/office/drawing/2014/main" id="{9DC26C9D-C0FC-D347-8690-4D2ECD15B5B7}"/>
              </a:ext>
            </a:extLst>
          </p:cNvPr>
          <p:cNvSpPr>
            <a:spLocks noGrp="1"/>
          </p:cNvSpPr>
          <p:nvPr>
            <p:ph type="body" sz="quarter" idx="14" hasCustomPrompt="1"/>
          </p:nvPr>
        </p:nvSpPr>
        <p:spPr>
          <a:xfrm>
            <a:off x="2785133"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2780421"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5" name="Text Placeholder 3">
            <a:extLst>
              <a:ext uri="{FF2B5EF4-FFF2-40B4-BE49-F238E27FC236}">
                <a16:creationId xmlns:a16="http://schemas.microsoft.com/office/drawing/2014/main" id="{2462A25C-EF2B-A940-9E21-E8FD80C46782}"/>
              </a:ext>
            </a:extLst>
          </p:cNvPr>
          <p:cNvSpPr>
            <a:spLocks noGrp="1"/>
          </p:cNvSpPr>
          <p:nvPr>
            <p:ph type="body" sz="quarter" idx="16" hasCustomPrompt="1"/>
          </p:nvPr>
        </p:nvSpPr>
        <p:spPr>
          <a:xfrm>
            <a:off x="5070227"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5065515"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7" name="Text Placeholder 3">
            <a:extLst>
              <a:ext uri="{FF2B5EF4-FFF2-40B4-BE49-F238E27FC236}">
                <a16:creationId xmlns:a16="http://schemas.microsoft.com/office/drawing/2014/main" id="{C1186DC9-7482-3246-8288-079C7FC70FFA}"/>
              </a:ext>
            </a:extLst>
          </p:cNvPr>
          <p:cNvSpPr>
            <a:spLocks noGrp="1"/>
          </p:cNvSpPr>
          <p:nvPr>
            <p:ph type="body" sz="quarter" idx="18" hasCustomPrompt="1"/>
          </p:nvPr>
        </p:nvSpPr>
        <p:spPr>
          <a:xfrm>
            <a:off x="7360033"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8" name="Text Placeholder 2">
            <a:extLst>
              <a:ext uri="{FF2B5EF4-FFF2-40B4-BE49-F238E27FC236}">
                <a16:creationId xmlns:a16="http://schemas.microsoft.com/office/drawing/2014/main" id="{A1AD0A15-F7E8-CA46-B543-2CAC6CE1B469}"/>
              </a:ext>
            </a:extLst>
          </p:cNvPr>
          <p:cNvSpPr>
            <a:spLocks noGrp="1"/>
          </p:cNvSpPr>
          <p:nvPr>
            <p:ph type="body" sz="quarter" idx="19" hasCustomPrompt="1"/>
          </p:nvPr>
        </p:nvSpPr>
        <p:spPr>
          <a:xfrm>
            <a:off x="7355321"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9" name="Text Placeholder 3">
            <a:extLst>
              <a:ext uri="{FF2B5EF4-FFF2-40B4-BE49-F238E27FC236}">
                <a16:creationId xmlns:a16="http://schemas.microsoft.com/office/drawing/2014/main" id="{EF130F05-18BE-214F-A12F-7AB25486E1F9}"/>
              </a:ext>
            </a:extLst>
          </p:cNvPr>
          <p:cNvSpPr>
            <a:spLocks noGrp="1"/>
          </p:cNvSpPr>
          <p:nvPr>
            <p:ph type="body" sz="quarter" idx="20" hasCustomPrompt="1"/>
          </p:nvPr>
        </p:nvSpPr>
        <p:spPr>
          <a:xfrm>
            <a:off x="9654551" y="2755675"/>
            <a:ext cx="2075236" cy="268811"/>
          </a:xfrm>
        </p:spPr>
        <p:txBody>
          <a:bodyPr>
            <a:noAutofit/>
          </a:bodyPr>
          <a:lstStyle>
            <a:lvl1pPr marL="0" indent="0">
              <a:spcBef>
                <a:spcPts val="0"/>
              </a:spcBef>
              <a:buNone/>
              <a:defRPr sz="16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649839" y="316329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12920936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 subheads - Colour">
    <p:bg>
      <p:bgPr>
        <a:solidFill>
          <a:srgbClr val="FB6330"/>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3B10F7-8216-9E40-AC4C-935B5F697249}"/>
              </a:ext>
            </a:extLst>
          </p:cNvPr>
          <p:cNvSpPr/>
          <p:nvPr userDrawn="1"/>
        </p:nvSpPr>
        <p:spPr>
          <a:xfrm flipV="1">
            <a:off x="397" y="1649248"/>
            <a:ext cx="12191207" cy="520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21" name="Text Placeholder 3">
            <a:extLst>
              <a:ext uri="{FF2B5EF4-FFF2-40B4-BE49-F238E27FC236}">
                <a16:creationId xmlns:a16="http://schemas.microsoft.com/office/drawing/2014/main" id="{0B4AB324-FEB4-8349-8411-B11639745BEF}"/>
              </a:ext>
            </a:extLst>
          </p:cNvPr>
          <p:cNvSpPr>
            <a:spLocks noGrp="1"/>
          </p:cNvSpPr>
          <p:nvPr>
            <p:ph type="body" sz="quarter" idx="12" hasCustomPrompt="1"/>
          </p:nvPr>
        </p:nvSpPr>
        <p:spPr>
          <a:xfrm>
            <a:off x="500039"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495327"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3" name="Text Placeholder 3">
            <a:extLst>
              <a:ext uri="{FF2B5EF4-FFF2-40B4-BE49-F238E27FC236}">
                <a16:creationId xmlns:a16="http://schemas.microsoft.com/office/drawing/2014/main" id="{9DC26C9D-C0FC-D347-8690-4D2ECD15B5B7}"/>
              </a:ext>
            </a:extLst>
          </p:cNvPr>
          <p:cNvSpPr>
            <a:spLocks noGrp="1"/>
          </p:cNvSpPr>
          <p:nvPr>
            <p:ph type="body" sz="quarter" idx="14" hasCustomPrompt="1"/>
          </p:nvPr>
        </p:nvSpPr>
        <p:spPr>
          <a:xfrm>
            <a:off x="2785133"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2780421"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5" name="Text Placeholder 3">
            <a:extLst>
              <a:ext uri="{FF2B5EF4-FFF2-40B4-BE49-F238E27FC236}">
                <a16:creationId xmlns:a16="http://schemas.microsoft.com/office/drawing/2014/main" id="{2462A25C-EF2B-A940-9E21-E8FD80C46782}"/>
              </a:ext>
            </a:extLst>
          </p:cNvPr>
          <p:cNvSpPr>
            <a:spLocks noGrp="1"/>
          </p:cNvSpPr>
          <p:nvPr>
            <p:ph type="body" sz="quarter" idx="16" hasCustomPrompt="1"/>
          </p:nvPr>
        </p:nvSpPr>
        <p:spPr>
          <a:xfrm>
            <a:off x="5070227"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5065515"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7" name="Text Placeholder 3">
            <a:extLst>
              <a:ext uri="{FF2B5EF4-FFF2-40B4-BE49-F238E27FC236}">
                <a16:creationId xmlns:a16="http://schemas.microsoft.com/office/drawing/2014/main" id="{C1186DC9-7482-3246-8288-079C7FC70FFA}"/>
              </a:ext>
            </a:extLst>
          </p:cNvPr>
          <p:cNvSpPr>
            <a:spLocks noGrp="1"/>
          </p:cNvSpPr>
          <p:nvPr>
            <p:ph type="body" sz="quarter" idx="18" hasCustomPrompt="1"/>
          </p:nvPr>
        </p:nvSpPr>
        <p:spPr>
          <a:xfrm>
            <a:off x="7360033"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8" name="Text Placeholder 2">
            <a:extLst>
              <a:ext uri="{FF2B5EF4-FFF2-40B4-BE49-F238E27FC236}">
                <a16:creationId xmlns:a16="http://schemas.microsoft.com/office/drawing/2014/main" id="{A1AD0A15-F7E8-CA46-B543-2CAC6CE1B469}"/>
              </a:ext>
            </a:extLst>
          </p:cNvPr>
          <p:cNvSpPr>
            <a:spLocks noGrp="1"/>
          </p:cNvSpPr>
          <p:nvPr>
            <p:ph type="body" sz="quarter" idx="19" hasCustomPrompt="1"/>
          </p:nvPr>
        </p:nvSpPr>
        <p:spPr>
          <a:xfrm>
            <a:off x="7355321"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9" name="Text Placeholder 3">
            <a:extLst>
              <a:ext uri="{FF2B5EF4-FFF2-40B4-BE49-F238E27FC236}">
                <a16:creationId xmlns:a16="http://schemas.microsoft.com/office/drawing/2014/main" id="{EF130F05-18BE-214F-A12F-7AB25486E1F9}"/>
              </a:ext>
            </a:extLst>
          </p:cNvPr>
          <p:cNvSpPr>
            <a:spLocks noGrp="1"/>
          </p:cNvSpPr>
          <p:nvPr>
            <p:ph type="body" sz="quarter" idx="20" hasCustomPrompt="1"/>
          </p:nvPr>
        </p:nvSpPr>
        <p:spPr>
          <a:xfrm>
            <a:off x="9654551" y="3427185"/>
            <a:ext cx="2075236" cy="268811"/>
          </a:xfrm>
        </p:spPr>
        <p:txBody>
          <a:bodyPr>
            <a:noAutofit/>
          </a:bodyPr>
          <a:lstStyle>
            <a:lvl1pPr marL="0" indent="0">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649839" y="3834807"/>
            <a:ext cx="2072468"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p>
          <a:p>
            <a:pPr lvl="0"/>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35640484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subheads - Colour">
    <p:bg>
      <p:bgPr>
        <a:solidFill>
          <a:srgbClr val="13846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3B10F7-8216-9E40-AC4C-935B5F697249}"/>
              </a:ext>
            </a:extLst>
          </p:cNvPr>
          <p:cNvSpPr/>
          <p:nvPr userDrawn="1"/>
        </p:nvSpPr>
        <p:spPr>
          <a:xfrm flipV="1">
            <a:off x="397" y="1649248"/>
            <a:ext cx="12191207" cy="520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21" name="Text Placeholder 3">
            <a:extLst>
              <a:ext uri="{FF2B5EF4-FFF2-40B4-BE49-F238E27FC236}">
                <a16:creationId xmlns:a16="http://schemas.microsoft.com/office/drawing/2014/main" id="{0B4AB324-FEB4-8349-8411-B11639745BEF}"/>
              </a:ext>
            </a:extLst>
          </p:cNvPr>
          <p:cNvSpPr>
            <a:spLocks noGrp="1"/>
          </p:cNvSpPr>
          <p:nvPr>
            <p:ph type="body" sz="quarter" idx="12" hasCustomPrompt="1"/>
          </p:nvPr>
        </p:nvSpPr>
        <p:spPr>
          <a:xfrm>
            <a:off x="500038" y="4216181"/>
            <a:ext cx="2430153"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495326" y="4603024"/>
            <a:ext cx="2430153" cy="1533659"/>
          </a:xfrm>
        </p:spPr>
        <p:txBody>
          <a:bodyPr>
            <a:noAutofit/>
          </a:bodyPr>
          <a:lstStyle>
            <a:lvl1pPr marL="0" indent="0">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p:txBody>
      </p:sp>
      <p:sp>
        <p:nvSpPr>
          <p:cNvPr id="23" name="Text Placeholder 3">
            <a:extLst>
              <a:ext uri="{FF2B5EF4-FFF2-40B4-BE49-F238E27FC236}">
                <a16:creationId xmlns:a16="http://schemas.microsoft.com/office/drawing/2014/main" id="{9DC26C9D-C0FC-D347-8690-4D2ECD15B5B7}"/>
              </a:ext>
            </a:extLst>
          </p:cNvPr>
          <p:cNvSpPr>
            <a:spLocks noGrp="1"/>
          </p:cNvSpPr>
          <p:nvPr>
            <p:ph type="body" sz="quarter" idx="14" hasCustomPrompt="1"/>
          </p:nvPr>
        </p:nvSpPr>
        <p:spPr>
          <a:xfrm>
            <a:off x="3423743" y="4216181"/>
            <a:ext cx="2419856"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3417217" y="4603024"/>
            <a:ext cx="2419856" cy="1533658"/>
          </a:xfrm>
        </p:spPr>
        <p:txBody>
          <a:bodyPr>
            <a:noAutofit/>
          </a:bodyPr>
          <a:lstStyle>
            <a:lvl1pPr marL="0" indent="0">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p:txBody>
      </p:sp>
      <p:sp>
        <p:nvSpPr>
          <p:cNvPr id="25" name="Text Placeholder 3">
            <a:extLst>
              <a:ext uri="{FF2B5EF4-FFF2-40B4-BE49-F238E27FC236}">
                <a16:creationId xmlns:a16="http://schemas.microsoft.com/office/drawing/2014/main" id="{2462A25C-EF2B-A940-9E21-E8FD80C46782}"/>
              </a:ext>
            </a:extLst>
          </p:cNvPr>
          <p:cNvSpPr>
            <a:spLocks noGrp="1"/>
          </p:cNvSpPr>
          <p:nvPr>
            <p:ph type="body" sz="quarter" idx="16" hasCustomPrompt="1"/>
          </p:nvPr>
        </p:nvSpPr>
        <p:spPr>
          <a:xfrm>
            <a:off x="6385273" y="4216181"/>
            <a:ext cx="2415144"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6380561" y="4603024"/>
            <a:ext cx="2419856" cy="1533658"/>
          </a:xfrm>
        </p:spPr>
        <p:txBody>
          <a:bodyPr>
            <a:noAutofit/>
          </a:bodyPr>
          <a:lstStyle>
            <a:lvl1pPr marL="0" indent="0">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p:txBody>
      </p:sp>
      <p:sp>
        <p:nvSpPr>
          <p:cNvPr id="29" name="Text Placeholder 3">
            <a:extLst>
              <a:ext uri="{FF2B5EF4-FFF2-40B4-BE49-F238E27FC236}">
                <a16:creationId xmlns:a16="http://schemas.microsoft.com/office/drawing/2014/main" id="{EF130F05-18BE-214F-A12F-7AB25486E1F9}"/>
              </a:ext>
            </a:extLst>
          </p:cNvPr>
          <p:cNvSpPr>
            <a:spLocks noGrp="1"/>
          </p:cNvSpPr>
          <p:nvPr>
            <p:ph type="body" sz="quarter" idx="20" hasCustomPrompt="1"/>
          </p:nvPr>
        </p:nvSpPr>
        <p:spPr>
          <a:xfrm>
            <a:off x="9298681" y="4216181"/>
            <a:ext cx="2393282" cy="437643"/>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 goes here and can be two lines</a:t>
            </a:r>
            <a:endParaRPr lang="en-CA"/>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298679" y="4829390"/>
            <a:ext cx="2419857" cy="1307292"/>
          </a:xfrm>
        </p:spPr>
        <p:txBody>
          <a:bodyPr>
            <a:noAutofit/>
          </a:bodyPr>
          <a:lstStyle>
            <a:lvl1pPr marL="0" indent="0">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1848261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Bold header (top)">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96A3669-19CE-AC4A-8067-206DCD16244A}"/>
              </a:ext>
            </a:extLst>
          </p:cNvPr>
          <p:cNvSpPr txBox="1">
            <a:spLocks/>
          </p:cNvSpPr>
          <p:nvPr userDrawn="1"/>
        </p:nvSpPr>
        <p:spPr>
          <a:xfrm>
            <a:off x="11375838" y="376731"/>
            <a:ext cx="416436" cy="123111"/>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b="0" i="0" smtClean="0">
                <a:solidFill>
                  <a:schemeClr val="bg2"/>
                </a:solidFill>
                <a:latin typeface="Scotia Regular" panose="020B0503020203020204" pitchFamily="34" charset="0"/>
              </a:rPr>
              <a:pPr algn="r"/>
              <a:t>‹#›</a:t>
            </a:fld>
            <a:endParaRPr lang="en-CA" sz="800" b="0" i="0">
              <a:solidFill>
                <a:schemeClr val="bg2"/>
              </a:solidFill>
              <a:latin typeface="Scotia Regular" panose="020B0503020203020204" pitchFamily="34" charset="0"/>
            </a:endParaRPr>
          </a:p>
        </p:txBody>
      </p:sp>
      <p:pic>
        <p:nvPicPr>
          <p:cNvPr id="7" name="Picture 6">
            <a:extLst>
              <a:ext uri="{FF2B5EF4-FFF2-40B4-BE49-F238E27FC236}">
                <a16:creationId xmlns:a16="http://schemas.microsoft.com/office/drawing/2014/main" id="{D668B744-3109-3E44-BF75-5E3981CAC2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613" y="387268"/>
            <a:ext cx="566335" cy="80905"/>
          </a:xfrm>
          <a:prstGeom prst="rect">
            <a:avLst/>
          </a:prstGeom>
        </p:spPr>
      </p:pic>
      <p:sp>
        <p:nvSpPr>
          <p:cNvPr id="11" name="Rectangle 10">
            <a:extLst>
              <a:ext uri="{FF2B5EF4-FFF2-40B4-BE49-F238E27FC236}">
                <a16:creationId xmlns:a16="http://schemas.microsoft.com/office/drawing/2014/main" id="{E284152D-B10F-7B43-9F43-51813C6A2715}"/>
              </a:ext>
            </a:extLst>
          </p:cNvPr>
          <p:cNvSpPr/>
          <p:nvPr userDrawn="1"/>
        </p:nvSpPr>
        <p:spPr>
          <a:xfrm flipV="1">
            <a:off x="0" y="1951630"/>
            <a:ext cx="12192000" cy="4906370"/>
          </a:xfrm>
          <a:prstGeom prst="rect">
            <a:avLst/>
          </a:prstGeom>
          <a:solidFill>
            <a:schemeClr val="bg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323232"/>
              </a:solidFill>
              <a:effectLst/>
              <a:uFillTx/>
              <a:latin typeface="Gotham"/>
              <a:ea typeface="Gotham"/>
              <a:cs typeface="Gotham"/>
              <a:sym typeface="Gotham"/>
            </a:endParaRPr>
          </a:p>
        </p:txBody>
      </p:sp>
    </p:spTree>
    <p:extLst>
      <p:ext uri="{BB962C8B-B14F-4D97-AF65-F5344CB8AC3E}">
        <p14:creationId xmlns:p14="http://schemas.microsoft.com/office/powerpoint/2010/main" val="13625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subheads - Colour">
    <p:bg>
      <p:bgPr>
        <a:solidFill>
          <a:schemeClr val="accent6"/>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3B10F7-8216-9E40-AC4C-935B5F697249}"/>
              </a:ext>
            </a:extLst>
          </p:cNvPr>
          <p:cNvSpPr/>
          <p:nvPr userDrawn="1"/>
        </p:nvSpPr>
        <p:spPr>
          <a:xfrm flipV="1">
            <a:off x="397" y="1649248"/>
            <a:ext cx="12191207" cy="520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bg1"/>
                </a:solidFill>
              </a:defRPr>
            </a:lvl1pPr>
          </a:lstStyle>
          <a:p>
            <a:r>
              <a:rPr lang="en-US"/>
              <a:t>Slide title</a:t>
            </a:r>
          </a:p>
        </p:txBody>
      </p:sp>
      <p:sp>
        <p:nvSpPr>
          <p:cNvPr id="21" name="Text Placeholder 3">
            <a:extLst>
              <a:ext uri="{FF2B5EF4-FFF2-40B4-BE49-F238E27FC236}">
                <a16:creationId xmlns:a16="http://schemas.microsoft.com/office/drawing/2014/main" id="{0B4AB324-FEB4-8349-8411-B11639745BEF}"/>
              </a:ext>
            </a:extLst>
          </p:cNvPr>
          <p:cNvSpPr>
            <a:spLocks noGrp="1"/>
          </p:cNvSpPr>
          <p:nvPr>
            <p:ph type="body" sz="quarter" idx="12" hasCustomPrompt="1"/>
          </p:nvPr>
        </p:nvSpPr>
        <p:spPr>
          <a:xfrm>
            <a:off x="1230514" y="4602151"/>
            <a:ext cx="2430153" cy="294430"/>
          </a:xfrm>
        </p:spPr>
        <p:txBody>
          <a:bodyPr>
            <a:noAutofit/>
          </a:bodyPr>
          <a:lstStyle>
            <a:lvl1pPr marL="0" indent="0" algn="ctr">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1225802" y="4988994"/>
            <a:ext cx="2430153" cy="954607"/>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23" name="Text Placeholder 3">
            <a:extLst>
              <a:ext uri="{FF2B5EF4-FFF2-40B4-BE49-F238E27FC236}">
                <a16:creationId xmlns:a16="http://schemas.microsoft.com/office/drawing/2014/main" id="{9DC26C9D-C0FC-D347-8690-4D2ECD15B5B7}"/>
              </a:ext>
            </a:extLst>
          </p:cNvPr>
          <p:cNvSpPr>
            <a:spLocks noGrp="1"/>
          </p:cNvSpPr>
          <p:nvPr>
            <p:ph type="body" sz="quarter" idx="14" hasCustomPrompt="1"/>
          </p:nvPr>
        </p:nvSpPr>
        <p:spPr>
          <a:xfrm>
            <a:off x="4886072" y="4602151"/>
            <a:ext cx="2419856" cy="294430"/>
          </a:xfrm>
        </p:spPr>
        <p:txBody>
          <a:bodyPr>
            <a:noAutofit/>
          </a:bodyPr>
          <a:lstStyle>
            <a:lvl1pPr marL="0" indent="0" algn="ctr">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4886072" y="4988994"/>
            <a:ext cx="2419856" cy="954606"/>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25" name="Text Placeholder 3">
            <a:extLst>
              <a:ext uri="{FF2B5EF4-FFF2-40B4-BE49-F238E27FC236}">
                <a16:creationId xmlns:a16="http://schemas.microsoft.com/office/drawing/2014/main" id="{2462A25C-EF2B-A940-9E21-E8FD80C46782}"/>
              </a:ext>
            </a:extLst>
          </p:cNvPr>
          <p:cNvSpPr>
            <a:spLocks noGrp="1"/>
          </p:cNvSpPr>
          <p:nvPr>
            <p:ph type="body" sz="quarter" idx="16" hasCustomPrompt="1"/>
          </p:nvPr>
        </p:nvSpPr>
        <p:spPr>
          <a:xfrm>
            <a:off x="8535622" y="4602151"/>
            <a:ext cx="2415144" cy="294430"/>
          </a:xfrm>
        </p:spPr>
        <p:txBody>
          <a:bodyPr>
            <a:noAutofit/>
          </a:bodyPr>
          <a:lstStyle>
            <a:lvl1pPr marL="0" indent="0" algn="ctr">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8530910" y="4988994"/>
            <a:ext cx="2419856" cy="954606"/>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30608585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impact text - Centred">
    <p:bg>
      <p:bgPr>
        <a:solidFill>
          <a:schemeClr val="accent4"/>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2095827" y="2809674"/>
            <a:ext cx="8000346" cy="2074222"/>
          </a:xfrm>
        </p:spPr>
        <p:txBody>
          <a:bodyPr anchor="t">
            <a:noAutofit/>
          </a:bodyPr>
          <a:lstStyle>
            <a:lvl1pPr algn="ctr">
              <a:lnSpc>
                <a:spcPct val="100000"/>
              </a:lnSpc>
              <a:defRPr lang="es-ES_tradnl" sz="3000" b="1" kern="1200" dirty="0">
                <a:solidFill>
                  <a:schemeClr val="bg1"/>
                </a:solidFill>
                <a:latin typeface="Scotia Headline"/>
                <a:ea typeface="Gilroy ExtraBold Italic"/>
                <a:cs typeface="Gilroy ExtraBold Italic"/>
              </a:defRPr>
            </a:lvl1pPr>
          </a:lstStyle>
          <a:p>
            <a:r>
              <a:rPr lang="en-US"/>
              <a:t>Lage impact text goes here.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p:txBody>
      </p:sp>
      <p:sp>
        <p:nvSpPr>
          <p:cNvPr id="9" name="Text Placeholder 11">
            <a:extLst>
              <a:ext uri="{FF2B5EF4-FFF2-40B4-BE49-F238E27FC236}">
                <a16:creationId xmlns:a16="http://schemas.microsoft.com/office/drawing/2014/main" id="{6EF7400F-D872-5144-AD1D-927764ABB84E}"/>
              </a:ext>
            </a:extLst>
          </p:cNvPr>
          <p:cNvSpPr>
            <a:spLocks noGrp="1"/>
          </p:cNvSpPr>
          <p:nvPr>
            <p:ph type="body" sz="quarter" idx="11" hasCustomPrompt="1"/>
          </p:nvPr>
        </p:nvSpPr>
        <p:spPr>
          <a:xfrm>
            <a:off x="2095826" y="2242129"/>
            <a:ext cx="8000347" cy="321189"/>
          </a:xfrm>
          <a:ln w="12700">
            <a:miter lim="400000"/>
          </a:ln>
        </p:spPr>
        <p:txBody>
          <a:bodyPr wrap="square" lIns="0" tIns="0" rIns="0" bIns="0">
            <a:noAutofit/>
          </a:bodyPr>
          <a:lstStyle>
            <a:lvl1pPr marL="0" indent="0" algn="ctr">
              <a:buNone/>
              <a:defRPr lang="en-US" sz="1800" b="0" cap="all" spc="300" baseline="0" smtClean="0">
                <a:solidFill>
                  <a:schemeClr val="bg1"/>
                </a:solidFill>
                <a:latin typeface="+mn-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a:t>
            </a:r>
          </a:p>
        </p:txBody>
      </p:sp>
      <p:pic>
        <p:nvPicPr>
          <p:cNvPr id="10" name="Graphic 9">
            <a:extLst>
              <a:ext uri="{FF2B5EF4-FFF2-40B4-BE49-F238E27FC236}">
                <a16:creationId xmlns:a16="http://schemas.microsoft.com/office/drawing/2014/main" id="{ECDAE827-A5E1-234A-88B6-8A65094BF7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019573B0-D955-4B4C-8BB5-C6735698A5C7}"/>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13" name="Text Placeholder 4">
            <a:extLst>
              <a:ext uri="{FF2B5EF4-FFF2-40B4-BE49-F238E27FC236}">
                <a16:creationId xmlns:a16="http://schemas.microsoft.com/office/drawing/2014/main" id="{9831DDF5-2C59-9540-A7DF-1D1666C371D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15347260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rge impact text - Left aligned">
    <p:bg>
      <p:bgPr>
        <a:solidFill>
          <a:srgbClr val="009DD6"/>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933701" y="2809674"/>
            <a:ext cx="5676961" cy="2074222"/>
          </a:xfrm>
        </p:spPr>
        <p:txBody>
          <a:bodyPr anchor="t">
            <a:noAutofit/>
          </a:bodyPr>
          <a:lstStyle>
            <a:lvl1pPr algn="l">
              <a:lnSpc>
                <a:spcPct val="100000"/>
              </a:lnSpc>
              <a:defRPr lang="es-ES_tradnl" sz="3000" b="1" kern="1200" dirty="0">
                <a:solidFill>
                  <a:srgbClr val="FFFFFF"/>
                </a:solidFill>
                <a:latin typeface="Scotia Headline"/>
                <a:ea typeface="Gilroy ExtraBold Italic"/>
                <a:cs typeface="Gilroy ExtraBold Italic"/>
              </a:defRPr>
            </a:lvl1pPr>
          </a:lstStyle>
          <a:p>
            <a:r>
              <a:rPr lang="en-US"/>
              <a:t>Lage impact text goes here.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a:t>
            </a:r>
          </a:p>
        </p:txBody>
      </p:sp>
      <p:sp>
        <p:nvSpPr>
          <p:cNvPr id="9" name="Text Placeholder 11">
            <a:extLst>
              <a:ext uri="{FF2B5EF4-FFF2-40B4-BE49-F238E27FC236}">
                <a16:creationId xmlns:a16="http://schemas.microsoft.com/office/drawing/2014/main" id="{6EF7400F-D872-5144-AD1D-927764ABB84E}"/>
              </a:ext>
            </a:extLst>
          </p:cNvPr>
          <p:cNvSpPr>
            <a:spLocks noGrp="1"/>
          </p:cNvSpPr>
          <p:nvPr>
            <p:ph type="body" sz="quarter" idx="11" hasCustomPrompt="1"/>
          </p:nvPr>
        </p:nvSpPr>
        <p:spPr>
          <a:xfrm>
            <a:off x="933701" y="2118811"/>
            <a:ext cx="5162300" cy="316960"/>
          </a:xfrm>
          <a:ln w="12700">
            <a:miter lim="400000"/>
          </a:ln>
        </p:spPr>
        <p:txBody>
          <a:bodyPr wrap="square" lIns="0" tIns="0" rIns="0" bIns="0">
            <a:noAutofit/>
          </a:bodyPr>
          <a:lstStyle>
            <a:lvl1pPr marL="0" indent="0" algn="l">
              <a:buNone/>
              <a:defRPr lang="en-US" sz="1800" b="0" cap="all" spc="300" baseline="0" smtClean="0">
                <a:solidFill>
                  <a:srgbClr val="FFFFFF"/>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 goes here.</a:t>
            </a:r>
          </a:p>
        </p:txBody>
      </p:sp>
      <p:pic>
        <p:nvPicPr>
          <p:cNvPr id="10" name="Graphic 9">
            <a:extLst>
              <a:ext uri="{FF2B5EF4-FFF2-40B4-BE49-F238E27FC236}">
                <a16:creationId xmlns:a16="http://schemas.microsoft.com/office/drawing/2014/main" id="{ECDAE827-A5E1-234A-88B6-8A65094BF7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019573B0-D955-4B4C-8BB5-C6735698A5C7}"/>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FFFFFF"/>
                </a:solidFill>
                <a:latin typeface="Scotia" panose="020B0503020203020204" pitchFamily="34" charset="0"/>
              </a:rPr>
              <a:pPr algn="r"/>
              <a:t>‹#›</a:t>
            </a:fld>
            <a:endParaRPr lang="en-CA" sz="800">
              <a:solidFill>
                <a:srgbClr val="FFFFFF"/>
              </a:solidFill>
              <a:latin typeface="Scotia" panose="020B0503020203020204" pitchFamily="34" charset="0"/>
            </a:endParaRPr>
          </a:p>
        </p:txBody>
      </p:sp>
      <p:sp>
        <p:nvSpPr>
          <p:cNvPr id="13" name="Text Placeholder 4">
            <a:extLst>
              <a:ext uri="{FF2B5EF4-FFF2-40B4-BE49-F238E27FC236}">
                <a16:creationId xmlns:a16="http://schemas.microsoft.com/office/drawing/2014/main" id="{9831DDF5-2C59-9540-A7DF-1D1666C371D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FFFFFF"/>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18448706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ft Header - Neutral">
    <p:bg>
      <p:bgPr>
        <a:solidFill>
          <a:srgbClr val="F2609E"/>
        </a:solidFill>
        <a:effectLst/>
      </p:bgPr>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BB2C3381-E344-0E4F-A0BA-73BB5887462C}"/>
              </a:ext>
            </a:extLst>
          </p:cNvPr>
          <p:cNvSpPr/>
          <p:nvPr userDrawn="1"/>
        </p:nvSpPr>
        <p:spPr>
          <a:xfrm>
            <a:off x="4067164" y="0"/>
            <a:ext cx="8124835" cy="6858000"/>
          </a:xfrm>
          <a:prstGeom prst="rect">
            <a:avLst/>
          </a:prstGeom>
          <a:solidFill>
            <a:srgbClr val="FFFFFF"/>
          </a:solidFill>
          <a:ln w="12700">
            <a:miter lim="400000"/>
          </a:ln>
        </p:spPr>
        <p:txBody>
          <a:bodyPr lIns="45716" rIns="45716" anchor="ctr"/>
          <a:lstStyle/>
          <a:p>
            <a:pPr defTabSz="914355">
              <a:defRPr>
                <a:solidFill>
                  <a:srgbClr val="1FA2DC"/>
                </a:solidFill>
              </a:defRPr>
            </a:pPr>
            <a:endParaRPr sz="3600">
              <a:solidFill>
                <a:srgbClr val="1FA2DC"/>
              </a:solidFill>
              <a:latin typeface="Scotia Regular" panose="020B0503020203020204" pitchFamily="34" charset="0"/>
            </a:endParaRPr>
          </a:p>
        </p:txBody>
      </p:sp>
      <p:sp>
        <p:nvSpPr>
          <p:cNvPr id="2" name="Title 1">
            <a:extLst>
              <a:ext uri="{FF2B5EF4-FFF2-40B4-BE49-F238E27FC236}">
                <a16:creationId xmlns:a16="http://schemas.microsoft.com/office/drawing/2014/main" id="{86191B29-D3CA-8644-9CB9-79D1A03C934E}"/>
              </a:ext>
            </a:extLst>
          </p:cNvPr>
          <p:cNvSpPr>
            <a:spLocks noGrp="1"/>
          </p:cNvSpPr>
          <p:nvPr>
            <p:ph type="title" hasCustomPrompt="1"/>
          </p:nvPr>
        </p:nvSpPr>
        <p:spPr>
          <a:xfrm>
            <a:off x="471051" y="817862"/>
            <a:ext cx="3173849" cy="795876"/>
          </a:xfrm>
        </p:spPr>
        <p:txBody>
          <a:bodyPr anchor="t">
            <a:noAutofit/>
          </a:bodyPr>
          <a:lstStyle>
            <a:lvl1pPr>
              <a:defRPr>
                <a:solidFill>
                  <a:srgbClr val="FFFFFF"/>
                </a:solidFill>
              </a:defRPr>
            </a:lvl1pPr>
          </a:lstStyle>
          <a:p>
            <a:r>
              <a:rPr lang="en-US"/>
              <a:t>Slide title</a:t>
            </a:r>
          </a:p>
        </p:txBody>
      </p:sp>
      <p:sp>
        <p:nvSpPr>
          <p:cNvPr id="12" name="TextBox 11">
            <a:extLst>
              <a:ext uri="{FF2B5EF4-FFF2-40B4-BE49-F238E27FC236}">
                <a16:creationId xmlns:a16="http://schemas.microsoft.com/office/drawing/2014/main" id="{597E7282-3BC7-4544-8051-E534A579460C}"/>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7" name="Graphic 16">
            <a:extLst>
              <a:ext uri="{FF2B5EF4-FFF2-40B4-BE49-F238E27FC236}">
                <a16:creationId xmlns:a16="http://schemas.microsoft.com/office/drawing/2014/main" id="{A0F7AAFC-8746-104F-92FA-0C832699D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 Placeholder 2">
            <a:extLst>
              <a:ext uri="{FF2B5EF4-FFF2-40B4-BE49-F238E27FC236}">
                <a16:creationId xmlns:a16="http://schemas.microsoft.com/office/drawing/2014/main" id="{FD3D621D-DFA8-974C-BE2B-3AAB183B143A}"/>
              </a:ext>
            </a:extLst>
          </p:cNvPr>
          <p:cNvSpPr>
            <a:spLocks noGrp="1"/>
          </p:cNvSpPr>
          <p:nvPr>
            <p:ph type="body" sz="quarter" idx="11" hasCustomPrompt="1"/>
          </p:nvPr>
        </p:nvSpPr>
        <p:spPr>
          <a:xfrm>
            <a:off x="4647584" y="2781300"/>
            <a:ext cx="6591915" cy="3381375"/>
          </a:xfrm>
        </p:spPr>
        <p:txBody>
          <a:bodyPr>
            <a:noAutofit/>
          </a:bodyPr>
          <a:lstStyle>
            <a:lvl1pPr marL="0" indent="0">
              <a:lnSpc>
                <a:spcPct val="110000"/>
              </a:lnSpc>
              <a:spcBef>
                <a:spcPts val="0"/>
              </a:spcBef>
              <a:spcAft>
                <a:spcPts val="1600"/>
              </a:spcAft>
              <a:buNone/>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3" name="Text Placeholder 4">
            <a:extLst>
              <a:ext uri="{FF2B5EF4-FFF2-40B4-BE49-F238E27FC236}">
                <a16:creationId xmlns:a16="http://schemas.microsoft.com/office/drawing/2014/main" id="{309248FD-67F1-AD4A-B7EF-7BF1519A6E07}"/>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26454226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header - Neutral">
    <p:bg>
      <p:bgPr>
        <a:solidFill>
          <a:schemeClr val="accent4"/>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15E90C-EEF4-B041-B336-AE5FDD14F5C2}"/>
              </a:ext>
            </a:extLst>
          </p:cNvPr>
          <p:cNvSpPr/>
          <p:nvPr userDrawn="1"/>
        </p:nvSpPr>
        <p:spPr>
          <a:xfrm flipV="1">
            <a:off x="397" y="1649248"/>
            <a:ext cx="12191207" cy="520875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a:solidFill>
                <a:srgbClr val="FFFFFF"/>
              </a:solidFill>
              <a:latin typeface="Scotia"/>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FFFFFF"/>
                </a:solidFill>
                <a:latin typeface="Scotia" panose="020B0503020203020204" pitchFamily="34" charset="0"/>
              </a:rPr>
              <a:pPr algn="r"/>
              <a:t>‹#›</a:t>
            </a:fld>
            <a:endParaRPr lang="en-CA" sz="800">
              <a:solidFill>
                <a:srgbClr val="FFFFFF"/>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FFFFFF"/>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2" y="816110"/>
            <a:ext cx="10937178" cy="530090"/>
          </a:xfrm>
        </p:spPr>
        <p:txBody>
          <a:bodyPr anchor="t">
            <a:noAutofit/>
          </a:bodyPr>
          <a:lstStyle>
            <a:lvl1pPr>
              <a:defRPr>
                <a:solidFill>
                  <a:srgbClr val="FFFFFF"/>
                </a:solidFill>
              </a:defRPr>
            </a:lvl1pPr>
          </a:lstStyle>
          <a:p>
            <a:r>
              <a:rPr lang="en-US"/>
              <a:t>Slide title</a:t>
            </a:r>
          </a:p>
        </p:txBody>
      </p:sp>
      <p:sp>
        <p:nvSpPr>
          <p:cNvPr id="8" name="Text Placeholder 2">
            <a:extLst>
              <a:ext uri="{FF2B5EF4-FFF2-40B4-BE49-F238E27FC236}">
                <a16:creationId xmlns:a16="http://schemas.microsoft.com/office/drawing/2014/main" id="{7AB5CA01-980C-4E4A-8999-D60A6ADF84DB}"/>
              </a:ext>
            </a:extLst>
          </p:cNvPr>
          <p:cNvSpPr>
            <a:spLocks noGrp="1"/>
          </p:cNvSpPr>
          <p:nvPr>
            <p:ph type="body" sz="quarter" idx="11" hasCustomPrompt="1"/>
          </p:nvPr>
        </p:nvSpPr>
        <p:spPr>
          <a:xfrm>
            <a:off x="467423" y="2374900"/>
            <a:ext cx="6085777" cy="3381375"/>
          </a:xfrm>
        </p:spPr>
        <p:txBody>
          <a:bodyPr>
            <a:noAutofit/>
          </a:bodyPr>
          <a:lstStyle>
            <a:lvl1pPr marL="0" indent="0">
              <a:lnSpc>
                <a:spcPct val="120000"/>
              </a:lnSpc>
              <a:spcBef>
                <a:spcPts val="0"/>
              </a:spcBef>
              <a:spcAft>
                <a:spcPts val="1600"/>
              </a:spcAft>
              <a:buNone/>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0" name="Text Placeholder 2">
            <a:extLst>
              <a:ext uri="{FF2B5EF4-FFF2-40B4-BE49-F238E27FC236}">
                <a16:creationId xmlns:a16="http://schemas.microsoft.com/office/drawing/2014/main" id="{690EC001-A6B8-3047-B78B-FDE8201C457A}"/>
              </a:ext>
            </a:extLst>
          </p:cNvPr>
          <p:cNvSpPr>
            <a:spLocks noGrp="1"/>
          </p:cNvSpPr>
          <p:nvPr>
            <p:ph type="body" sz="quarter" idx="12" hasCustomPrompt="1"/>
          </p:nvPr>
        </p:nvSpPr>
        <p:spPr>
          <a:xfrm>
            <a:off x="7578974" y="2943583"/>
            <a:ext cx="3963489" cy="3098308"/>
          </a:xfrm>
        </p:spPr>
        <p:txBody>
          <a:bodyPr>
            <a:noAutofit/>
          </a:bodyPr>
          <a:lstStyle>
            <a:lvl1pPr marL="285750" indent="-285750">
              <a:lnSpc>
                <a:spcPct val="120000"/>
              </a:lnSpc>
              <a:spcBef>
                <a:spcPts val="0"/>
              </a:spcBef>
              <a:spcAft>
                <a:spcPts val="1600"/>
              </a:spcAft>
              <a:buClrTx/>
              <a:buSzPct val="80000"/>
              <a:buFont typeface="Arial" panose="020B0604020202020204" pitchFamily="34" charset="0"/>
              <a:buChar char="•"/>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endParaRPr lang="en-US"/>
          </a:p>
        </p:txBody>
      </p:sp>
      <p:sp>
        <p:nvSpPr>
          <p:cNvPr id="11" name="Text Placeholder 3">
            <a:extLst>
              <a:ext uri="{FF2B5EF4-FFF2-40B4-BE49-F238E27FC236}">
                <a16:creationId xmlns:a16="http://schemas.microsoft.com/office/drawing/2014/main" id="{2E2D022A-BCA3-8149-8E42-35B776B5BBC7}"/>
              </a:ext>
            </a:extLst>
          </p:cNvPr>
          <p:cNvSpPr>
            <a:spLocks noGrp="1"/>
          </p:cNvSpPr>
          <p:nvPr>
            <p:ph type="body" sz="quarter" idx="15" hasCustomPrompt="1"/>
          </p:nvPr>
        </p:nvSpPr>
        <p:spPr>
          <a:xfrm>
            <a:off x="7578974" y="2465879"/>
            <a:ext cx="3996728" cy="290021"/>
          </a:xfrm>
        </p:spPr>
        <p:txBody>
          <a:bodyPr>
            <a:noAutofit/>
          </a:bodyPr>
          <a:lstStyle>
            <a:lvl1pPr marL="0" indent="0">
              <a:buNone/>
              <a:defRPr sz="2000" b="1" i="0">
                <a:solidFill>
                  <a:schemeClr val="tx1"/>
                </a:solidFill>
                <a:latin typeface="+mn-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Tree>
    <p:extLst>
      <p:ext uri="{BB962C8B-B14F-4D97-AF65-F5344CB8AC3E}">
        <p14:creationId xmlns:p14="http://schemas.microsoft.com/office/powerpoint/2010/main" val="27550290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py block - Neutral">
    <p:bg>
      <p:bgPr>
        <a:solidFill>
          <a:srgbClr val="009D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4E06B89-A7E8-6F4D-9C1D-39ABF919CBB7}"/>
              </a:ext>
            </a:extLst>
          </p:cNvPr>
          <p:cNvSpPr/>
          <p:nvPr userDrawn="1"/>
        </p:nvSpPr>
        <p:spPr>
          <a:xfrm flipH="1">
            <a:off x="0" y="0"/>
            <a:ext cx="7079114" cy="6858000"/>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hangingPunct="0"/>
            <a:endParaRPr lang="en-US" sz="900">
              <a:solidFill>
                <a:srgbClr val="323232"/>
              </a:solidFill>
              <a:latin typeface="Gotham Bold"/>
              <a:ea typeface="Gotham Bold"/>
              <a:cs typeface="Gotham Bold"/>
              <a:sym typeface="Gotham"/>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FFFFFF"/>
                </a:solidFill>
                <a:latin typeface="Scotia" panose="020B0503020203020204" pitchFamily="34" charset="0"/>
              </a:rPr>
              <a:pPr algn="r"/>
              <a:t>‹#›</a:t>
            </a:fld>
            <a:endParaRPr lang="en-CA" sz="800">
              <a:solidFill>
                <a:srgbClr val="FFFFFF"/>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FFFFFF"/>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2" y="816110"/>
            <a:ext cx="6085777" cy="530090"/>
          </a:xfrm>
        </p:spPr>
        <p:txBody>
          <a:bodyPr anchor="t">
            <a:noAutofit/>
          </a:bodyPr>
          <a:lstStyle>
            <a:lvl1pPr>
              <a:defRPr>
                <a:solidFill>
                  <a:srgbClr val="333333"/>
                </a:solidFill>
              </a:defRPr>
            </a:lvl1pPr>
          </a:lstStyle>
          <a:p>
            <a:r>
              <a:rPr lang="en-US"/>
              <a:t>Slide title</a:t>
            </a:r>
          </a:p>
        </p:txBody>
      </p:sp>
      <p:sp>
        <p:nvSpPr>
          <p:cNvPr id="8" name="Text Placeholder 2">
            <a:extLst>
              <a:ext uri="{FF2B5EF4-FFF2-40B4-BE49-F238E27FC236}">
                <a16:creationId xmlns:a16="http://schemas.microsoft.com/office/drawing/2014/main" id="{7AB5CA01-980C-4E4A-8999-D60A6ADF84DB}"/>
              </a:ext>
            </a:extLst>
          </p:cNvPr>
          <p:cNvSpPr>
            <a:spLocks noGrp="1"/>
          </p:cNvSpPr>
          <p:nvPr>
            <p:ph type="body" sz="quarter" idx="11" hasCustomPrompt="1"/>
          </p:nvPr>
        </p:nvSpPr>
        <p:spPr>
          <a:xfrm>
            <a:off x="467422" y="2335144"/>
            <a:ext cx="6085777" cy="3381375"/>
          </a:xfrm>
        </p:spPr>
        <p:txBody>
          <a:bodyPr>
            <a:noAutofit/>
          </a:bodyPr>
          <a:lstStyle>
            <a:lvl1pPr marL="285750" indent="-285750">
              <a:lnSpc>
                <a:spcPct val="120000"/>
              </a:lnSpc>
              <a:spcBef>
                <a:spcPts val="0"/>
              </a:spcBef>
              <a:spcAft>
                <a:spcPts val="1600"/>
              </a:spcAft>
              <a:buFont typeface="Arial" panose="020B0604020202020204" pitchFamily="34" charset="0"/>
              <a:buChar char="•"/>
              <a:defRPr sz="16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a:p>
            <a:pPr lvl="0"/>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0" name="Text Placeholder 2">
            <a:extLst>
              <a:ext uri="{FF2B5EF4-FFF2-40B4-BE49-F238E27FC236}">
                <a16:creationId xmlns:a16="http://schemas.microsoft.com/office/drawing/2014/main" id="{690EC001-A6B8-3047-B78B-FDE8201C457A}"/>
              </a:ext>
            </a:extLst>
          </p:cNvPr>
          <p:cNvSpPr>
            <a:spLocks noGrp="1"/>
          </p:cNvSpPr>
          <p:nvPr>
            <p:ph type="body" sz="quarter" idx="12" hasCustomPrompt="1"/>
          </p:nvPr>
        </p:nvSpPr>
        <p:spPr>
          <a:xfrm>
            <a:off x="7578974" y="1757217"/>
            <a:ext cx="3963489" cy="3098308"/>
          </a:xfrm>
        </p:spPr>
        <p:txBody>
          <a:bodyPr>
            <a:noAutofit/>
          </a:bodyPr>
          <a:lstStyle>
            <a:lvl1pPr marL="285750" indent="-285750">
              <a:lnSpc>
                <a:spcPct val="120000"/>
              </a:lnSpc>
              <a:spcBef>
                <a:spcPts val="0"/>
              </a:spcBef>
              <a:spcAft>
                <a:spcPts val="1800"/>
              </a:spcAft>
              <a:buClrTx/>
              <a:buSzPct val="80000"/>
              <a:buFont typeface="Arial" panose="020B0604020202020204" pitchFamily="34" charset="0"/>
              <a:buChar char="•"/>
              <a:defRPr sz="16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a:lnSpc>
                <a:spcPct val="120000"/>
              </a:lnSpc>
              <a:spcBef>
                <a:spcPts val="0"/>
              </a:spcBef>
              <a:spcAft>
                <a:spcPts val="1800"/>
              </a:spcAft>
            </a:pPr>
            <a:r>
              <a:rPr lang="en-US" sz="1600"/>
              <a:t>Lorem ipsum dolor sit </a:t>
            </a:r>
            <a:r>
              <a:rPr lang="en-US" sz="1600" err="1"/>
              <a:t>amet</a:t>
            </a:r>
            <a:r>
              <a:rPr lang="en-US" sz="1600"/>
              <a:t>, </a:t>
            </a:r>
            <a:r>
              <a:rPr lang="en-US" sz="1600" err="1"/>
              <a:t>consectetur</a:t>
            </a:r>
            <a:r>
              <a:rPr lang="en-US" sz="1600"/>
              <a:t> adipiscing </a:t>
            </a:r>
            <a:r>
              <a:rPr lang="en-US" sz="1600" err="1"/>
              <a:t>elit</a:t>
            </a:r>
            <a:r>
              <a:rPr lang="en-US" sz="1600"/>
              <a:t>, sed do </a:t>
            </a:r>
            <a:r>
              <a:rPr lang="en-US" sz="1600" err="1"/>
              <a:t>eiusmod</a:t>
            </a:r>
            <a:r>
              <a:rPr lang="en-US" sz="1600"/>
              <a:t> </a:t>
            </a:r>
            <a:r>
              <a:rPr lang="en-US" sz="1600" err="1"/>
              <a:t>tempor</a:t>
            </a:r>
            <a:r>
              <a:rPr lang="en-US" sz="1600"/>
              <a:t> </a:t>
            </a:r>
            <a:r>
              <a:rPr lang="en-US" sz="1600" err="1"/>
              <a:t>incididunt</a:t>
            </a:r>
            <a:r>
              <a:rPr lang="en-US" sz="1600"/>
              <a:t> </a:t>
            </a:r>
            <a:r>
              <a:rPr lang="en-US" sz="1600" err="1"/>
              <a:t>ut</a:t>
            </a:r>
            <a:r>
              <a:rPr lang="en-US" sz="1600"/>
              <a:t> </a:t>
            </a:r>
            <a:r>
              <a:rPr lang="en-US" sz="1600" err="1"/>
              <a:t>labore</a:t>
            </a:r>
            <a:r>
              <a:rPr lang="en-US" sz="1600"/>
              <a:t> et dolore magna </a:t>
            </a:r>
            <a:r>
              <a:rPr lang="en-US" sz="1600" err="1"/>
              <a:t>aliqua</a:t>
            </a:r>
            <a:r>
              <a:rPr lang="en-US" sz="1600"/>
              <a:t>.</a:t>
            </a:r>
          </a:p>
          <a:p>
            <a:pPr>
              <a:lnSpc>
                <a:spcPct val="120000"/>
              </a:lnSpc>
              <a:spcBef>
                <a:spcPts val="0"/>
              </a:spcBef>
              <a:spcAft>
                <a:spcPts val="1800"/>
              </a:spcAft>
            </a:pPr>
            <a:r>
              <a:rPr lang="en-US" sz="1600"/>
              <a:t>Lorem ipsum dolor sit </a:t>
            </a:r>
            <a:r>
              <a:rPr lang="en-US" sz="1600" err="1"/>
              <a:t>amet</a:t>
            </a:r>
            <a:r>
              <a:rPr lang="en-US" sz="1600"/>
              <a:t>, </a:t>
            </a:r>
            <a:r>
              <a:rPr lang="en-US" sz="1600" err="1"/>
              <a:t>consectetur</a:t>
            </a:r>
            <a:r>
              <a:rPr lang="en-US" sz="1600"/>
              <a:t> adipiscing </a:t>
            </a:r>
            <a:r>
              <a:rPr lang="en-US" sz="1600" err="1"/>
              <a:t>elit</a:t>
            </a:r>
            <a:r>
              <a:rPr lang="en-US" sz="1600"/>
              <a:t>, sed do </a:t>
            </a:r>
            <a:r>
              <a:rPr lang="en-US" sz="1600" err="1"/>
              <a:t>eiusmod</a:t>
            </a:r>
            <a:r>
              <a:rPr lang="en-US" sz="1600"/>
              <a:t> </a:t>
            </a:r>
            <a:r>
              <a:rPr lang="en-US" sz="1600" err="1"/>
              <a:t>tempor</a:t>
            </a:r>
            <a:r>
              <a:rPr lang="en-US" sz="1600"/>
              <a:t> </a:t>
            </a:r>
            <a:r>
              <a:rPr lang="en-US" sz="1600" err="1"/>
              <a:t>incididunt</a:t>
            </a:r>
            <a:r>
              <a:rPr lang="en-US" sz="1600"/>
              <a:t> </a:t>
            </a:r>
            <a:r>
              <a:rPr lang="en-US" sz="1600" err="1"/>
              <a:t>ut</a:t>
            </a:r>
            <a:r>
              <a:rPr lang="en-US" sz="1600"/>
              <a:t> </a:t>
            </a:r>
            <a:r>
              <a:rPr lang="en-US" sz="1600" err="1"/>
              <a:t>labore</a:t>
            </a:r>
            <a:r>
              <a:rPr lang="en-US" sz="1600"/>
              <a:t> et dolore magna </a:t>
            </a:r>
            <a:r>
              <a:rPr lang="en-US" sz="1600" err="1"/>
              <a:t>aliqua</a:t>
            </a:r>
            <a:r>
              <a:rPr lang="en-US" sz="1600"/>
              <a:t>.</a:t>
            </a:r>
          </a:p>
          <a:p>
            <a:pPr>
              <a:lnSpc>
                <a:spcPct val="120000"/>
              </a:lnSpc>
              <a:spcBef>
                <a:spcPts val="0"/>
              </a:spcBef>
              <a:spcAft>
                <a:spcPts val="1800"/>
              </a:spcAft>
            </a:pPr>
            <a:r>
              <a:rPr lang="en-US" sz="1600"/>
              <a:t>Lorem ipsum dolor sit </a:t>
            </a:r>
            <a:r>
              <a:rPr lang="en-US" sz="1600" err="1"/>
              <a:t>amet</a:t>
            </a:r>
            <a:r>
              <a:rPr lang="en-US" sz="1600"/>
              <a:t>, </a:t>
            </a:r>
            <a:r>
              <a:rPr lang="en-US" sz="1600" err="1"/>
              <a:t>consectetur</a:t>
            </a:r>
            <a:r>
              <a:rPr lang="en-US" sz="1600"/>
              <a:t> adipiscing </a:t>
            </a:r>
            <a:r>
              <a:rPr lang="en-US" sz="1600" err="1"/>
              <a:t>elit</a:t>
            </a:r>
            <a:r>
              <a:rPr lang="en-US" sz="1600"/>
              <a:t>, sed do </a:t>
            </a:r>
            <a:r>
              <a:rPr lang="en-US" sz="1600" err="1"/>
              <a:t>eiusmod</a:t>
            </a:r>
            <a:r>
              <a:rPr lang="en-US" sz="1600"/>
              <a:t> </a:t>
            </a:r>
            <a:r>
              <a:rPr lang="en-US" sz="1600" err="1"/>
              <a:t>tempor</a:t>
            </a:r>
            <a:r>
              <a:rPr lang="en-US" sz="1600"/>
              <a:t> </a:t>
            </a:r>
            <a:r>
              <a:rPr lang="en-US" sz="1600" err="1"/>
              <a:t>incididunt</a:t>
            </a:r>
            <a:r>
              <a:rPr lang="en-US" sz="1600"/>
              <a:t> </a:t>
            </a:r>
            <a:r>
              <a:rPr lang="en-US" sz="1600" err="1"/>
              <a:t>ut</a:t>
            </a:r>
            <a:r>
              <a:rPr lang="en-US" sz="1600"/>
              <a:t> </a:t>
            </a:r>
            <a:r>
              <a:rPr lang="en-US" sz="1600" err="1"/>
              <a:t>labore</a:t>
            </a:r>
            <a:r>
              <a:rPr lang="en-US" sz="1600"/>
              <a:t> et dolore magna </a:t>
            </a:r>
            <a:r>
              <a:rPr lang="en-US" sz="1600" err="1"/>
              <a:t>aliqua</a:t>
            </a:r>
            <a:r>
              <a:rPr lang="en-US" sz="1600"/>
              <a:t>.</a:t>
            </a:r>
          </a:p>
        </p:txBody>
      </p:sp>
      <p:sp>
        <p:nvSpPr>
          <p:cNvPr id="11" name="Text Placeholder 3">
            <a:extLst>
              <a:ext uri="{FF2B5EF4-FFF2-40B4-BE49-F238E27FC236}">
                <a16:creationId xmlns:a16="http://schemas.microsoft.com/office/drawing/2014/main" id="{2E2D022A-BCA3-8149-8E42-35B776B5BBC7}"/>
              </a:ext>
            </a:extLst>
          </p:cNvPr>
          <p:cNvSpPr>
            <a:spLocks noGrp="1"/>
          </p:cNvSpPr>
          <p:nvPr>
            <p:ph type="body" sz="quarter" idx="15" hasCustomPrompt="1"/>
          </p:nvPr>
        </p:nvSpPr>
        <p:spPr>
          <a:xfrm>
            <a:off x="7578974" y="1279513"/>
            <a:ext cx="3996728" cy="290021"/>
          </a:xfrm>
        </p:spPr>
        <p:txBody>
          <a:bodyPr>
            <a:noAutofit/>
          </a:bodyPr>
          <a:lstStyle>
            <a:lvl1pPr marL="0" indent="0">
              <a:buNone/>
              <a:defRPr sz="2000" b="1" i="0">
                <a:solidFill>
                  <a:srgbClr val="FFFFFF"/>
                </a:solidFill>
                <a:latin typeface="+mn-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CA"/>
          </a:p>
        </p:txBody>
      </p:sp>
      <p:sp>
        <p:nvSpPr>
          <p:cNvPr id="14" name="Text Placeholder 2">
            <a:extLst>
              <a:ext uri="{FF2B5EF4-FFF2-40B4-BE49-F238E27FC236}">
                <a16:creationId xmlns:a16="http://schemas.microsoft.com/office/drawing/2014/main" id="{4B718535-170A-3F4C-8F72-3DC975EDA923}"/>
              </a:ext>
            </a:extLst>
          </p:cNvPr>
          <p:cNvSpPr>
            <a:spLocks noGrp="1"/>
          </p:cNvSpPr>
          <p:nvPr>
            <p:ph type="body" sz="quarter" idx="23" hasCustomPrompt="1"/>
          </p:nvPr>
        </p:nvSpPr>
        <p:spPr>
          <a:xfrm>
            <a:off x="471051" y="1389073"/>
            <a:ext cx="6082148" cy="384336"/>
          </a:xfrm>
        </p:spPr>
        <p:txBody>
          <a:bodyPr>
            <a:noAutofit/>
          </a:bodyPr>
          <a:lstStyle>
            <a:lvl1pPr marL="0" indent="0">
              <a:lnSpc>
                <a:spcPct val="110000"/>
              </a:lnSpc>
              <a:spcBef>
                <a:spcPts val="0"/>
              </a:spcBef>
              <a:spcAft>
                <a:spcPts val="1600"/>
              </a:spcAft>
              <a:buFont typeface="Arial" panose="020B0604020202020204" pitchFamily="34" charset="0"/>
              <a:buNone/>
              <a:defRPr sz="24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Important subheading goes here:</a:t>
            </a:r>
          </a:p>
        </p:txBody>
      </p:sp>
    </p:spTree>
    <p:extLst>
      <p:ext uri="{BB962C8B-B14F-4D97-AF65-F5344CB8AC3E}">
        <p14:creationId xmlns:p14="http://schemas.microsoft.com/office/powerpoint/2010/main" val="21315461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ft Header - Numbered sections">
    <p:bg>
      <p:bgPr>
        <a:solidFill>
          <a:schemeClr val="accent5"/>
        </a:solidFill>
        <a:effectLst/>
      </p:bgPr>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BB2C3381-E344-0E4F-A0BA-73BB5887462C}"/>
              </a:ext>
            </a:extLst>
          </p:cNvPr>
          <p:cNvSpPr/>
          <p:nvPr userDrawn="1"/>
        </p:nvSpPr>
        <p:spPr>
          <a:xfrm>
            <a:off x="4067164" y="0"/>
            <a:ext cx="8124835" cy="6858000"/>
          </a:xfrm>
          <a:prstGeom prst="rect">
            <a:avLst/>
          </a:prstGeom>
          <a:solidFill>
            <a:srgbClr val="FFFFFF"/>
          </a:solidFill>
          <a:ln w="12700">
            <a:miter lim="400000"/>
          </a:ln>
        </p:spPr>
        <p:txBody>
          <a:bodyPr lIns="45716" rIns="45716" anchor="ctr"/>
          <a:lstStyle/>
          <a:p>
            <a:pPr defTabSz="914355">
              <a:defRPr>
                <a:solidFill>
                  <a:srgbClr val="1FA2DC"/>
                </a:solidFill>
              </a:defRPr>
            </a:pPr>
            <a:endParaRPr sz="3600">
              <a:solidFill>
                <a:srgbClr val="1FA2DC"/>
              </a:solidFill>
              <a:latin typeface="Scotia Regular" panose="020B0503020203020204" pitchFamily="34" charset="0"/>
            </a:endParaRPr>
          </a:p>
        </p:txBody>
      </p:sp>
      <p:sp>
        <p:nvSpPr>
          <p:cNvPr id="12" name="TextBox 11">
            <a:extLst>
              <a:ext uri="{FF2B5EF4-FFF2-40B4-BE49-F238E27FC236}">
                <a16:creationId xmlns:a16="http://schemas.microsoft.com/office/drawing/2014/main" id="{597E7282-3BC7-4544-8051-E534A579460C}"/>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7" name="Graphic 16">
            <a:extLst>
              <a:ext uri="{FF2B5EF4-FFF2-40B4-BE49-F238E27FC236}">
                <a16:creationId xmlns:a16="http://schemas.microsoft.com/office/drawing/2014/main" id="{A0F7AAFC-8746-104F-92FA-0C832699D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 name="Text Placeholder 3">
            <a:extLst>
              <a:ext uri="{FF2B5EF4-FFF2-40B4-BE49-F238E27FC236}">
                <a16:creationId xmlns:a16="http://schemas.microsoft.com/office/drawing/2014/main" id="{FAB0E8EF-EAFA-9F41-AD5B-60BE4BB9CD1E}"/>
              </a:ext>
            </a:extLst>
          </p:cNvPr>
          <p:cNvSpPr>
            <a:spLocks noGrp="1"/>
          </p:cNvSpPr>
          <p:nvPr>
            <p:ph type="body" sz="quarter" idx="11" hasCustomPrompt="1"/>
          </p:nvPr>
        </p:nvSpPr>
        <p:spPr>
          <a:xfrm>
            <a:off x="4468762" y="811656"/>
            <a:ext cx="852746" cy="606425"/>
          </a:xfrm>
        </p:spPr>
        <p:txBody>
          <a:bodyPr>
            <a:noAutofit/>
          </a:bodyPr>
          <a:lstStyle>
            <a:lvl1pPr marL="0" indent="0">
              <a:buNone/>
              <a:defRPr sz="4400" b="1" i="0">
                <a:solidFill>
                  <a:schemeClr val="accent5"/>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1</a:t>
            </a:r>
            <a:endParaRPr lang="en-CA"/>
          </a:p>
        </p:txBody>
      </p:sp>
      <p:sp>
        <p:nvSpPr>
          <p:cNvPr id="26" name="Text Placeholder 3">
            <a:extLst>
              <a:ext uri="{FF2B5EF4-FFF2-40B4-BE49-F238E27FC236}">
                <a16:creationId xmlns:a16="http://schemas.microsoft.com/office/drawing/2014/main" id="{078B6053-341B-3546-B65C-D203574395FC}"/>
              </a:ext>
            </a:extLst>
          </p:cNvPr>
          <p:cNvSpPr>
            <a:spLocks noGrp="1"/>
          </p:cNvSpPr>
          <p:nvPr>
            <p:ph type="body" sz="quarter" idx="12" hasCustomPrompt="1"/>
          </p:nvPr>
        </p:nvSpPr>
        <p:spPr>
          <a:xfrm>
            <a:off x="4464658" y="1421093"/>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27" name="Text Placeholder 2">
            <a:extLst>
              <a:ext uri="{FF2B5EF4-FFF2-40B4-BE49-F238E27FC236}">
                <a16:creationId xmlns:a16="http://schemas.microsoft.com/office/drawing/2014/main" id="{949095C2-1FF8-D240-912A-0652D5E6C31B}"/>
              </a:ext>
            </a:extLst>
          </p:cNvPr>
          <p:cNvSpPr>
            <a:spLocks noGrp="1"/>
          </p:cNvSpPr>
          <p:nvPr>
            <p:ph type="body" sz="quarter" idx="13" hasCustomPrompt="1"/>
          </p:nvPr>
        </p:nvSpPr>
        <p:spPr>
          <a:xfrm>
            <a:off x="4459947" y="1792603"/>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8" name="Text Placeholder 3">
            <a:extLst>
              <a:ext uri="{FF2B5EF4-FFF2-40B4-BE49-F238E27FC236}">
                <a16:creationId xmlns:a16="http://schemas.microsoft.com/office/drawing/2014/main" id="{6D17212C-3D8A-FB40-880B-D9C8E577EC95}"/>
              </a:ext>
            </a:extLst>
          </p:cNvPr>
          <p:cNvSpPr>
            <a:spLocks noGrp="1"/>
          </p:cNvSpPr>
          <p:nvPr>
            <p:ph type="body" sz="quarter" idx="14" hasCustomPrompt="1"/>
          </p:nvPr>
        </p:nvSpPr>
        <p:spPr>
          <a:xfrm>
            <a:off x="8284175" y="811656"/>
            <a:ext cx="852746" cy="606425"/>
          </a:xfrm>
        </p:spPr>
        <p:txBody>
          <a:bodyPr>
            <a:noAutofit/>
          </a:bodyPr>
          <a:lstStyle>
            <a:lvl1pPr marL="0" indent="0">
              <a:buNone/>
              <a:defRPr sz="4400" b="1" i="0">
                <a:solidFill>
                  <a:schemeClr val="accent5"/>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2</a:t>
            </a:r>
            <a:endParaRPr lang="en-CA"/>
          </a:p>
        </p:txBody>
      </p:sp>
      <p:sp>
        <p:nvSpPr>
          <p:cNvPr id="29" name="Text Placeholder 3">
            <a:extLst>
              <a:ext uri="{FF2B5EF4-FFF2-40B4-BE49-F238E27FC236}">
                <a16:creationId xmlns:a16="http://schemas.microsoft.com/office/drawing/2014/main" id="{C610B273-F215-194F-A67D-93726DE543DA}"/>
              </a:ext>
            </a:extLst>
          </p:cNvPr>
          <p:cNvSpPr>
            <a:spLocks noGrp="1"/>
          </p:cNvSpPr>
          <p:nvPr>
            <p:ph type="body" sz="quarter" idx="15" hasCustomPrompt="1"/>
          </p:nvPr>
        </p:nvSpPr>
        <p:spPr>
          <a:xfrm>
            <a:off x="8280071" y="1421093"/>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0" name="Text Placeholder 2">
            <a:extLst>
              <a:ext uri="{FF2B5EF4-FFF2-40B4-BE49-F238E27FC236}">
                <a16:creationId xmlns:a16="http://schemas.microsoft.com/office/drawing/2014/main" id="{0A1DA9C3-EC91-CD49-AA37-47D93B217A8C}"/>
              </a:ext>
            </a:extLst>
          </p:cNvPr>
          <p:cNvSpPr>
            <a:spLocks noGrp="1"/>
          </p:cNvSpPr>
          <p:nvPr>
            <p:ph type="body" sz="quarter" idx="16" hasCustomPrompt="1"/>
          </p:nvPr>
        </p:nvSpPr>
        <p:spPr>
          <a:xfrm>
            <a:off x="8270649" y="1792603"/>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1" name="Text Placeholder 3">
            <a:extLst>
              <a:ext uri="{FF2B5EF4-FFF2-40B4-BE49-F238E27FC236}">
                <a16:creationId xmlns:a16="http://schemas.microsoft.com/office/drawing/2014/main" id="{E11DFFF7-3447-164A-A825-7DCDCE7EA717}"/>
              </a:ext>
            </a:extLst>
          </p:cNvPr>
          <p:cNvSpPr>
            <a:spLocks noGrp="1"/>
          </p:cNvSpPr>
          <p:nvPr>
            <p:ph type="body" sz="quarter" idx="17" hasCustomPrompt="1"/>
          </p:nvPr>
        </p:nvSpPr>
        <p:spPr>
          <a:xfrm>
            <a:off x="4468762" y="3784378"/>
            <a:ext cx="852746" cy="606425"/>
          </a:xfrm>
        </p:spPr>
        <p:txBody>
          <a:bodyPr>
            <a:noAutofit/>
          </a:bodyPr>
          <a:lstStyle>
            <a:lvl1pPr marL="0" indent="0">
              <a:buNone/>
              <a:defRPr sz="4400" b="1" i="0">
                <a:solidFill>
                  <a:schemeClr val="accent5"/>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3</a:t>
            </a:r>
            <a:endParaRPr lang="en-CA"/>
          </a:p>
        </p:txBody>
      </p:sp>
      <p:sp>
        <p:nvSpPr>
          <p:cNvPr id="32" name="Text Placeholder 3">
            <a:extLst>
              <a:ext uri="{FF2B5EF4-FFF2-40B4-BE49-F238E27FC236}">
                <a16:creationId xmlns:a16="http://schemas.microsoft.com/office/drawing/2014/main" id="{07ECF35C-A3E2-8945-B39C-9ADAAB5654EB}"/>
              </a:ext>
            </a:extLst>
          </p:cNvPr>
          <p:cNvSpPr>
            <a:spLocks noGrp="1"/>
          </p:cNvSpPr>
          <p:nvPr>
            <p:ph type="body" sz="quarter" idx="18" hasCustomPrompt="1"/>
          </p:nvPr>
        </p:nvSpPr>
        <p:spPr>
          <a:xfrm>
            <a:off x="4464658" y="4393815"/>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3" name="Text Placeholder 2">
            <a:extLst>
              <a:ext uri="{FF2B5EF4-FFF2-40B4-BE49-F238E27FC236}">
                <a16:creationId xmlns:a16="http://schemas.microsoft.com/office/drawing/2014/main" id="{417B2FFD-4A9F-0E4F-AE47-7BDF1724B3AC}"/>
              </a:ext>
            </a:extLst>
          </p:cNvPr>
          <p:cNvSpPr>
            <a:spLocks noGrp="1"/>
          </p:cNvSpPr>
          <p:nvPr>
            <p:ph type="body" sz="quarter" idx="19" hasCustomPrompt="1"/>
          </p:nvPr>
        </p:nvSpPr>
        <p:spPr>
          <a:xfrm>
            <a:off x="4459947" y="4765325"/>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4" name="Text Placeholder 3">
            <a:extLst>
              <a:ext uri="{FF2B5EF4-FFF2-40B4-BE49-F238E27FC236}">
                <a16:creationId xmlns:a16="http://schemas.microsoft.com/office/drawing/2014/main" id="{6B46CADE-41BF-E247-8557-CF91B6AD0173}"/>
              </a:ext>
            </a:extLst>
          </p:cNvPr>
          <p:cNvSpPr>
            <a:spLocks noGrp="1"/>
          </p:cNvSpPr>
          <p:nvPr>
            <p:ph type="body" sz="quarter" idx="20" hasCustomPrompt="1"/>
          </p:nvPr>
        </p:nvSpPr>
        <p:spPr>
          <a:xfrm>
            <a:off x="8270649" y="3784378"/>
            <a:ext cx="852746" cy="606425"/>
          </a:xfrm>
        </p:spPr>
        <p:txBody>
          <a:bodyPr>
            <a:noAutofit/>
          </a:bodyPr>
          <a:lstStyle>
            <a:lvl1pPr marL="0" indent="0">
              <a:buNone/>
              <a:defRPr sz="4400" b="1" i="0">
                <a:solidFill>
                  <a:schemeClr val="accent5"/>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4</a:t>
            </a:r>
            <a:endParaRPr lang="en-CA"/>
          </a:p>
        </p:txBody>
      </p:sp>
      <p:sp>
        <p:nvSpPr>
          <p:cNvPr id="35" name="Text Placeholder 3">
            <a:extLst>
              <a:ext uri="{FF2B5EF4-FFF2-40B4-BE49-F238E27FC236}">
                <a16:creationId xmlns:a16="http://schemas.microsoft.com/office/drawing/2014/main" id="{A63052E1-2C11-AA42-BD6E-FFFB020D18B5}"/>
              </a:ext>
            </a:extLst>
          </p:cNvPr>
          <p:cNvSpPr>
            <a:spLocks noGrp="1"/>
          </p:cNvSpPr>
          <p:nvPr>
            <p:ph type="body" sz="quarter" idx="21" hasCustomPrompt="1"/>
          </p:nvPr>
        </p:nvSpPr>
        <p:spPr>
          <a:xfrm>
            <a:off x="8270649" y="4393815"/>
            <a:ext cx="2681547" cy="267085"/>
          </a:xfrm>
        </p:spPr>
        <p:txBody>
          <a:bodyPr>
            <a:noAutofit/>
          </a:bodyPr>
          <a:lstStyle>
            <a:lvl1pPr marL="0" indent="0">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6" name="Text Placeholder 2">
            <a:extLst>
              <a:ext uri="{FF2B5EF4-FFF2-40B4-BE49-F238E27FC236}">
                <a16:creationId xmlns:a16="http://schemas.microsoft.com/office/drawing/2014/main" id="{4A516312-D489-2E45-BDFF-783F273AF9FE}"/>
              </a:ext>
            </a:extLst>
          </p:cNvPr>
          <p:cNvSpPr>
            <a:spLocks noGrp="1"/>
          </p:cNvSpPr>
          <p:nvPr>
            <p:ph type="body" sz="quarter" idx="22" hasCustomPrompt="1"/>
          </p:nvPr>
        </p:nvSpPr>
        <p:spPr>
          <a:xfrm>
            <a:off x="8270649" y="4765325"/>
            <a:ext cx="3400088" cy="1520354"/>
          </a:xfrm>
        </p:spPr>
        <p:txBody>
          <a:bodyPr>
            <a:noAutofit/>
          </a:bodyPr>
          <a:lstStyle>
            <a:lvl1pPr marL="177750" indent="-177750">
              <a:lnSpc>
                <a:spcPct val="100000"/>
              </a:lnSpc>
              <a:spcBef>
                <a:spcPts val="0"/>
              </a:spcBef>
              <a:spcAft>
                <a:spcPts val="1400"/>
              </a:spcAft>
              <a:buClrTx/>
              <a:buSzPct val="80000"/>
              <a:buFont typeface="Arial" panose="020B0604020202020204" pitchFamily="34" charset="0"/>
              <a:buChar char="•"/>
              <a:defRPr sz="14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a:p>
            <a:pPr lvl="0"/>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7" name="Title 1">
            <a:extLst>
              <a:ext uri="{FF2B5EF4-FFF2-40B4-BE49-F238E27FC236}">
                <a16:creationId xmlns:a16="http://schemas.microsoft.com/office/drawing/2014/main" id="{28D9AFCA-2C16-8F40-B798-5344D5645A93}"/>
              </a:ext>
            </a:extLst>
          </p:cNvPr>
          <p:cNvSpPr>
            <a:spLocks noGrp="1"/>
          </p:cNvSpPr>
          <p:nvPr>
            <p:ph type="title" hasCustomPrompt="1"/>
          </p:nvPr>
        </p:nvSpPr>
        <p:spPr>
          <a:xfrm>
            <a:off x="471051" y="817861"/>
            <a:ext cx="3173849" cy="1105743"/>
          </a:xfrm>
        </p:spPr>
        <p:txBody>
          <a:bodyPr anchor="t">
            <a:noAutofit/>
          </a:bodyPr>
          <a:lstStyle>
            <a:lvl1pPr>
              <a:defRPr>
                <a:solidFill>
                  <a:srgbClr val="FFFFFF"/>
                </a:solidFill>
              </a:defRPr>
            </a:lvl1pPr>
          </a:lstStyle>
          <a:p>
            <a:r>
              <a:rPr lang="en-US"/>
              <a:t>Slide title goes here</a:t>
            </a:r>
          </a:p>
        </p:txBody>
      </p:sp>
      <p:sp>
        <p:nvSpPr>
          <p:cNvPr id="38" name="Text Placeholder 2">
            <a:extLst>
              <a:ext uri="{FF2B5EF4-FFF2-40B4-BE49-F238E27FC236}">
                <a16:creationId xmlns:a16="http://schemas.microsoft.com/office/drawing/2014/main" id="{E6EDF971-BC57-5547-B31D-35DEA24E61DC}"/>
              </a:ext>
            </a:extLst>
          </p:cNvPr>
          <p:cNvSpPr>
            <a:spLocks noGrp="1"/>
          </p:cNvSpPr>
          <p:nvPr>
            <p:ph type="body" sz="quarter" idx="23" hasCustomPrompt="1"/>
          </p:nvPr>
        </p:nvSpPr>
        <p:spPr>
          <a:xfrm>
            <a:off x="471052" y="2239740"/>
            <a:ext cx="3173848" cy="4302125"/>
          </a:xfrm>
        </p:spPr>
        <p:txBody>
          <a:bodyPr>
            <a:noAutofit/>
          </a:bodyPr>
          <a:lstStyle>
            <a:lvl1pPr marL="0" indent="0">
              <a:lnSpc>
                <a:spcPct val="110000"/>
              </a:lnSpc>
              <a:spcBef>
                <a:spcPts val="0"/>
              </a:spcBef>
              <a:spcAft>
                <a:spcPts val="1600"/>
              </a:spcAft>
              <a:buFont typeface="Arial" panose="020B0604020202020204" pitchFamily="34" charset="0"/>
              <a:buNone/>
              <a:defRPr sz="16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9" name="Text Placeholder 4">
            <a:extLst>
              <a:ext uri="{FF2B5EF4-FFF2-40B4-BE49-F238E27FC236}">
                <a16:creationId xmlns:a16="http://schemas.microsoft.com/office/drawing/2014/main" id="{4EB44BF8-F5AB-7E42-989C-5C3CF75E4B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36463472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ckets - neutral">
    <p:spTree>
      <p:nvGrpSpPr>
        <p:cNvPr id="1" name=""/>
        <p:cNvGrpSpPr/>
        <p:nvPr/>
      </p:nvGrpSpPr>
      <p:grpSpPr>
        <a:xfrm>
          <a:off x="0" y="0"/>
          <a:ext cx="0" cy="0"/>
          <a:chOff x="0" y="0"/>
          <a:chExt cx="0" cy="0"/>
        </a:xfrm>
      </p:grpSpPr>
      <p:sp>
        <p:nvSpPr>
          <p:cNvPr id="33" name="Text Placeholder 20">
            <a:extLst>
              <a:ext uri="{FF2B5EF4-FFF2-40B4-BE49-F238E27FC236}">
                <a16:creationId xmlns:a16="http://schemas.microsoft.com/office/drawing/2014/main" id="{4034B7A9-7EA1-E845-A98A-3A01460B41C6}"/>
              </a:ext>
            </a:extLst>
          </p:cNvPr>
          <p:cNvSpPr>
            <a:spLocks noGrp="1"/>
          </p:cNvSpPr>
          <p:nvPr>
            <p:ph type="body" sz="quarter" idx="34" hasCustomPrompt="1"/>
          </p:nvPr>
        </p:nvSpPr>
        <p:spPr>
          <a:xfrm>
            <a:off x="8211657" y="2409825"/>
            <a:ext cx="3503613" cy="3502025"/>
          </a:xfrm>
          <a:solidFill>
            <a:srgbClr val="009DD6"/>
          </a:solidFill>
        </p:spPr>
        <p:txBody>
          <a:bodyPr tIns="576000">
            <a:normAutofit/>
          </a:bodyPr>
          <a:lstStyle>
            <a:lvl1pPr marL="0" indent="0" algn="ctr">
              <a:buNone/>
              <a:defRPr sz="4000">
                <a:solidFill>
                  <a:srgbClr val="FFFFFF"/>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CA"/>
              <a:t>3</a:t>
            </a:r>
          </a:p>
        </p:txBody>
      </p:sp>
      <p:sp>
        <p:nvSpPr>
          <p:cNvPr id="19" name="Text Placeholder 20">
            <a:extLst>
              <a:ext uri="{FF2B5EF4-FFF2-40B4-BE49-F238E27FC236}">
                <a16:creationId xmlns:a16="http://schemas.microsoft.com/office/drawing/2014/main" id="{1523B584-15AD-EE4E-8C1E-BD1D28C0150B}"/>
              </a:ext>
            </a:extLst>
          </p:cNvPr>
          <p:cNvSpPr>
            <a:spLocks noGrp="1"/>
          </p:cNvSpPr>
          <p:nvPr>
            <p:ph type="body" sz="quarter" idx="33" hasCustomPrompt="1"/>
          </p:nvPr>
        </p:nvSpPr>
        <p:spPr>
          <a:xfrm>
            <a:off x="4339539" y="2409825"/>
            <a:ext cx="3503613" cy="3502025"/>
          </a:xfrm>
          <a:solidFill>
            <a:srgbClr val="F2609E"/>
          </a:solidFill>
        </p:spPr>
        <p:txBody>
          <a:bodyPr tIns="576000">
            <a:normAutofit/>
          </a:bodyPr>
          <a:lstStyle>
            <a:lvl1pPr marL="0" indent="0" algn="ctr">
              <a:buNone/>
              <a:defRPr sz="4000">
                <a:solidFill>
                  <a:srgbClr val="FFFFFF"/>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CA"/>
              <a:t>2</a:t>
            </a:r>
          </a:p>
        </p:txBody>
      </p:sp>
      <p:sp>
        <p:nvSpPr>
          <p:cNvPr id="21" name="Text Placeholder 20">
            <a:extLst>
              <a:ext uri="{FF2B5EF4-FFF2-40B4-BE49-F238E27FC236}">
                <a16:creationId xmlns:a16="http://schemas.microsoft.com/office/drawing/2014/main" id="{7353F723-315D-4D40-93C1-DB856F1F9CF4}"/>
              </a:ext>
            </a:extLst>
          </p:cNvPr>
          <p:cNvSpPr>
            <a:spLocks noGrp="1"/>
          </p:cNvSpPr>
          <p:nvPr>
            <p:ph type="body" sz="quarter" idx="24" hasCustomPrompt="1"/>
          </p:nvPr>
        </p:nvSpPr>
        <p:spPr>
          <a:xfrm>
            <a:off x="467421" y="2409825"/>
            <a:ext cx="3503613" cy="3502025"/>
          </a:xfrm>
          <a:solidFill>
            <a:srgbClr val="7849B8"/>
          </a:solidFill>
        </p:spPr>
        <p:txBody>
          <a:bodyPr tIns="576000">
            <a:normAutofit/>
          </a:bodyPr>
          <a:lstStyle>
            <a:lvl1pPr marL="0" indent="0" algn="ctr">
              <a:buNone/>
              <a:defRPr sz="4000">
                <a:solidFill>
                  <a:srgbClr val="FFFFFF"/>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CA"/>
              <a:t>1</a:t>
            </a: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467421" y="816110"/>
            <a:ext cx="11220995" cy="530090"/>
          </a:xfrm>
        </p:spPr>
        <p:txBody>
          <a:bodyPr anchor="t">
            <a:noAutofit/>
          </a:bodyPr>
          <a:lstStyle>
            <a:lvl1pPr>
              <a:defRPr>
                <a:solidFill>
                  <a:srgbClr val="333333"/>
                </a:solidFill>
              </a:defRPr>
            </a:lvl1pPr>
          </a:lstStyle>
          <a:p>
            <a:r>
              <a:rPr lang="en-US"/>
              <a:t>Slide title</a:t>
            </a:r>
          </a:p>
        </p:txBody>
      </p:sp>
      <p:sp>
        <p:nvSpPr>
          <p:cNvPr id="20" name="Text Placeholder 2">
            <a:extLst>
              <a:ext uri="{FF2B5EF4-FFF2-40B4-BE49-F238E27FC236}">
                <a16:creationId xmlns:a16="http://schemas.microsoft.com/office/drawing/2014/main" id="{9DD7C152-DC02-9547-8A51-195BB14CD838}"/>
              </a:ext>
            </a:extLst>
          </p:cNvPr>
          <p:cNvSpPr>
            <a:spLocks noGrp="1"/>
          </p:cNvSpPr>
          <p:nvPr>
            <p:ph type="body" sz="quarter" idx="23" hasCustomPrompt="1"/>
          </p:nvPr>
        </p:nvSpPr>
        <p:spPr>
          <a:xfrm>
            <a:off x="471051" y="1408951"/>
            <a:ext cx="11217272" cy="384336"/>
          </a:xfrm>
        </p:spPr>
        <p:txBody>
          <a:bodyPr>
            <a:noAutofit/>
          </a:bodyPr>
          <a:lstStyle>
            <a:lvl1pPr marL="0" indent="0">
              <a:lnSpc>
                <a:spcPct val="110000"/>
              </a:lnSpc>
              <a:spcBef>
                <a:spcPts val="0"/>
              </a:spcBef>
              <a:spcAft>
                <a:spcPts val="1600"/>
              </a:spcAft>
              <a:buFont typeface="Arial" panose="020B0604020202020204" pitchFamily="34" charset="0"/>
              <a:buNone/>
              <a:defRPr sz="20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Subtitle goes here:</a:t>
            </a:r>
          </a:p>
        </p:txBody>
      </p:sp>
      <p:sp>
        <p:nvSpPr>
          <p:cNvPr id="23" name="Text Placeholder 3">
            <a:extLst>
              <a:ext uri="{FF2B5EF4-FFF2-40B4-BE49-F238E27FC236}">
                <a16:creationId xmlns:a16="http://schemas.microsoft.com/office/drawing/2014/main" id="{5465EBD9-EA51-3542-8901-3E23B8F80DD9}"/>
              </a:ext>
            </a:extLst>
          </p:cNvPr>
          <p:cNvSpPr>
            <a:spLocks noGrp="1"/>
          </p:cNvSpPr>
          <p:nvPr>
            <p:ph type="body" sz="quarter" idx="12" hasCustomPrompt="1"/>
          </p:nvPr>
        </p:nvSpPr>
        <p:spPr>
          <a:xfrm>
            <a:off x="845295" y="3783373"/>
            <a:ext cx="2747865" cy="364207"/>
          </a:xfrm>
        </p:spPr>
        <p:txBody>
          <a:bodyPr>
            <a:noAutofit/>
          </a:bodyPr>
          <a:lstStyle>
            <a:lvl1pPr marL="0" indent="0" algn="ctr">
              <a:buNone/>
              <a:defRPr sz="18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24" name="Text Placeholder 2">
            <a:extLst>
              <a:ext uri="{FF2B5EF4-FFF2-40B4-BE49-F238E27FC236}">
                <a16:creationId xmlns:a16="http://schemas.microsoft.com/office/drawing/2014/main" id="{74EB34A4-2B8D-3D42-B093-51E60F53209D}"/>
              </a:ext>
            </a:extLst>
          </p:cNvPr>
          <p:cNvSpPr>
            <a:spLocks noGrp="1"/>
          </p:cNvSpPr>
          <p:nvPr>
            <p:ph type="body" sz="quarter" idx="13" hasCustomPrompt="1"/>
          </p:nvPr>
        </p:nvSpPr>
        <p:spPr>
          <a:xfrm>
            <a:off x="845295" y="4147580"/>
            <a:ext cx="2747865" cy="1520354"/>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8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p:txBody>
      </p:sp>
      <p:sp>
        <p:nvSpPr>
          <p:cNvPr id="27" name="Text Placeholder 3">
            <a:extLst>
              <a:ext uri="{FF2B5EF4-FFF2-40B4-BE49-F238E27FC236}">
                <a16:creationId xmlns:a16="http://schemas.microsoft.com/office/drawing/2014/main" id="{E02B5433-C292-9E4F-964B-E7CB31561044}"/>
              </a:ext>
            </a:extLst>
          </p:cNvPr>
          <p:cNvSpPr>
            <a:spLocks noGrp="1"/>
          </p:cNvSpPr>
          <p:nvPr>
            <p:ph type="body" sz="quarter" idx="27" hasCustomPrompt="1"/>
          </p:nvPr>
        </p:nvSpPr>
        <p:spPr>
          <a:xfrm>
            <a:off x="4722068" y="3783116"/>
            <a:ext cx="2747865" cy="364207"/>
          </a:xfrm>
        </p:spPr>
        <p:txBody>
          <a:bodyPr>
            <a:noAutofit/>
          </a:bodyPr>
          <a:lstStyle>
            <a:lvl1pPr marL="0" indent="0" algn="ctr">
              <a:buNone/>
              <a:defRPr sz="18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28" name="Text Placeholder 2">
            <a:extLst>
              <a:ext uri="{FF2B5EF4-FFF2-40B4-BE49-F238E27FC236}">
                <a16:creationId xmlns:a16="http://schemas.microsoft.com/office/drawing/2014/main" id="{588597B8-8F5B-7241-8F80-52847CCC7E51}"/>
              </a:ext>
            </a:extLst>
          </p:cNvPr>
          <p:cNvSpPr>
            <a:spLocks noGrp="1"/>
          </p:cNvSpPr>
          <p:nvPr>
            <p:ph type="body" sz="quarter" idx="28" hasCustomPrompt="1"/>
          </p:nvPr>
        </p:nvSpPr>
        <p:spPr>
          <a:xfrm>
            <a:off x="4722068" y="4147323"/>
            <a:ext cx="2747865" cy="1520354"/>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8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p:txBody>
      </p:sp>
      <p:sp>
        <p:nvSpPr>
          <p:cNvPr id="31" name="Text Placeholder 3">
            <a:extLst>
              <a:ext uri="{FF2B5EF4-FFF2-40B4-BE49-F238E27FC236}">
                <a16:creationId xmlns:a16="http://schemas.microsoft.com/office/drawing/2014/main" id="{BB309FF7-4E59-F04B-87F0-562805599ED4}"/>
              </a:ext>
            </a:extLst>
          </p:cNvPr>
          <p:cNvSpPr>
            <a:spLocks noGrp="1"/>
          </p:cNvSpPr>
          <p:nvPr>
            <p:ph type="body" sz="quarter" idx="31" hasCustomPrompt="1"/>
          </p:nvPr>
        </p:nvSpPr>
        <p:spPr>
          <a:xfrm>
            <a:off x="8598841" y="3783116"/>
            <a:ext cx="2747865" cy="364207"/>
          </a:xfrm>
        </p:spPr>
        <p:txBody>
          <a:bodyPr>
            <a:noAutofit/>
          </a:bodyPr>
          <a:lstStyle>
            <a:lvl1pPr marL="0" indent="0" algn="ctr">
              <a:buNone/>
              <a:defRPr sz="18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Subheader</a:t>
            </a:r>
            <a:r>
              <a:rPr lang="en-US"/>
              <a:t> goes here</a:t>
            </a:r>
            <a:endParaRPr lang="en-CA"/>
          </a:p>
        </p:txBody>
      </p:sp>
      <p:sp>
        <p:nvSpPr>
          <p:cNvPr id="32" name="Text Placeholder 2">
            <a:extLst>
              <a:ext uri="{FF2B5EF4-FFF2-40B4-BE49-F238E27FC236}">
                <a16:creationId xmlns:a16="http://schemas.microsoft.com/office/drawing/2014/main" id="{76A9C633-7CE6-AF43-A601-00ECEC56DB68}"/>
              </a:ext>
            </a:extLst>
          </p:cNvPr>
          <p:cNvSpPr>
            <a:spLocks noGrp="1"/>
          </p:cNvSpPr>
          <p:nvPr>
            <p:ph type="body" sz="quarter" idx="32" hasCustomPrompt="1"/>
          </p:nvPr>
        </p:nvSpPr>
        <p:spPr>
          <a:xfrm>
            <a:off x="8598841" y="4147323"/>
            <a:ext cx="2747865" cy="1520354"/>
          </a:xfrm>
        </p:spPr>
        <p:txBody>
          <a:bodyPr>
            <a:noAutofit/>
          </a:bodyPr>
          <a:lstStyle>
            <a:lvl1pPr marL="0" indent="0" algn="ctr">
              <a:lnSpc>
                <a:spcPct val="100000"/>
              </a:lnSpc>
              <a:spcBef>
                <a:spcPts val="0"/>
              </a:spcBef>
              <a:spcAft>
                <a:spcPts val="1400"/>
              </a:spcAft>
              <a:buClrTx/>
              <a:buSzPct val="80000"/>
              <a:buFont typeface="Arial" panose="020B0604020202020204" pitchFamily="34" charset="0"/>
              <a:buNone/>
              <a:defRPr sz="18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endParaRPr lang="en-US"/>
          </a:p>
        </p:txBody>
      </p:sp>
    </p:spTree>
    <p:extLst>
      <p:ext uri="{BB962C8B-B14F-4D97-AF65-F5344CB8AC3E}">
        <p14:creationId xmlns:p14="http://schemas.microsoft.com/office/powerpoint/2010/main" val="21943852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 neutr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7" name="Text Placeholder 3">
            <a:extLst>
              <a:ext uri="{FF2B5EF4-FFF2-40B4-BE49-F238E27FC236}">
                <a16:creationId xmlns:a16="http://schemas.microsoft.com/office/drawing/2014/main" id="{2BD5C923-7498-EA40-BD02-7A283450192C}"/>
              </a:ext>
            </a:extLst>
          </p:cNvPr>
          <p:cNvSpPr>
            <a:spLocks noGrp="1"/>
          </p:cNvSpPr>
          <p:nvPr>
            <p:ph type="body" sz="quarter" idx="12" hasCustomPrompt="1"/>
          </p:nvPr>
        </p:nvSpPr>
        <p:spPr>
          <a:xfrm>
            <a:off x="772038" y="4333705"/>
            <a:ext cx="2999688"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18" name="Text Placeholder 2">
            <a:extLst>
              <a:ext uri="{FF2B5EF4-FFF2-40B4-BE49-F238E27FC236}">
                <a16:creationId xmlns:a16="http://schemas.microsoft.com/office/drawing/2014/main" id="{9010C788-4C2D-AA40-BB8D-E6AA72C92788}"/>
              </a:ext>
            </a:extLst>
          </p:cNvPr>
          <p:cNvSpPr>
            <a:spLocks noGrp="1"/>
          </p:cNvSpPr>
          <p:nvPr>
            <p:ph type="body" sz="quarter" idx="13" hasCustomPrompt="1"/>
          </p:nvPr>
        </p:nvSpPr>
        <p:spPr>
          <a:xfrm>
            <a:off x="767325" y="4720548"/>
            <a:ext cx="3025051" cy="1533659"/>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p>
        </p:txBody>
      </p:sp>
      <p:sp>
        <p:nvSpPr>
          <p:cNvPr id="19" name="Text Placeholder 3">
            <a:extLst>
              <a:ext uri="{FF2B5EF4-FFF2-40B4-BE49-F238E27FC236}">
                <a16:creationId xmlns:a16="http://schemas.microsoft.com/office/drawing/2014/main" id="{3EFED777-458A-8C48-8F27-49B19F50D831}"/>
              </a:ext>
            </a:extLst>
          </p:cNvPr>
          <p:cNvSpPr>
            <a:spLocks noGrp="1"/>
          </p:cNvSpPr>
          <p:nvPr>
            <p:ph type="body" sz="quarter" idx="14" hasCustomPrompt="1"/>
          </p:nvPr>
        </p:nvSpPr>
        <p:spPr>
          <a:xfrm>
            <a:off x="4586738" y="4333705"/>
            <a:ext cx="3018524"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0" name="Text Placeholder 2">
            <a:extLst>
              <a:ext uri="{FF2B5EF4-FFF2-40B4-BE49-F238E27FC236}">
                <a16:creationId xmlns:a16="http://schemas.microsoft.com/office/drawing/2014/main" id="{4B6B529F-DFF8-E142-9717-BAE04DC42D03}"/>
              </a:ext>
            </a:extLst>
          </p:cNvPr>
          <p:cNvSpPr>
            <a:spLocks noGrp="1"/>
          </p:cNvSpPr>
          <p:nvPr>
            <p:ph type="body" sz="quarter" idx="15" hasCustomPrompt="1"/>
          </p:nvPr>
        </p:nvSpPr>
        <p:spPr>
          <a:xfrm>
            <a:off x="4580211" y="4720548"/>
            <a:ext cx="3025051" cy="153365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p>
        </p:txBody>
      </p:sp>
      <p:sp>
        <p:nvSpPr>
          <p:cNvPr id="21" name="Text Placeholder 3">
            <a:extLst>
              <a:ext uri="{FF2B5EF4-FFF2-40B4-BE49-F238E27FC236}">
                <a16:creationId xmlns:a16="http://schemas.microsoft.com/office/drawing/2014/main" id="{71A4C9B0-48A9-124F-A76C-0587DF6B2F98}"/>
              </a:ext>
            </a:extLst>
          </p:cNvPr>
          <p:cNvSpPr>
            <a:spLocks noGrp="1"/>
          </p:cNvSpPr>
          <p:nvPr>
            <p:ph type="body" sz="quarter" idx="16" hasCustomPrompt="1"/>
          </p:nvPr>
        </p:nvSpPr>
        <p:spPr>
          <a:xfrm>
            <a:off x="8420274" y="4333705"/>
            <a:ext cx="3023225"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2" name="Text Placeholder 2">
            <a:extLst>
              <a:ext uri="{FF2B5EF4-FFF2-40B4-BE49-F238E27FC236}">
                <a16:creationId xmlns:a16="http://schemas.microsoft.com/office/drawing/2014/main" id="{F6E0BD01-8F9D-D146-9C33-67E96EF38DC0}"/>
              </a:ext>
            </a:extLst>
          </p:cNvPr>
          <p:cNvSpPr>
            <a:spLocks noGrp="1"/>
          </p:cNvSpPr>
          <p:nvPr>
            <p:ph type="body" sz="quarter" idx="17" hasCustomPrompt="1"/>
          </p:nvPr>
        </p:nvSpPr>
        <p:spPr>
          <a:xfrm>
            <a:off x="8415563" y="4720549"/>
            <a:ext cx="3027937" cy="1533657"/>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a:t>
            </a:r>
          </a:p>
        </p:txBody>
      </p:sp>
      <p:sp>
        <p:nvSpPr>
          <p:cNvPr id="23" name="Title 1">
            <a:extLst>
              <a:ext uri="{FF2B5EF4-FFF2-40B4-BE49-F238E27FC236}">
                <a16:creationId xmlns:a16="http://schemas.microsoft.com/office/drawing/2014/main" id="{A90706C2-A3CA-1344-A019-B9F686320F1F}"/>
              </a:ext>
            </a:extLst>
          </p:cNvPr>
          <p:cNvSpPr>
            <a:spLocks noGrp="1"/>
          </p:cNvSpPr>
          <p:nvPr>
            <p:ph type="title" hasCustomPrompt="1"/>
          </p:nvPr>
        </p:nvSpPr>
        <p:spPr>
          <a:xfrm>
            <a:off x="485503" y="1117501"/>
            <a:ext cx="11220995" cy="530090"/>
          </a:xfrm>
        </p:spPr>
        <p:txBody>
          <a:bodyPr anchor="t">
            <a:noAutofit/>
          </a:bodyPr>
          <a:lstStyle>
            <a:lvl1pPr algn="ctr">
              <a:defRPr sz="4800">
                <a:solidFill>
                  <a:srgbClr val="333333"/>
                </a:solidFill>
              </a:defRPr>
            </a:lvl1pPr>
          </a:lstStyle>
          <a:p>
            <a:r>
              <a:rPr lang="en-US"/>
              <a:t>Slide title goes here</a:t>
            </a:r>
          </a:p>
        </p:txBody>
      </p:sp>
      <p:sp>
        <p:nvSpPr>
          <p:cNvPr id="24" name="Text Placeholder 2">
            <a:extLst>
              <a:ext uri="{FF2B5EF4-FFF2-40B4-BE49-F238E27FC236}">
                <a16:creationId xmlns:a16="http://schemas.microsoft.com/office/drawing/2014/main" id="{65C213EE-7F80-434B-957B-FC30E6C3E2A5}"/>
              </a:ext>
            </a:extLst>
          </p:cNvPr>
          <p:cNvSpPr>
            <a:spLocks noGrp="1"/>
          </p:cNvSpPr>
          <p:nvPr>
            <p:ph type="body" sz="quarter" idx="23" hasCustomPrompt="1"/>
          </p:nvPr>
        </p:nvSpPr>
        <p:spPr>
          <a:xfrm>
            <a:off x="487364" y="1778141"/>
            <a:ext cx="11217272" cy="384336"/>
          </a:xfrm>
        </p:spPr>
        <p:txBody>
          <a:bodyPr>
            <a:noAutofit/>
          </a:bodyPr>
          <a:lstStyle>
            <a:lvl1pPr marL="0" indent="0" algn="ctr">
              <a:lnSpc>
                <a:spcPct val="110000"/>
              </a:lnSpc>
              <a:spcBef>
                <a:spcPts val="0"/>
              </a:spcBef>
              <a:spcAft>
                <a:spcPts val="1600"/>
              </a:spcAft>
              <a:buFont typeface="Arial" panose="020B0604020202020204" pitchFamily="34" charset="0"/>
              <a:buNone/>
              <a:defRPr sz="20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Subhead goes here if needed and can be long or short</a:t>
            </a:r>
          </a:p>
        </p:txBody>
      </p:sp>
    </p:spTree>
    <p:extLst>
      <p:ext uri="{BB962C8B-B14F-4D97-AF65-F5344CB8AC3E}">
        <p14:creationId xmlns:p14="http://schemas.microsoft.com/office/powerpoint/2010/main" val="27687666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columns - neutr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23" name="Title 1">
            <a:extLst>
              <a:ext uri="{FF2B5EF4-FFF2-40B4-BE49-F238E27FC236}">
                <a16:creationId xmlns:a16="http://schemas.microsoft.com/office/drawing/2014/main" id="{A90706C2-A3CA-1344-A019-B9F686320F1F}"/>
              </a:ext>
            </a:extLst>
          </p:cNvPr>
          <p:cNvSpPr>
            <a:spLocks noGrp="1"/>
          </p:cNvSpPr>
          <p:nvPr>
            <p:ph type="title" hasCustomPrompt="1"/>
          </p:nvPr>
        </p:nvSpPr>
        <p:spPr>
          <a:xfrm>
            <a:off x="485503" y="1117501"/>
            <a:ext cx="11220995" cy="530090"/>
          </a:xfrm>
        </p:spPr>
        <p:txBody>
          <a:bodyPr anchor="t">
            <a:noAutofit/>
          </a:bodyPr>
          <a:lstStyle>
            <a:lvl1pPr algn="ctr">
              <a:defRPr sz="4800">
                <a:solidFill>
                  <a:srgbClr val="333333"/>
                </a:solidFill>
              </a:defRPr>
            </a:lvl1pPr>
          </a:lstStyle>
          <a:p>
            <a:r>
              <a:rPr lang="en-US"/>
              <a:t>Slide title goes here</a:t>
            </a:r>
          </a:p>
        </p:txBody>
      </p:sp>
      <p:sp>
        <p:nvSpPr>
          <p:cNvPr id="24" name="Text Placeholder 2">
            <a:extLst>
              <a:ext uri="{FF2B5EF4-FFF2-40B4-BE49-F238E27FC236}">
                <a16:creationId xmlns:a16="http://schemas.microsoft.com/office/drawing/2014/main" id="{65C213EE-7F80-434B-957B-FC30E6C3E2A5}"/>
              </a:ext>
            </a:extLst>
          </p:cNvPr>
          <p:cNvSpPr>
            <a:spLocks noGrp="1"/>
          </p:cNvSpPr>
          <p:nvPr>
            <p:ph type="body" sz="quarter" idx="23" hasCustomPrompt="1"/>
          </p:nvPr>
        </p:nvSpPr>
        <p:spPr>
          <a:xfrm>
            <a:off x="487364" y="1778141"/>
            <a:ext cx="11217272" cy="384336"/>
          </a:xfrm>
        </p:spPr>
        <p:txBody>
          <a:bodyPr>
            <a:noAutofit/>
          </a:bodyPr>
          <a:lstStyle>
            <a:lvl1pPr marL="0" indent="0" algn="ctr">
              <a:lnSpc>
                <a:spcPct val="110000"/>
              </a:lnSpc>
              <a:spcBef>
                <a:spcPts val="0"/>
              </a:spcBef>
              <a:spcAft>
                <a:spcPts val="1600"/>
              </a:spcAft>
              <a:buFont typeface="Arial" panose="020B0604020202020204" pitchFamily="34" charset="0"/>
              <a:buNone/>
              <a:defRPr sz="20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Subhead goes here if needed and can be long or short</a:t>
            </a:r>
          </a:p>
        </p:txBody>
      </p:sp>
      <p:sp>
        <p:nvSpPr>
          <p:cNvPr id="29" name="Text Placeholder 3">
            <a:extLst>
              <a:ext uri="{FF2B5EF4-FFF2-40B4-BE49-F238E27FC236}">
                <a16:creationId xmlns:a16="http://schemas.microsoft.com/office/drawing/2014/main" id="{B5C17293-3B66-A245-9965-B686C1ACB782}"/>
              </a:ext>
            </a:extLst>
          </p:cNvPr>
          <p:cNvSpPr>
            <a:spLocks noGrp="1"/>
          </p:cNvSpPr>
          <p:nvPr>
            <p:ph type="body" sz="quarter" idx="12" hasCustomPrompt="1"/>
          </p:nvPr>
        </p:nvSpPr>
        <p:spPr>
          <a:xfrm>
            <a:off x="500038" y="4546184"/>
            <a:ext cx="2430153"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0" name="Text Placeholder 2">
            <a:extLst>
              <a:ext uri="{FF2B5EF4-FFF2-40B4-BE49-F238E27FC236}">
                <a16:creationId xmlns:a16="http://schemas.microsoft.com/office/drawing/2014/main" id="{491C1C57-31EC-5C48-9897-9B924950DD3E}"/>
              </a:ext>
            </a:extLst>
          </p:cNvPr>
          <p:cNvSpPr>
            <a:spLocks noGrp="1"/>
          </p:cNvSpPr>
          <p:nvPr>
            <p:ph type="body" sz="quarter" idx="13" hasCustomPrompt="1"/>
          </p:nvPr>
        </p:nvSpPr>
        <p:spPr>
          <a:xfrm>
            <a:off x="495326" y="4933027"/>
            <a:ext cx="2430153" cy="1533659"/>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31" name="Text Placeholder 3">
            <a:extLst>
              <a:ext uri="{FF2B5EF4-FFF2-40B4-BE49-F238E27FC236}">
                <a16:creationId xmlns:a16="http://schemas.microsoft.com/office/drawing/2014/main" id="{4475AD75-DEE3-5343-9642-66F470ED06FF}"/>
              </a:ext>
            </a:extLst>
          </p:cNvPr>
          <p:cNvSpPr>
            <a:spLocks noGrp="1"/>
          </p:cNvSpPr>
          <p:nvPr>
            <p:ph type="body" sz="quarter" idx="14" hasCustomPrompt="1"/>
          </p:nvPr>
        </p:nvSpPr>
        <p:spPr>
          <a:xfrm>
            <a:off x="3423743" y="4546184"/>
            <a:ext cx="2419856"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2" name="Text Placeholder 2">
            <a:extLst>
              <a:ext uri="{FF2B5EF4-FFF2-40B4-BE49-F238E27FC236}">
                <a16:creationId xmlns:a16="http://schemas.microsoft.com/office/drawing/2014/main" id="{85769853-61D7-6040-A834-91452CF82F07}"/>
              </a:ext>
            </a:extLst>
          </p:cNvPr>
          <p:cNvSpPr>
            <a:spLocks noGrp="1"/>
          </p:cNvSpPr>
          <p:nvPr>
            <p:ph type="body" sz="quarter" idx="15" hasCustomPrompt="1"/>
          </p:nvPr>
        </p:nvSpPr>
        <p:spPr>
          <a:xfrm>
            <a:off x="3417217" y="4933027"/>
            <a:ext cx="2419856" cy="153365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33" name="Text Placeholder 3">
            <a:extLst>
              <a:ext uri="{FF2B5EF4-FFF2-40B4-BE49-F238E27FC236}">
                <a16:creationId xmlns:a16="http://schemas.microsoft.com/office/drawing/2014/main" id="{47056E7E-3199-574F-A8D7-16931AC4EFCD}"/>
              </a:ext>
            </a:extLst>
          </p:cNvPr>
          <p:cNvSpPr>
            <a:spLocks noGrp="1"/>
          </p:cNvSpPr>
          <p:nvPr>
            <p:ph type="body" sz="quarter" idx="16" hasCustomPrompt="1"/>
          </p:nvPr>
        </p:nvSpPr>
        <p:spPr>
          <a:xfrm>
            <a:off x="6385273" y="4546184"/>
            <a:ext cx="2415144"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4" name="Text Placeholder 2">
            <a:extLst>
              <a:ext uri="{FF2B5EF4-FFF2-40B4-BE49-F238E27FC236}">
                <a16:creationId xmlns:a16="http://schemas.microsoft.com/office/drawing/2014/main" id="{021B021C-D024-3447-BB99-A0DE362FF1F6}"/>
              </a:ext>
            </a:extLst>
          </p:cNvPr>
          <p:cNvSpPr>
            <a:spLocks noGrp="1"/>
          </p:cNvSpPr>
          <p:nvPr>
            <p:ph type="body" sz="quarter" idx="17" hasCustomPrompt="1"/>
          </p:nvPr>
        </p:nvSpPr>
        <p:spPr>
          <a:xfrm>
            <a:off x="6380561" y="4933027"/>
            <a:ext cx="2419856" cy="153365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
        <p:nvSpPr>
          <p:cNvPr id="35" name="Text Placeholder 3">
            <a:extLst>
              <a:ext uri="{FF2B5EF4-FFF2-40B4-BE49-F238E27FC236}">
                <a16:creationId xmlns:a16="http://schemas.microsoft.com/office/drawing/2014/main" id="{B57223EE-FFCE-BD49-9680-C09D17545A45}"/>
              </a:ext>
            </a:extLst>
          </p:cNvPr>
          <p:cNvSpPr>
            <a:spLocks noGrp="1"/>
          </p:cNvSpPr>
          <p:nvPr>
            <p:ph type="body" sz="quarter" idx="20" hasCustomPrompt="1"/>
          </p:nvPr>
        </p:nvSpPr>
        <p:spPr>
          <a:xfrm>
            <a:off x="9298681" y="4546185"/>
            <a:ext cx="2393282" cy="294430"/>
          </a:xfrm>
        </p:spPr>
        <p:txBody>
          <a:bodyPr>
            <a:noAutofit/>
          </a:bodyPr>
          <a:lstStyle>
            <a:lvl1pPr marL="0" indent="0">
              <a:spcBef>
                <a:spcPts val="0"/>
              </a:spcBef>
              <a:buNone/>
              <a:defRPr sz="18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36" name="Text Placeholder 2">
            <a:extLst>
              <a:ext uri="{FF2B5EF4-FFF2-40B4-BE49-F238E27FC236}">
                <a16:creationId xmlns:a16="http://schemas.microsoft.com/office/drawing/2014/main" id="{0977F9FC-D1DF-D44E-BD3D-727926328CFC}"/>
              </a:ext>
            </a:extLst>
          </p:cNvPr>
          <p:cNvSpPr>
            <a:spLocks noGrp="1"/>
          </p:cNvSpPr>
          <p:nvPr>
            <p:ph type="body" sz="quarter" idx="21" hasCustomPrompt="1"/>
          </p:nvPr>
        </p:nvSpPr>
        <p:spPr>
          <a:xfrm>
            <a:off x="9298679" y="4933027"/>
            <a:ext cx="2419857" cy="153365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a:t>
            </a:r>
          </a:p>
        </p:txBody>
      </p:sp>
    </p:spTree>
    <p:extLst>
      <p:ext uri="{BB962C8B-B14F-4D97-AF65-F5344CB8AC3E}">
        <p14:creationId xmlns:p14="http://schemas.microsoft.com/office/powerpoint/2010/main" val="101471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Photo collage">
    <p:bg>
      <p:bgPr>
        <a:solidFill>
          <a:schemeClr val="bg2"/>
        </a:solidFill>
        <a:effectLst/>
      </p:bgPr>
    </p:bg>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96A3669-19CE-AC4A-8067-206DCD16244A}"/>
              </a:ext>
            </a:extLst>
          </p:cNvPr>
          <p:cNvSpPr txBox="1">
            <a:spLocks/>
          </p:cNvSpPr>
          <p:nvPr userDrawn="1"/>
        </p:nvSpPr>
        <p:spPr>
          <a:xfrm>
            <a:off x="11375838" y="376731"/>
            <a:ext cx="416436" cy="12311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b="0" i="0" smtClean="0">
                <a:solidFill>
                  <a:schemeClr val="bg2"/>
                </a:solidFill>
                <a:latin typeface="Scotia Regular" panose="020B0503020203020204" pitchFamily="34" charset="0"/>
              </a:rPr>
              <a:pPr algn="r"/>
              <a:t>‹#›</a:t>
            </a:fld>
            <a:endParaRPr lang="en-CA" sz="800" b="0" i="0">
              <a:solidFill>
                <a:schemeClr val="bg2"/>
              </a:solidFill>
              <a:latin typeface="Scotia Regular" panose="020B0503020203020204" pitchFamily="34" charset="0"/>
            </a:endParaRPr>
          </a:p>
        </p:txBody>
      </p:sp>
      <p:pic>
        <p:nvPicPr>
          <p:cNvPr id="7" name="Picture 6">
            <a:extLst>
              <a:ext uri="{FF2B5EF4-FFF2-40B4-BE49-F238E27FC236}">
                <a16:creationId xmlns:a16="http://schemas.microsoft.com/office/drawing/2014/main" id="{D668B744-3109-3E44-BF75-5E3981CAC2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613" y="387268"/>
            <a:ext cx="566335" cy="80905"/>
          </a:xfrm>
          <a:prstGeom prst="rect">
            <a:avLst/>
          </a:prstGeom>
        </p:spPr>
      </p:pic>
      <p:sp>
        <p:nvSpPr>
          <p:cNvPr id="11" name="Rectangle 10">
            <a:extLst>
              <a:ext uri="{FF2B5EF4-FFF2-40B4-BE49-F238E27FC236}">
                <a16:creationId xmlns:a16="http://schemas.microsoft.com/office/drawing/2014/main" id="{E284152D-B10F-7B43-9F43-51813C6A2715}"/>
              </a:ext>
            </a:extLst>
          </p:cNvPr>
          <p:cNvSpPr/>
          <p:nvPr userDrawn="1"/>
        </p:nvSpPr>
        <p:spPr>
          <a:xfrm flipV="1">
            <a:off x="0" y="767442"/>
            <a:ext cx="12192000" cy="6090556"/>
          </a:xfrm>
          <a:prstGeom prst="rect">
            <a:avLst/>
          </a:prstGeom>
          <a:solidFill>
            <a:schemeClr val="bg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323232"/>
              </a:solidFill>
              <a:effectLst/>
              <a:uFillTx/>
              <a:latin typeface="Gotham"/>
              <a:ea typeface="Gotham"/>
              <a:cs typeface="Gotham"/>
              <a:sym typeface="Gotham"/>
            </a:endParaRPr>
          </a:p>
        </p:txBody>
      </p:sp>
    </p:spTree>
    <p:extLst>
      <p:ext uri="{BB962C8B-B14F-4D97-AF65-F5344CB8AC3E}">
        <p14:creationId xmlns:p14="http://schemas.microsoft.com/office/powerpoint/2010/main" val="3216591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 numbered subheads - Neutral">
    <p:bg>
      <p:bgPr>
        <a:solidFill>
          <a:schemeClr val="bg1"/>
        </a:solidFill>
        <a:effectLst/>
      </p:bgPr>
    </p:bg>
    <p:spTree>
      <p:nvGrpSpPr>
        <p:cNvPr id="1" name=""/>
        <p:cNvGrpSpPr/>
        <p:nvPr/>
      </p:nvGrpSpPr>
      <p:grpSpPr>
        <a:xfrm>
          <a:off x="0" y="0"/>
          <a:ext cx="0" cy="0"/>
          <a:chOff x="0" y="0"/>
          <a:chExt cx="0" cy="0"/>
        </a:xfrm>
      </p:grpSpPr>
      <p:sp>
        <p:nvSpPr>
          <p:cNvPr id="67" name="Text Placeholder 3">
            <a:extLst>
              <a:ext uri="{FF2B5EF4-FFF2-40B4-BE49-F238E27FC236}">
                <a16:creationId xmlns:a16="http://schemas.microsoft.com/office/drawing/2014/main" id="{96B9C4A8-C0C9-B442-8305-4BE33620E3E9}"/>
              </a:ext>
            </a:extLst>
          </p:cNvPr>
          <p:cNvSpPr>
            <a:spLocks noGrp="1"/>
          </p:cNvSpPr>
          <p:nvPr>
            <p:ph type="body" sz="quarter" idx="22" hasCustomPrompt="1"/>
          </p:nvPr>
        </p:nvSpPr>
        <p:spPr>
          <a:xfrm>
            <a:off x="487848"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68" name="Text Placeholder 3">
            <a:extLst>
              <a:ext uri="{FF2B5EF4-FFF2-40B4-BE49-F238E27FC236}">
                <a16:creationId xmlns:a16="http://schemas.microsoft.com/office/drawing/2014/main" id="{A17BEE10-8C37-E740-BB1D-922BF20FE555}"/>
              </a:ext>
            </a:extLst>
          </p:cNvPr>
          <p:cNvSpPr>
            <a:spLocks noGrp="1"/>
          </p:cNvSpPr>
          <p:nvPr>
            <p:ph type="body" sz="quarter" idx="23" hasCustomPrompt="1"/>
          </p:nvPr>
        </p:nvSpPr>
        <p:spPr>
          <a:xfrm>
            <a:off x="2772195"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69" name="Text Placeholder 3">
            <a:extLst>
              <a:ext uri="{FF2B5EF4-FFF2-40B4-BE49-F238E27FC236}">
                <a16:creationId xmlns:a16="http://schemas.microsoft.com/office/drawing/2014/main" id="{171A9E2E-06FA-F647-965F-19FE8DF943DF}"/>
              </a:ext>
            </a:extLst>
          </p:cNvPr>
          <p:cNvSpPr>
            <a:spLocks noGrp="1"/>
          </p:cNvSpPr>
          <p:nvPr>
            <p:ph type="body" sz="quarter" idx="24" hasCustomPrompt="1"/>
          </p:nvPr>
        </p:nvSpPr>
        <p:spPr>
          <a:xfrm>
            <a:off x="5056542"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0" name="Text Placeholder 3">
            <a:extLst>
              <a:ext uri="{FF2B5EF4-FFF2-40B4-BE49-F238E27FC236}">
                <a16:creationId xmlns:a16="http://schemas.microsoft.com/office/drawing/2014/main" id="{8CF08C04-DAC1-4846-8251-D6F9574076FE}"/>
              </a:ext>
            </a:extLst>
          </p:cNvPr>
          <p:cNvSpPr>
            <a:spLocks noGrp="1"/>
          </p:cNvSpPr>
          <p:nvPr>
            <p:ph type="body" sz="quarter" idx="25" hasCustomPrompt="1"/>
          </p:nvPr>
        </p:nvSpPr>
        <p:spPr>
          <a:xfrm>
            <a:off x="7340889"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1" name="Text Placeholder 3">
            <a:extLst>
              <a:ext uri="{FF2B5EF4-FFF2-40B4-BE49-F238E27FC236}">
                <a16:creationId xmlns:a16="http://schemas.microsoft.com/office/drawing/2014/main" id="{BBB08051-CCB8-0748-9FF1-E7693A66CABA}"/>
              </a:ext>
            </a:extLst>
          </p:cNvPr>
          <p:cNvSpPr>
            <a:spLocks noGrp="1"/>
          </p:cNvSpPr>
          <p:nvPr>
            <p:ph type="body" sz="quarter" idx="26" hasCustomPrompt="1"/>
          </p:nvPr>
        </p:nvSpPr>
        <p:spPr>
          <a:xfrm>
            <a:off x="9625238" y="2297200"/>
            <a:ext cx="2079949" cy="3930606"/>
          </a:xfrm>
          <a:prstGeom prst="roundRect">
            <a:avLst>
              <a:gd name="adj" fmla="val 7360"/>
            </a:avLst>
          </a:prstGeom>
          <a:solidFill>
            <a:srgbClr val="F6F6F6"/>
          </a:solidFill>
        </p:spPr>
        <p:txBody>
          <a:bodyPr lIns="108000" tIns="396000" rIns="108000" bIns="144000">
            <a:noAutofit/>
          </a:bodyPr>
          <a:lstStyle>
            <a:lvl1pPr marL="0" indent="0" algn="l">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tx1"/>
                </a:solidFill>
              </a:defRPr>
            </a:lvl1pPr>
          </a:lstStyle>
          <a:p>
            <a:r>
              <a:rPr lang="en-US"/>
              <a:t>Slide title</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631747"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2916841"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5201935"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28" name="Text Placeholder 2">
            <a:extLst>
              <a:ext uri="{FF2B5EF4-FFF2-40B4-BE49-F238E27FC236}">
                <a16:creationId xmlns:a16="http://schemas.microsoft.com/office/drawing/2014/main" id="{A1AD0A15-F7E8-CA46-B543-2CAC6CE1B469}"/>
              </a:ext>
            </a:extLst>
          </p:cNvPr>
          <p:cNvSpPr>
            <a:spLocks noGrp="1"/>
          </p:cNvSpPr>
          <p:nvPr>
            <p:ph type="body" sz="quarter" idx="19" hasCustomPrompt="1"/>
          </p:nvPr>
        </p:nvSpPr>
        <p:spPr>
          <a:xfrm>
            <a:off x="7491741"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786259" y="3141593"/>
            <a:ext cx="1785662" cy="2689128"/>
          </a:xfrm>
        </p:spPr>
        <p:txBody>
          <a:bodyPr>
            <a:noAutofit/>
          </a:bodyPr>
          <a:lstStyle>
            <a:lvl1pPr marL="0" indent="0">
              <a:lnSpc>
                <a:spcPct val="110000"/>
              </a:lnSpc>
              <a:spcBef>
                <a:spcPts val="0"/>
              </a:spcBef>
              <a:spcAft>
                <a:spcPts val="1400"/>
              </a:spcAft>
              <a:buClrTx/>
              <a:buSzPct val="80000"/>
              <a:buFont typeface="Arial" panose="020B0604020202020204" pitchFamily="34" charset="0"/>
              <a:buNone/>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endParaRPr lang="en-US"/>
          </a:p>
        </p:txBody>
      </p:sp>
      <p:sp>
        <p:nvSpPr>
          <p:cNvPr id="54" name="Text Placeholder 2">
            <a:extLst>
              <a:ext uri="{FF2B5EF4-FFF2-40B4-BE49-F238E27FC236}">
                <a16:creationId xmlns:a16="http://schemas.microsoft.com/office/drawing/2014/main" id="{531E973E-E72E-6647-B4E6-FE09044FADAD}"/>
              </a:ext>
            </a:extLst>
          </p:cNvPr>
          <p:cNvSpPr>
            <a:spLocks noGrp="1"/>
          </p:cNvSpPr>
          <p:nvPr>
            <p:ph type="body" sz="quarter" idx="37" hasCustomPrompt="1"/>
          </p:nvPr>
        </p:nvSpPr>
        <p:spPr>
          <a:xfrm>
            <a:off x="471051" y="1408951"/>
            <a:ext cx="11217272" cy="384336"/>
          </a:xfrm>
        </p:spPr>
        <p:txBody>
          <a:bodyPr>
            <a:noAutofit/>
          </a:bodyPr>
          <a:lstStyle>
            <a:lvl1pPr marL="0" indent="0">
              <a:lnSpc>
                <a:spcPct val="110000"/>
              </a:lnSpc>
              <a:spcBef>
                <a:spcPts val="0"/>
              </a:spcBef>
              <a:spcAft>
                <a:spcPts val="1600"/>
              </a:spcAft>
              <a:buFont typeface="Arial" panose="020B0604020202020204" pitchFamily="34" charset="0"/>
              <a:buNone/>
              <a:defRPr sz="20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Subtitle goes here:</a:t>
            </a:r>
          </a:p>
        </p:txBody>
      </p:sp>
      <p:sp>
        <p:nvSpPr>
          <p:cNvPr id="55" name="Text Placeholder 3">
            <a:extLst>
              <a:ext uri="{FF2B5EF4-FFF2-40B4-BE49-F238E27FC236}">
                <a16:creationId xmlns:a16="http://schemas.microsoft.com/office/drawing/2014/main" id="{2DBB5C8F-FC94-F247-AD2F-BE536FFAB334}"/>
              </a:ext>
            </a:extLst>
          </p:cNvPr>
          <p:cNvSpPr>
            <a:spLocks noGrp="1"/>
          </p:cNvSpPr>
          <p:nvPr>
            <p:ph type="body" sz="quarter" idx="11" hasCustomPrompt="1"/>
          </p:nvPr>
        </p:nvSpPr>
        <p:spPr>
          <a:xfrm>
            <a:off x="629432"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1.</a:t>
            </a:r>
            <a:endParaRPr lang="en-CA"/>
          </a:p>
        </p:txBody>
      </p:sp>
      <p:sp>
        <p:nvSpPr>
          <p:cNvPr id="56" name="Text Placeholder 3">
            <a:extLst>
              <a:ext uri="{FF2B5EF4-FFF2-40B4-BE49-F238E27FC236}">
                <a16:creationId xmlns:a16="http://schemas.microsoft.com/office/drawing/2014/main" id="{89809B24-F072-B94D-9F2F-4FBC77A98D0B}"/>
              </a:ext>
            </a:extLst>
          </p:cNvPr>
          <p:cNvSpPr>
            <a:spLocks noGrp="1"/>
          </p:cNvSpPr>
          <p:nvPr>
            <p:ph type="body" sz="quarter" idx="38" hasCustomPrompt="1"/>
          </p:nvPr>
        </p:nvSpPr>
        <p:spPr>
          <a:xfrm>
            <a:off x="2916841"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2.</a:t>
            </a:r>
            <a:endParaRPr lang="en-CA"/>
          </a:p>
        </p:txBody>
      </p:sp>
      <p:sp>
        <p:nvSpPr>
          <p:cNvPr id="57" name="Text Placeholder 3">
            <a:extLst>
              <a:ext uri="{FF2B5EF4-FFF2-40B4-BE49-F238E27FC236}">
                <a16:creationId xmlns:a16="http://schemas.microsoft.com/office/drawing/2014/main" id="{B32BF1FB-87B8-2C44-95A0-81FADB41F339}"/>
              </a:ext>
            </a:extLst>
          </p:cNvPr>
          <p:cNvSpPr>
            <a:spLocks noGrp="1"/>
          </p:cNvSpPr>
          <p:nvPr>
            <p:ph type="body" sz="quarter" idx="39" hasCustomPrompt="1"/>
          </p:nvPr>
        </p:nvSpPr>
        <p:spPr>
          <a:xfrm>
            <a:off x="5194634"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3.</a:t>
            </a:r>
            <a:endParaRPr lang="en-CA"/>
          </a:p>
        </p:txBody>
      </p:sp>
      <p:sp>
        <p:nvSpPr>
          <p:cNvPr id="58" name="Text Placeholder 3">
            <a:extLst>
              <a:ext uri="{FF2B5EF4-FFF2-40B4-BE49-F238E27FC236}">
                <a16:creationId xmlns:a16="http://schemas.microsoft.com/office/drawing/2014/main" id="{11C3B6AA-5C5C-4C44-B346-370E08869DEF}"/>
              </a:ext>
            </a:extLst>
          </p:cNvPr>
          <p:cNvSpPr>
            <a:spLocks noGrp="1"/>
          </p:cNvSpPr>
          <p:nvPr>
            <p:ph type="body" sz="quarter" idx="40" hasCustomPrompt="1"/>
          </p:nvPr>
        </p:nvSpPr>
        <p:spPr>
          <a:xfrm>
            <a:off x="7485544"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4.</a:t>
            </a:r>
            <a:endParaRPr lang="en-CA"/>
          </a:p>
        </p:txBody>
      </p:sp>
      <p:sp>
        <p:nvSpPr>
          <p:cNvPr id="59" name="Text Placeholder 3">
            <a:extLst>
              <a:ext uri="{FF2B5EF4-FFF2-40B4-BE49-F238E27FC236}">
                <a16:creationId xmlns:a16="http://schemas.microsoft.com/office/drawing/2014/main" id="{71C1B6DF-9169-AC49-AE92-F4BBE3141C49}"/>
              </a:ext>
            </a:extLst>
          </p:cNvPr>
          <p:cNvSpPr>
            <a:spLocks noGrp="1"/>
          </p:cNvSpPr>
          <p:nvPr>
            <p:ph type="body" sz="quarter" idx="41" hasCustomPrompt="1"/>
          </p:nvPr>
        </p:nvSpPr>
        <p:spPr>
          <a:xfrm>
            <a:off x="9779291" y="2115695"/>
            <a:ext cx="852746" cy="466746"/>
          </a:xfrm>
        </p:spPr>
        <p:txBody>
          <a:bodyPr>
            <a:noAutofit/>
          </a:bodyPr>
          <a:lstStyle>
            <a:lvl1pPr marL="0" indent="0">
              <a:buNone/>
              <a:defRPr sz="36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5.</a:t>
            </a:r>
            <a:endParaRPr lang="en-CA"/>
          </a:p>
        </p:txBody>
      </p:sp>
    </p:spTree>
    <p:extLst>
      <p:ext uri="{BB962C8B-B14F-4D97-AF65-F5344CB8AC3E}">
        <p14:creationId xmlns:p14="http://schemas.microsoft.com/office/powerpoint/2010/main" val="33537710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 subheads - Neutral">
    <p:bg>
      <p:bgPr>
        <a:solidFill>
          <a:srgbClr val="F6F6F6"/>
        </a:solidFill>
        <a:effectLst/>
      </p:bgPr>
    </p:bg>
    <p:spTree>
      <p:nvGrpSpPr>
        <p:cNvPr id="1" name=""/>
        <p:cNvGrpSpPr/>
        <p:nvPr/>
      </p:nvGrpSpPr>
      <p:grpSpPr>
        <a:xfrm>
          <a:off x="0" y="0"/>
          <a:ext cx="0" cy="0"/>
          <a:chOff x="0" y="0"/>
          <a:chExt cx="0" cy="0"/>
        </a:xfrm>
      </p:grpSpPr>
      <p:sp>
        <p:nvSpPr>
          <p:cNvPr id="67" name="Text Placeholder 3">
            <a:extLst>
              <a:ext uri="{FF2B5EF4-FFF2-40B4-BE49-F238E27FC236}">
                <a16:creationId xmlns:a16="http://schemas.microsoft.com/office/drawing/2014/main" id="{96B9C4A8-C0C9-B442-8305-4BE33620E3E9}"/>
              </a:ext>
            </a:extLst>
          </p:cNvPr>
          <p:cNvSpPr>
            <a:spLocks noGrp="1"/>
          </p:cNvSpPr>
          <p:nvPr>
            <p:ph type="body" sz="quarter" idx="22" hasCustomPrompt="1"/>
          </p:nvPr>
        </p:nvSpPr>
        <p:spPr>
          <a:xfrm>
            <a:off x="487848"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68" name="Text Placeholder 3">
            <a:extLst>
              <a:ext uri="{FF2B5EF4-FFF2-40B4-BE49-F238E27FC236}">
                <a16:creationId xmlns:a16="http://schemas.microsoft.com/office/drawing/2014/main" id="{A17BEE10-8C37-E740-BB1D-922BF20FE555}"/>
              </a:ext>
            </a:extLst>
          </p:cNvPr>
          <p:cNvSpPr>
            <a:spLocks noGrp="1"/>
          </p:cNvSpPr>
          <p:nvPr>
            <p:ph type="body" sz="quarter" idx="23" hasCustomPrompt="1"/>
          </p:nvPr>
        </p:nvSpPr>
        <p:spPr>
          <a:xfrm>
            <a:off x="2772195"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69" name="Text Placeholder 3">
            <a:extLst>
              <a:ext uri="{FF2B5EF4-FFF2-40B4-BE49-F238E27FC236}">
                <a16:creationId xmlns:a16="http://schemas.microsoft.com/office/drawing/2014/main" id="{171A9E2E-06FA-F647-965F-19FE8DF943DF}"/>
              </a:ext>
            </a:extLst>
          </p:cNvPr>
          <p:cNvSpPr>
            <a:spLocks noGrp="1"/>
          </p:cNvSpPr>
          <p:nvPr>
            <p:ph type="body" sz="quarter" idx="24" hasCustomPrompt="1"/>
          </p:nvPr>
        </p:nvSpPr>
        <p:spPr>
          <a:xfrm>
            <a:off x="5056542"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0" name="Text Placeholder 3">
            <a:extLst>
              <a:ext uri="{FF2B5EF4-FFF2-40B4-BE49-F238E27FC236}">
                <a16:creationId xmlns:a16="http://schemas.microsoft.com/office/drawing/2014/main" id="{8CF08C04-DAC1-4846-8251-D6F9574076FE}"/>
              </a:ext>
            </a:extLst>
          </p:cNvPr>
          <p:cNvSpPr>
            <a:spLocks noGrp="1"/>
          </p:cNvSpPr>
          <p:nvPr>
            <p:ph type="body" sz="quarter" idx="25" hasCustomPrompt="1"/>
          </p:nvPr>
        </p:nvSpPr>
        <p:spPr>
          <a:xfrm>
            <a:off x="7340889"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1" name="Text Placeholder 3">
            <a:extLst>
              <a:ext uri="{FF2B5EF4-FFF2-40B4-BE49-F238E27FC236}">
                <a16:creationId xmlns:a16="http://schemas.microsoft.com/office/drawing/2014/main" id="{BBB08051-CCB8-0748-9FF1-E7693A66CABA}"/>
              </a:ext>
            </a:extLst>
          </p:cNvPr>
          <p:cNvSpPr>
            <a:spLocks noGrp="1"/>
          </p:cNvSpPr>
          <p:nvPr>
            <p:ph type="body" sz="quarter" idx="26" hasCustomPrompt="1"/>
          </p:nvPr>
        </p:nvSpPr>
        <p:spPr>
          <a:xfrm>
            <a:off x="9625238" y="2297200"/>
            <a:ext cx="2079949" cy="3930606"/>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tx1"/>
                </a:solidFill>
              </a:defRPr>
            </a:lvl1pPr>
          </a:lstStyle>
          <a:p>
            <a:r>
              <a:rPr lang="en-US"/>
              <a:t>Slide title</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22" name="Text Placeholder 2">
            <a:extLst>
              <a:ext uri="{FF2B5EF4-FFF2-40B4-BE49-F238E27FC236}">
                <a16:creationId xmlns:a16="http://schemas.microsoft.com/office/drawing/2014/main" id="{068FAF2D-2D8E-D847-A7D6-1ACC4D588F27}"/>
              </a:ext>
            </a:extLst>
          </p:cNvPr>
          <p:cNvSpPr>
            <a:spLocks noGrp="1"/>
          </p:cNvSpPr>
          <p:nvPr>
            <p:ph type="body" sz="quarter" idx="13" hasCustomPrompt="1"/>
          </p:nvPr>
        </p:nvSpPr>
        <p:spPr>
          <a:xfrm>
            <a:off x="631747"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endParaRPr lang="en-US"/>
          </a:p>
        </p:txBody>
      </p:sp>
      <p:sp>
        <p:nvSpPr>
          <p:cNvPr id="24" name="Text Placeholder 2">
            <a:extLst>
              <a:ext uri="{FF2B5EF4-FFF2-40B4-BE49-F238E27FC236}">
                <a16:creationId xmlns:a16="http://schemas.microsoft.com/office/drawing/2014/main" id="{AD484DD4-C701-5747-A6A9-B8F90F5902E9}"/>
              </a:ext>
            </a:extLst>
          </p:cNvPr>
          <p:cNvSpPr>
            <a:spLocks noGrp="1"/>
          </p:cNvSpPr>
          <p:nvPr>
            <p:ph type="body" sz="quarter" idx="15" hasCustomPrompt="1"/>
          </p:nvPr>
        </p:nvSpPr>
        <p:spPr>
          <a:xfrm>
            <a:off x="2916841"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6" name="Text Placeholder 2">
            <a:extLst>
              <a:ext uri="{FF2B5EF4-FFF2-40B4-BE49-F238E27FC236}">
                <a16:creationId xmlns:a16="http://schemas.microsoft.com/office/drawing/2014/main" id="{FEDFD88F-60A5-2940-A162-AFD4BCB344D5}"/>
              </a:ext>
            </a:extLst>
          </p:cNvPr>
          <p:cNvSpPr>
            <a:spLocks noGrp="1"/>
          </p:cNvSpPr>
          <p:nvPr>
            <p:ph type="body" sz="quarter" idx="17" hasCustomPrompt="1"/>
          </p:nvPr>
        </p:nvSpPr>
        <p:spPr>
          <a:xfrm>
            <a:off x="5201935"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28" name="Text Placeholder 2">
            <a:extLst>
              <a:ext uri="{FF2B5EF4-FFF2-40B4-BE49-F238E27FC236}">
                <a16:creationId xmlns:a16="http://schemas.microsoft.com/office/drawing/2014/main" id="{A1AD0A15-F7E8-CA46-B543-2CAC6CE1B469}"/>
              </a:ext>
            </a:extLst>
          </p:cNvPr>
          <p:cNvSpPr>
            <a:spLocks noGrp="1"/>
          </p:cNvSpPr>
          <p:nvPr>
            <p:ph type="body" sz="quarter" idx="19" hasCustomPrompt="1"/>
          </p:nvPr>
        </p:nvSpPr>
        <p:spPr>
          <a:xfrm>
            <a:off x="7491741"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30" name="Text Placeholder 2">
            <a:extLst>
              <a:ext uri="{FF2B5EF4-FFF2-40B4-BE49-F238E27FC236}">
                <a16:creationId xmlns:a16="http://schemas.microsoft.com/office/drawing/2014/main" id="{2A63BEF5-4842-A54A-A02F-D629336BB523}"/>
              </a:ext>
            </a:extLst>
          </p:cNvPr>
          <p:cNvSpPr>
            <a:spLocks noGrp="1"/>
          </p:cNvSpPr>
          <p:nvPr>
            <p:ph type="body" sz="quarter" idx="21" hasCustomPrompt="1"/>
          </p:nvPr>
        </p:nvSpPr>
        <p:spPr>
          <a:xfrm>
            <a:off x="9786259" y="3533440"/>
            <a:ext cx="1785662" cy="2352675"/>
          </a:xfrm>
        </p:spPr>
        <p:txBody>
          <a:bodyPr>
            <a:noAutofit/>
          </a:bodyPr>
          <a:lstStyle>
            <a:lvl1pPr marL="171450" indent="-171450">
              <a:lnSpc>
                <a:spcPct val="100000"/>
              </a:lnSpc>
              <a:spcBef>
                <a:spcPts val="0"/>
              </a:spcBef>
              <a:spcAft>
                <a:spcPts val="1400"/>
              </a:spcAft>
              <a:buClrTx/>
              <a:buSzPct val="80000"/>
              <a:buFont typeface="Arial" panose="020B0604020202020204" pitchFamily="34" charset="0"/>
              <a:buChar char="•"/>
              <a:defRPr sz="12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endParaRPr lang="en-US"/>
          </a:p>
          <a:p>
            <a:pPr lvl="0"/>
            <a:r>
              <a:rPr lang="en-US"/>
              <a:t> adipiscing </a:t>
            </a:r>
            <a:r>
              <a:rPr lang="en-US" err="1"/>
              <a:t>elit</a:t>
            </a:r>
            <a:r>
              <a:rPr lang="en-US"/>
              <a:t>, sed do </a:t>
            </a:r>
            <a:r>
              <a:rPr lang="en-US" err="1"/>
              <a:t>eiusmod</a:t>
            </a:r>
            <a:r>
              <a:rPr lang="en-US"/>
              <a:t> </a:t>
            </a:r>
            <a:r>
              <a:rPr lang="en-US" err="1"/>
              <a:t>tempor</a:t>
            </a:r>
            <a:r>
              <a:rPr lang="en-US"/>
              <a:t> </a:t>
            </a:r>
          </a:p>
          <a:p>
            <a:pPr lvl="0"/>
            <a:r>
              <a:rPr lang="en-US"/>
              <a:t>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p>
          <a:p>
            <a:pPr lvl="0"/>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Tree>
    <p:extLst>
      <p:ext uri="{BB962C8B-B14F-4D97-AF65-F5344CB8AC3E}">
        <p14:creationId xmlns:p14="http://schemas.microsoft.com/office/powerpoint/2010/main" val="4076222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subheads - Neutral">
    <p:bg>
      <p:bgPr>
        <a:solidFill>
          <a:srgbClr val="F6F6F6"/>
        </a:solidFill>
        <a:effectLst/>
      </p:bgPr>
    </p:bg>
    <p:spTree>
      <p:nvGrpSpPr>
        <p:cNvPr id="1" name=""/>
        <p:cNvGrpSpPr/>
        <p:nvPr/>
      </p:nvGrpSpPr>
      <p:grpSpPr>
        <a:xfrm>
          <a:off x="0" y="0"/>
          <a:ext cx="0" cy="0"/>
          <a:chOff x="0" y="0"/>
          <a:chExt cx="0" cy="0"/>
        </a:xfrm>
      </p:grpSpPr>
      <p:sp>
        <p:nvSpPr>
          <p:cNvPr id="54" name="Text Placeholder 3">
            <a:extLst>
              <a:ext uri="{FF2B5EF4-FFF2-40B4-BE49-F238E27FC236}">
                <a16:creationId xmlns:a16="http://schemas.microsoft.com/office/drawing/2014/main" id="{DFC3CDE7-21EE-A541-96CE-FE89913E2B06}"/>
              </a:ext>
            </a:extLst>
          </p:cNvPr>
          <p:cNvSpPr>
            <a:spLocks noGrp="1"/>
          </p:cNvSpPr>
          <p:nvPr>
            <p:ph type="body" sz="quarter" idx="26" hasCustomPrompt="1"/>
          </p:nvPr>
        </p:nvSpPr>
        <p:spPr>
          <a:xfrm>
            <a:off x="6323718"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56" name="Text Placeholder 3">
            <a:extLst>
              <a:ext uri="{FF2B5EF4-FFF2-40B4-BE49-F238E27FC236}">
                <a16:creationId xmlns:a16="http://schemas.microsoft.com/office/drawing/2014/main" id="{DA1914B8-643E-2345-BBE9-C4F83934B1B4}"/>
              </a:ext>
            </a:extLst>
          </p:cNvPr>
          <p:cNvSpPr>
            <a:spLocks noGrp="1"/>
          </p:cNvSpPr>
          <p:nvPr>
            <p:ph type="body" sz="quarter" idx="28" hasCustomPrompt="1"/>
          </p:nvPr>
        </p:nvSpPr>
        <p:spPr>
          <a:xfrm>
            <a:off x="3415626"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58" name="Text Placeholder 3">
            <a:extLst>
              <a:ext uri="{FF2B5EF4-FFF2-40B4-BE49-F238E27FC236}">
                <a16:creationId xmlns:a16="http://schemas.microsoft.com/office/drawing/2014/main" id="{E4B8C640-9C51-674D-BABB-766E3130ADC6}"/>
              </a:ext>
            </a:extLst>
          </p:cNvPr>
          <p:cNvSpPr>
            <a:spLocks noGrp="1"/>
          </p:cNvSpPr>
          <p:nvPr>
            <p:ph type="body" sz="quarter" idx="30" hasCustomPrompt="1"/>
          </p:nvPr>
        </p:nvSpPr>
        <p:spPr>
          <a:xfrm>
            <a:off x="507534"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70" name="Text Placeholder 3">
            <a:extLst>
              <a:ext uri="{FF2B5EF4-FFF2-40B4-BE49-F238E27FC236}">
                <a16:creationId xmlns:a16="http://schemas.microsoft.com/office/drawing/2014/main" id="{8CF08C04-DAC1-4846-8251-D6F9574076FE}"/>
              </a:ext>
            </a:extLst>
          </p:cNvPr>
          <p:cNvSpPr>
            <a:spLocks noGrp="1"/>
          </p:cNvSpPr>
          <p:nvPr>
            <p:ph type="body" sz="quarter" idx="25" hasCustomPrompt="1"/>
          </p:nvPr>
        </p:nvSpPr>
        <p:spPr>
          <a:xfrm>
            <a:off x="9231810"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a:t>
            </a:r>
            <a:endParaRPr lang="en-CA"/>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tx1"/>
                </a:solidFill>
              </a:defRPr>
            </a:lvl1pPr>
          </a:lstStyle>
          <a:p>
            <a:r>
              <a:rPr lang="en-US"/>
              <a:t>Slide title</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8" name="Text Placeholder 7">
            <a:extLst>
              <a:ext uri="{FF2B5EF4-FFF2-40B4-BE49-F238E27FC236}">
                <a16:creationId xmlns:a16="http://schemas.microsoft.com/office/drawing/2014/main" id="{545527A9-D7C2-824A-B89C-9708DAE24119}"/>
              </a:ext>
            </a:extLst>
          </p:cNvPr>
          <p:cNvSpPr>
            <a:spLocks noGrp="1"/>
          </p:cNvSpPr>
          <p:nvPr>
            <p:ph type="body" sz="quarter" idx="32" hasCustomPrompt="1"/>
          </p:nvPr>
        </p:nvSpPr>
        <p:spPr>
          <a:xfrm>
            <a:off x="682625" y="3942830"/>
            <a:ext cx="2128838" cy="1542142"/>
          </a:xfrm>
        </p:spPr>
        <p:txBody>
          <a:bodyPr>
            <a:noAutofit/>
          </a:bodyPr>
          <a:lstStyle>
            <a:lvl1pPr marL="0" indent="0">
              <a:lnSpc>
                <a:spcPct val="110000"/>
              </a:lnSpc>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
        <p:nvSpPr>
          <p:cNvPr id="60" name="Text Placeholder 7">
            <a:extLst>
              <a:ext uri="{FF2B5EF4-FFF2-40B4-BE49-F238E27FC236}">
                <a16:creationId xmlns:a16="http://schemas.microsoft.com/office/drawing/2014/main" id="{1C255310-4273-234D-AFFD-8BFE56779DA3}"/>
              </a:ext>
            </a:extLst>
          </p:cNvPr>
          <p:cNvSpPr>
            <a:spLocks noGrp="1"/>
          </p:cNvSpPr>
          <p:nvPr>
            <p:ph type="body" sz="quarter" idx="33" hasCustomPrompt="1"/>
          </p:nvPr>
        </p:nvSpPr>
        <p:spPr>
          <a:xfrm>
            <a:off x="3590717" y="3973227"/>
            <a:ext cx="2128838" cy="1542142"/>
          </a:xfrm>
        </p:spPr>
        <p:txBody>
          <a:bodyPr>
            <a:noAutofit/>
          </a:bodyPr>
          <a:lstStyle>
            <a:lvl1pPr marL="0" indent="0">
              <a:lnSpc>
                <a:spcPct val="110000"/>
              </a:lnSpc>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
        <p:nvSpPr>
          <p:cNvPr id="61" name="Text Placeholder 7">
            <a:extLst>
              <a:ext uri="{FF2B5EF4-FFF2-40B4-BE49-F238E27FC236}">
                <a16:creationId xmlns:a16="http://schemas.microsoft.com/office/drawing/2014/main" id="{6D9BEBBB-2849-D145-BCBA-BD13D004B183}"/>
              </a:ext>
            </a:extLst>
          </p:cNvPr>
          <p:cNvSpPr>
            <a:spLocks noGrp="1"/>
          </p:cNvSpPr>
          <p:nvPr>
            <p:ph type="body" sz="quarter" idx="34" hasCustomPrompt="1"/>
          </p:nvPr>
        </p:nvSpPr>
        <p:spPr>
          <a:xfrm>
            <a:off x="6499076" y="3973227"/>
            <a:ext cx="2128838" cy="1542142"/>
          </a:xfrm>
        </p:spPr>
        <p:txBody>
          <a:bodyPr>
            <a:noAutofit/>
          </a:bodyPr>
          <a:lstStyle>
            <a:lvl1pPr marL="0" indent="0">
              <a:lnSpc>
                <a:spcPct val="110000"/>
              </a:lnSpc>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
        <p:nvSpPr>
          <p:cNvPr id="62" name="Text Placeholder 7">
            <a:extLst>
              <a:ext uri="{FF2B5EF4-FFF2-40B4-BE49-F238E27FC236}">
                <a16:creationId xmlns:a16="http://schemas.microsoft.com/office/drawing/2014/main" id="{F46A0D93-41DB-754F-AC1F-24960C31A3DE}"/>
              </a:ext>
            </a:extLst>
          </p:cNvPr>
          <p:cNvSpPr>
            <a:spLocks noGrp="1"/>
          </p:cNvSpPr>
          <p:nvPr>
            <p:ph type="body" sz="quarter" idx="35" hasCustomPrompt="1"/>
          </p:nvPr>
        </p:nvSpPr>
        <p:spPr>
          <a:xfrm>
            <a:off x="9407168" y="3973227"/>
            <a:ext cx="2128838" cy="1542142"/>
          </a:xfrm>
        </p:spPr>
        <p:txBody>
          <a:bodyPr>
            <a:noAutofit/>
          </a:bodyPr>
          <a:lstStyle>
            <a:lvl1pPr marL="0" indent="0">
              <a:lnSpc>
                <a:spcPct val="110000"/>
              </a:lnSpc>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Tree>
    <p:extLst>
      <p:ext uri="{BB962C8B-B14F-4D97-AF65-F5344CB8AC3E}">
        <p14:creationId xmlns:p14="http://schemas.microsoft.com/office/powerpoint/2010/main" val="21393789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alf text half image">
    <p:bg>
      <p:bgPr>
        <a:solidFill>
          <a:srgbClr val="FB6330"/>
        </a:solidFill>
        <a:effectLst/>
      </p:bgPr>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BB2C3381-E344-0E4F-A0BA-73BB5887462C}"/>
              </a:ext>
            </a:extLst>
          </p:cNvPr>
          <p:cNvSpPr/>
          <p:nvPr userDrawn="1"/>
        </p:nvSpPr>
        <p:spPr>
          <a:xfrm>
            <a:off x="8031877" y="0"/>
            <a:ext cx="4159725" cy="6858000"/>
          </a:xfrm>
          <a:prstGeom prst="rect">
            <a:avLst/>
          </a:prstGeom>
          <a:solidFill>
            <a:schemeClr val="bg1"/>
          </a:solidFill>
          <a:ln w="12700">
            <a:miter lim="400000"/>
          </a:ln>
        </p:spPr>
        <p:txBody>
          <a:bodyPr lIns="45716" rIns="45716" anchor="ctr"/>
          <a:lstStyle/>
          <a:p>
            <a:pPr defTabSz="914355">
              <a:defRPr>
                <a:solidFill>
                  <a:srgbClr val="1FA2DC"/>
                </a:solidFill>
              </a:defRPr>
            </a:pPr>
            <a:endParaRPr sz="3600">
              <a:solidFill>
                <a:srgbClr val="1FA2DC"/>
              </a:solidFill>
              <a:latin typeface="Scotia Regular" panose="020B0503020203020204" pitchFamily="34" charset="0"/>
            </a:endParaRPr>
          </a:p>
        </p:txBody>
      </p:sp>
      <p:sp>
        <p:nvSpPr>
          <p:cNvPr id="4" name="Picture Placeholder 3">
            <a:extLst>
              <a:ext uri="{FF2B5EF4-FFF2-40B4-BE49-F238E27FC236}">
                <a16:creationId xmlns:a16="http://schemas.microsoft.com/office/drawing/2014/main" id="{6D30E432-2DC3-5545-8BDE-731303857A80}"/>
              </a:ext>
            </a:extLst>
          </p:cNvPr>
          <p:cNvSpPr>
            <a:spLocks noGrp="1"/>
          </p:cNvSpPr>
          <p:nvPr>
            <p:ph type="pic" sz="quarter" idx="12" hasCustomPrompt="1"/>
          </p:nvPr>
        </p:nvSpPr>
        <p:spPr>
          <a:xfrm>
            <a:off x="8031876" y="0"/>
            <a:ext cx="4160124" cy="6858000"/>
          </a:xfrm>
        </p:spPr>
        <p:txBody>
          <a:bodyPr anchor="ctr"/>
          <a:lstStyle>
            <a:lvl1pPr marL="0" indent="0" algn="ctr">
              <a:buNone/>
              <a:defRPr>
                <a:latin typeface="+mj-lt"/>
              </a:defRPr>
            </a:lvl1pPr>
          </a:lstStyle>
          <a:p>
            <a:r>
              <a:rPr lang="en-CA"/>
              <a:t>Photo/illustration</a:t>
            </a:r>
          </a:p>
        </p:txBody>
      </p:sp>
      <p:sp>
        <p:nvSpPr>
          <p:cNvPr id="2" name="Title 1">
            <a:extLst>
              <a:ext uri="{FF2B5EF4-FFF2-40B4-BE49-F238E27FC236}">
                <a16:creationId xmlns:a16="http://schemas.microsoft.com/office/drawing/2014/main" id="{86191B29-D3CA-8644-9CB9-79D1A03C934E}"/>
              </a:ext>
            </a:extLst>
          </p:cNvPr>
          <p:cNvSpPr>
            <a:spLocks noGrp="1"/>
          </p:cNvSpPr>
          <p:nvPr>
            <p:ph type="title" hasCustomPrompt="1"/>
          </p:nvPr>
        </p:nvSpPr>
        <p:spPr>
          <a:xfrm>
            <a:off x="471050" y="817861"/>
            <a:ext cx="7136249" cy="483229"/>
          </a:xfrm>
        </p:spPr>
        <p:txBody>
          <a:bodyPr anchor="t">
            <a:noAutofit/>
          </a:bodyPr>
          <a:lstStyle>
            <a:lvl1pPr>
              <a:defRPr>
                <a:solidFill>
                  <a:srgbClr val="FFFFFF"/>
                </a:solidFill>
              </a:defRPr>
            </a:lvl1pPr>
          </a:lstStyle>
          <a:p>
            <a:r>
              <a:rPr lang="en-US"/>
              <a:t>Slide title goes here</a:t>
            </a:r>
          </a:p>
        </p:txBody>
      </p:sp>
      <p:sp>
        <p:nvSpPr>
          <p:cNvPr id="12" name="TextBox 11">
            <a:extLst>
              <a:ext uri="{FF2B5EF4-FFF2-40B4-BE49-F238E27FC236}">
                <a16:creationId xmlns:a16="http://schemas.microsoft.com/office/drawing/2014/main" id="{597E7282-3BC7-4544-8051-E534A579460C}"/>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7" name="Graphic 16">
            <a:extLst>
              <a:ext uri="{FF2B5EF4-FFF2-40B4-BE49-F238E27FC236}">
                <a16:creationId xmlns:a16="http://schemas.microsoft.com/office/drawing/2014/main" id="{A0F7AAFC-8746-104F-92FA-0C832699D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 Placeholder 2">
            <a:extLst>
              <a:ext uri="{FF2B5EF4-FFF2-40B4-BE49-F238E27FC236}">
                <a16:creationId xmlns:a16="http://schemas.microsoft.com/office/drawing/2014/main" id="{FD3D621D-DFA8-974C-BE2B-3AAB183B143A}"/>
              </a:ext>
            </a:extLst>
          </p:cNvPr>
          <p:cNvSpPr>
            <a:spLocks noGrp="1"/>
          </p:cNvSpPr>
          <p:nvPr>
            <p:ph type="body" sz="quarter" idx="11" hasCustomPrompt="1"/>
          </p:nvPr>
        </p:nvSpPr>
        <p:spPr>
          <a:xfrm>
            <a:off x="471051" y="2658764"/>
            <a:ext cx="7135811" cy="3381375"/>
          </a:xfrm>
        </p:spPr>
        <p:txBody>
          <a:bodyPr>
            <a:noAutofit/>
          </a:bodyPr>
          <a:lstStyle>
            <a:lvl1pPr marL="285750" indent="-285750">
              <a:lnSpc>
                <a:spcPct val="110000"/>
              </a:lnSpc>
              <a:spcBef>
                <a:spcPts val="0"/>
              </a:spcBef>
              <a:spcAft>
                <a:spcPts val="1600"/>
              </a:spcAft>
              <a:buFont typeface="Arial" panose="020B0604020202020204" pitchFamily="34" charset="0"/>
              <a:buChar char="•"/>
              <a:defRPr sz="16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a:p>
            <a:pPr lvl="0"/>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3" name="Text Placeholder 4">
            <a:extLst>
              <a:ext uri="{FF2B5EF4-FFF2-40B4-BE49-F238E27FC236}">
                <a16:creationId xmlns:a16="http://schemas.microsoft.com/office/drawing/2014/main" id="{309248FD-67F1-AD4A-B7EF-7BF1519A6E07}"/>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5" name="Text Placeholder 4">
            <a:extLst>
              <a:ext uri="{FF2B5EF4-FFF2-40B4-BE49-F238E27FC236}">
                <a16:creationId xmlns:a16="http://schemas.microsoft.com/office/drawing/2014/main" id="{2B9AF6B4-F268-3443-8C40-72EA278FAE4C}"/>
              </a:ext>
            </a:extLst>
          </p:cNvPr>
          <p:cNvSpPr>
            <a:spLocks noGrp="1"/>
          </p:cNvSpPr>
          <p:nvPr>
            <p:ph type="body" sz="quarter" idx="13" hasCustomPrompt="1"/>
          </p:nvPr>
        </p:nvSpPr>
        <p:spPr>
          <a:xfrm>
            <a:off x="471488" y="1411633"/>
            <a:ext cx="7135812" cy="476250"/>
          </a:xfrm>
        </p:spPr>
        <p:txBody>
          <a:bodyPr>
            <a:normAutofit/>
          </a:bodyPr>
          <a:lstStyle>
            <a:lvl1pPr marL="0" indent="0">
              <a:buNone/>
              <a:defRPr sz="28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An important subheading goes here</a:t>
            </a:r>
            <a:endParaRPr lang="en-CA"/>
          </a:p>
        </p:txBody>
      </p:sp>
    </p:spTree>
    <p:extLst>
      <p:ext uri="{BB962C8B-B14F-4D97-AF65-F5344CB8AC3E}">
        <p14:creationId xmlns:p14="http://schemas.microsoft.com/office/powerpoint/2010/main" val="16115864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arge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88BECD-73E5-6C40-91D1-3BAD9F87B8AD}"/>
              </a:ext>
            </a:extLst>
          </p:cNvPr>
          <p:cNvSpPr/>
          <p:nvPr userDrawn="1"/>
        </p:nvSpPr>
        <p:spPr>
          <a:xfrm>
            <a:off x="398" y="0"/>
            <a:ext cx="12191206" cy="2971800"/>
          </a:xfrm>
          <a:prstGeom prst="rect">
            <a:avLst/>
          </a:prstGeom>
          <a:solidFill>
            <a:srgbClr val="F6F6F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hangingPunct="0"/>
            <a:endParaRPr lang="en-US" sz="900">
              <a:solidFill>
                <a:srgbClr val="323232"/>
              </a:solidFill>
              <a:latin typeface="Gotham Bold"/>
              <a:ea typeface="Gotham Bold"/>
              <a:cs typeface="Gotham Bold"/>
              <a:sym typeface="Gotham"/>
            </a:endParaRP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1362543" y="1498223"/>
            <a:ext cx="9466914" cy="1040061"/>
          </a:xfrm>
        </p:spPr>
        <p:txBody>
          <a:bodyPr anchor="t">
            <a:noAutofit/>
          </a:bodyPr>
          <a:lstStyle>
            <a:lvl1pPr algn="ctr">
              <a:lnSpc>
                <a:spcPct val="100000"/>
              </a:lnSpc>
              <a:defRPr lang="es-ES_tradnl" sz="3000" b="1" kern="1200" dirty="0">
                <a:solidFill>
                  <a:srgbClr val="333333"/>
                </a:solidFill>
                <a:latin typeface="Scotia Headline"/>
                <a:ea typeface="Gilroy ExtraBold Italic"/>
                <a:cs typeface="Gilroy ExtraBold Italic"/>
              </a:defRPr>
            </a:lvl1pPr>
          </a:lstStyle>
          <a:p>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endParaRPr lang="en-US"/>
          </a:p>
        </p:txBody>
      </p:sp>
      <p:sp>
        <p:nvSpPr>
          <p:cNvPr id="9" name="Text Placeholder 11">
            <a:extLst>
              <a:ext uri="{FF2B5EF4-FFF2-40B4-BE49-F238E27FC236}">
                <a16:creationId xmlns:a16="http://schemas.microsoft.com/office/drawing/2014/main" id="{6EF7400F-D872-5144-AD1D-927764ABB84E}"/>
              </a:ext>
            </a:extLst>
          </p:cNvPr>
          <p:cNvSpPr>
            <a:spLocks noGrp="1"/>
          </p:cNvSpPr>
          <p:nvPr>
            <p:ph type="body" sz="quarter" idx="11" hasCustomPrompt="1"/>
          </p:nvPr>
        </p:nvSpPr>
        <p:spPr>
          <a:xfrm>
            <a:off x="2095826" y="1061305"/>
            <a:ext cx="8000347" cy="321189"/>
          </a:xfrm>
          <a:ln w="12700">
            <a:miter lim="400000"/>
          </a:ln>
        </p:spPr>
        <p:txBody>
          <a:bodyPr wrap="square" lIns="0" tIns="0" rIns="0" bIns="0">
            <a:noAutofit/>
          </a:bodyPr>
          <a:lstStyle>
            <a:lvl1pPr marL="0" indent="0" algn="ctr">
              <a:buNone/>
              <a:defRPr lang="en-US" sz="1800" b="1" cap="all" spc="300" baseline="0" smtClean="0">
                <a:solidFill>
                  <a:srgbClr val="757575"/>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a:t>
            </a:r>
          </a:p>
        </p:txBody>
      </p:sp>
      <p:pic>
        <p:nvPicPr>
          <p:cNvPr id="10" name="Graphic 9">
            <a:extLst>
              <a:ext uri="{FF2B5EF4-FFF2-40B4-BE49-F238E27FC236}">
                <a16:creationId xmlns:a16="http://schemas.microsoft.com/office/drawing/2014/main" id="{ECDAE827-A5E1-234A-88B6-8A65094BF7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019573B0-D955-4B4C-8BB5-C6735698A5C7}"/>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333333"/>
                </a:solidFill>
                <a:latin typeface="Scotia" panose="020B0503020203020204" pitchFamily="34" charset="0"/>
              </a:rPr>
              <a:pPr algn="r"/>
              <a:t>‹#›</a:t>
            </a:fld>
            <a:endParaRPr lang="en-CA" sz="800">
              <a:solidFill>
                <a:srgbClr val="333333"/>
              </a:solidFill>
              <a:latin typeface="Scotia" panose="020B0503020203020204" pitchFamily="34" charset="0"/>
            </a:endParaRPr>
          </a:p>
        </p:txBody>
      </p:sp>
      <p:sp>
        <p:nvSpPr>
          <p:cNvPr id="13" name="Text Placeholder 4">
            <a:extLst>
              <a:ext uri="{FF2B5EF4-FFF2-40B4-BE49-F238E27FC236}">
                <a16:creationId xmlns:a16="http://schemas.microsoft.com/office/drawing/2014/main" id="{9831DDF5-2C59-9540-A7DF-1D1666C371D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333333"/>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24" name="Text Placeholder 2">
            <a:extLst>
              <a:ext uri="{FF2B5EF4-FFF2-40B4-BE49-F238E27FC236}">
                <a16:creationId xmlns:a16="http://schemas.microsoft.com/office/drawing/2014/main" id="{43BE8F44-776C-9E4E-8DFB-C8883F977AC0}"/>
              </a:ext>
            </a:extLst>
          </p:cNvPr>
          <p:cNvSpPr>
            <a:spLocks noGrp="1"/>
          </p:cNvSpPr>
          <p:nvPr>
            <p:ph type="body" sz="quarter" idx="13" hasCustomPrompt="1"/>
          </p:nvPr>
        </p:nvSpPr>
        <p:spPr>
          <a:xfrm>
            <a:off x="1067376" y="5121952"/>
            <a:ext cx="2762450" cy="705578"/>
          </a:xfrm>
        </p:spPr>
        <p:txBody>
          <a:bodyPr>
            <a:noAutofit/>
          </a:bodyPr>
          <a:lstStyle>
            <a:lvl1pPr marL="0" indent="0" algn="ctr">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Duis </a:t>
            </a:r>
            <a:r>
              <a:rPr lang="en-US" err="1"/>
              <a:t>aute</a:t>
            </a:r>
            <a:r>
              <a:rPr lang="en-US"/>
              <a:t> </a:t>
            </a:r>
            <a:r>
              <a:rPr lang="en-US" err="1"/>
              <a:t>irure</a:t>
            </a:r>
            <a:r>
              <a:rPr lang="en-US"/>
              <a:t> dolor in </a:t>
            </a:r>
            <a:r>
              <a:rPr lang="en-US" err="1"/>
              <a:t>reprehender</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p>
          <a:p>
            <a:pPr lvl="0"/>
            <a:endParaRPr lang="en-US"/>
          </a:p>
        </p:txBody>
      </p:sp>
      <p:sp>
        <p:nvSpPr>
          <p:cNvPr id="25" name="Text Placeholder 3">
            <a:extLst>
              <a:ext uri="{FF2B5EF4-FFF2-40B4-BE49-F238E27FC236}">
                <a16:creationId xmlns:a16="http://schemas.microsoft.com/office/drawing/2014/main" id="{54497E9B-3C93-324F-8C52-087F09B1E465}"/>
              </a:ext>
            </a:extLst>
          </p:cNvPr>
          <p:cNvSpPr>
            <a:spLocks noGrp="1"/>
          </p:cNvSpPr>
          <p:nvPr>
            <p:ph type="body" sz="quarter" idx="14" hasCustomPrompt="1"/>
          </p:nvPr>
        </p:nvSpPr>
        <p:spPr>
          <a:xfrm>
            <a:off x="1067375" y="3629948"/>
            <a:ext cx="2762451" cy="945339"/>
          </a:xfrm>
        </p:spPr>
        <p:txBody>
          <a:bodyPr>
            <a:noAutofit/>
          </a:bodyPr>
          <a:lstStyle>
            <a:lvl1pPr marL="0" indent="0" algn="ctr">
              <a:buNone/>
              <a:defRPr sz="8000" b="1" i="0" spc="-100" baseline="0">
                <a:solidFill>
                  <a:srgbClr val="7849B8"/>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XX</a:t>
            </a:r>
            <a:endParaRPr lang="en-CA"/>
          </a:p>
        </p:txBody>
      </p:sp>
      <p:sp>
        <p:nvSpPr>
          <p:cNvPr id="26" name="Text Placeholder 3">
            <a:extLst>
              <a:ext uri="{FF2B5EF4-FFF2-40B4-BE49-F238E27FC236}">
                <a16:creationId xmlns:a16="http://schemas.microsoft.com/office/drawing/2014/main" id="{0C7331D7-A440-EB4E-92CB-F43E4C6DD9A9}"/>
              </a:ext>
            </a:extLst>
          </p:cNvPr>
          <p:cNvSpPr>
            <a:spLocks noGrp="1"/>
          </p:cNvSpPr>
          <p:nvPr>
            <p:ph type="body" sz="quarter" idx="12" hasCustomPrompt="1"/>
          </p:nvPr>
        </p:nvSpPr>
        <p:spPr>
          <a:xfrm>
            <a:off x="1067375" y="4620283"/>
            <a:ext cx="2762450" cy="342997"/>
          </a:xfrm>
        </p:spPr>
        <p:txBody>
          <a:bodyPr>
            <a:noAutofit/>
          </a:bodyPr>
          <a:lstStyle>
            <a:lvl1pPr marL="0" indent="0" algn="ctr">
              <a:spcBef>
                <a:spcPts val="0"/>
              </a:spcBef>
              <a:buNone/>
              <a:defRPr sz="2400" b="1" i="0">
                <a:solidFill>
                  <a:srgbClr val="7849B8"/>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Lorem ipsum</a:t>
            </a:r>
            <a:endParaRPr lang="en-CA"/>
          </a:p>
        </p:txBody>
      </p:sp>
      <p:sp>
        <p:nvSpPr>
          <p:cNvPr id="27" name="Text Placeholder 2">
            <a:extLst>
              <a:ext uri="{FF2B5EF4-FFF2-40B4-BE49-F238E27FC236}">
                <a16:creationId xmlns:a16="http://schemas.microsoft.com/office/drawing/2014/main" id="{82361FA8-DF94-8D4C-8E8F-870DA43C4DBF}"/>
              </a:ext>
            </a:extLst>
          </p:cNvPr>
          <p:cNvSpPr>
            <a:spLocks noGrp="1"/>
          </p:cNvSpPr>
          <p:nvPr>
            <p:ph type="body" sz="quarter" idx="15" hasCustomPrompt="1"/>
          </p:nvPr>
        </p:nvSpPr>
        <p:spPr>
          <a:xfrm>
            <a:off x="4714776" y="5121952"/>
            <a:ext cx="2762450" cy="705578"/>
          </a:xfrm>
        </p:spPr>
        <p:txBody>
          <a:bodyPr>
            <a:noAutofit/>
          </a:bodyPr>
          <a:lstStyle>
            <a:lvl1pPr marL="0" indent="0" algn="ctr">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Duis </a:t>
            </a:r>
            <a:r>
              <a:rPr lang="en-US" err="1"/>
              <a:t>aute</a:t>
            </a:r>
            <a:r>
              <a:rPr lang="en-US"/>
              <a:t> </a:t>
            </a:r>
            <a:r>
              <a:rPr lang="en-US" err="1"/>
              <a:t>irure</a:t>
            </a:r>
            <a:r>
              <a:rPr lang="en-US"/>
              <a:t> dolor in </a:t>
            </a:r>
            <a:r>
              <a:rPr lang="en-US" err="1"/>
              <a:t>reprehender</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p>
          <a:p>
            <a:pPr lvl="0"/>
            <a:endParaRPr lang="en-US"/>
          </a:p>
        </p:txBody>
      </p:sp>
      <p:sp>
        <p:nvSpPr>
          <p:cNvPr id="28" name="Text Placeholder 3">
            <a:extLst>
              <a:ext uri="{FF2B5EF4-FFF2-40B4-BE49-F238E27FC236}">
                <a16:creationId xmlns:a16="http://schemas.microsoft.com/office/drawing/2014/main" id="{EDE995C6-8558-0446-A50E-3867B7D5F2FF}"/>
              </a:ext>
            </a:extLst>
          </p:cNvPr>
          <p:cNvSpPr>
            <a:spLocks noGrp="1"/>
          </p:cNvSpPr>
          <p:nvPr>
            <p:ph type="body" sz="quarter" idx="16" hasCustomPrompt="1"/>
          </p:nvPr>
        </p:nvSpPr>
        <p:spPr>
          <a:xfrm>
            <a:off x="4714775" y="3629948"/>
            <a:ext cx="2762451" cy="945339"/>
          </a:xfrm>
        </p:spPr>
        <p:txBody>
          <a:bodyPr>
            <a:noAutofit/>
          </a:bodyPr>
          <a:lstStyle>
            <a:lvl1pPr marL="0" indent="0" algn="ctr">
              <a:buNone/>
              <a:defRPr sz="8000" b="1" i="0" spc="-100" baseline="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XX</a:t>
            </a:r>
            <a:endParaRPr lang="en-CA"/>
          </a:p>
        </p:txBody>
      </p:sp>
      <p:sp>
        <p:nvSpPr>
          <p:cNvPr id="29" name="Text Placeholder 3">
            <a:extLst>
              <a:ext uri="{FF2B5EF4-FFF2-40B4-BE49-F238E27FC236}">
                <a16:creationId xmlns:a16="http://schemas.microsoft.com/office/drawing/2014/main" id="{972D70EC-03B4-4449-A0CF-7186183E5469}"/>
              </a:ext>
            </a:extLst>
          </p:cNvPr>
          <p:cNvSpPr>
            <a:spLocks noGrp="1"/>
          </p:cNvSpPr>
          <p:nvPr>
            <p:ph type="body" sz="quarter" idx="17" hasCustomPrompt="1"/>
          </p:nvPr>
        </p:nvSpPr>
        <p:spPr>
          <a:xfrm>
            <a:off x="4714775" y="4620283"/>
            <a:ext cx="2762450" cy="342997"/>
          </a:xfrm>
        </p:spPr>
        <p:txBody>
          <a:bodyPr>
            <a:noAutofit/>
          </a:bodyPr>
          <a:lstStyle>
            <a:lvl1pPr marL="0" indent="0" algn="ctr">
              <a:spcBef>
                <a:spcPts val="0"/>
              </a:spcBef>
              <a:buNone/>
              <a:defRPr sz="2400" b="1" i="0">
                <a:solidFill>
                  <a:srgbClr val="009DD6"/>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Lorem ipsum</a:t>
            </a:r>
            <a:endParaRPr lang="en-CA"/>
          </a:p>
        </p:txBody>
      </p:sp>
      <p:sp>
        <p:nvSpPr>
          <p:cNvPr id="30" name="Text Placeholder 2">
            <a:extLst>
              <a:ext uri="{FF2B5EF4-FFF2-40B4-BE49-F238E27FC236}">
                <a16:creationId xmlns:a16="http://schemas.microsoft.com/office/drawing/2014/main" id="{B7BB1A3C-40FF-0B4D-BEED-DF0DDD8FBCA3}"/>
              </a:ext>
            </a:extLst>
          </p:cNvPr>
          <p:cNvSpPr>
            <a:spLocks noGrp="1"/>
          </p:cNvSpPr>
          <p:nvPr>
            <p:ph type="body" sz="quarter" idx="18" hasCustomPrompt="1"/>
          </p:nvPr>
        </p:nvSpPr>
        <p:spPr>
          <a:xfrm>
            <a:off x="8360987" y="5121952"/>
            <a:ext cx="2762450" cy="705578"/>
          </a:xfrm>
        </p:spPr>
        <p:txBody>
          <a:bodyPr>
            <a:noAutofit/>
          </a:bodyPr>
          <a:lstStyle>
            <a:lvl1pPr marL="0" indent="0" algn="ctr">
              <a:lnSpc>
                <a:spcPct val="110000"/>
              </a:lnSpc>
              <a:spcBef>
                <a:spcPts val="0"/>
              </a:spcBef>
              <a:spcAft>
                <a:spcPts val="1400"/>
              </a:spcAft>
              <a:buClrTx/>
              <a:buSzPct val="80000"/>
              <a:buFont typeface="Arial" panose="020B0604020202020204" pitchFamily="34" charset="0"/>
              <a:buNone/>
              <a:defRPr sz="1400" b="0" i="0">
                <a:latin typeface="Scotia Light" panose="020B0403020203020204" pitchFamily="34" charset="0"/>
                <a:ea typeface="Scotia Light" panose="020B0403020203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Duis </a:t>
            </a:r>
            <a:r>
              <a:rPr lang="en-US" err="1"/>
              <a:t>aute</a:t>
            </a:r>
            <a:r>
              <a:rPr lang="en-US"/>
              <a:t> </a:t>
            </a:r>
            <a:r>
              <a:rPr lang="en-US" err="1"/>
              <a:t>irure</a:t>
            </a:r>
            <a:r>
              <a:rPr lang="en-US"/>
              <a:t> dolor in </a:t>
            </a:r>
            <a:r>
              <a:rPr lang="en-US" err="1"/>
              <a:t>reprehender</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a:t>
            </a:r>
          </a:p>
          <a:p>
            <a:pPr lvl="0"/>
            <a:endParaRPr lang="en-US"/>
          </a:p>
        </p:txBody>
      </p:sp>
      <p:sp>
        <p:nvSpPr>
          <p:cNvPr id="31" name="Text Placeholder 3">
            <a:extLst>
              <a:ext uri="{FF2B5EF4-FFF2-40B4-BE49-F238E27FC236}">
                <a16:creationId xmlns:a16="http://schemas.microsoft.com/office/drawing/2014/main" id="{C8459BDF-AF85-904F-99EF-E5B7937CD8CF}"/>
              </a:ext>
            </a:extLst>
          </p:cNvPr>
          <p:cNvSpPr>
            <a:spLocks noGrp="1"/>
          </p:cNvSpPr>
          <p:nvPr>
            <p:ph type="body" sz="quarter" idx="19" hasCustomPrompt="1"/>
          </p:nvPr>
        </p:nvSpPr>
        <p:spPr>
          <a:xfrm>
            <a:off x="8360986" y="3629948"/>
            <a:ext cx="2762451" cy="945339"/>
          </a:xfrm>
        </p:spPr>
        <p:txBody>
          <a:bodyPr>
            <a:noAutofit/>
          </a:bodyPr>
          <a:lstStyle>
            <a:lvl1pPr marL="0" indent="0" algn="ctr">
              <a:buNone/>
              <a:defRPr sz="8000" b="1" i="0" spc="-100" baseline="0">
                <a:solidFill>
                  <a:srgbClr val="F2609E"/>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XX</a:t>
            </a:r>
            <a:endParaRPr lang="en-CA"/>
          </a:p>
        </p:txBody>
      </p:sp>
      <p:sp>
        <p:nvSpPr>
          <p:cNvPr id="32" name="Text Placeholder 3">
            <a:extLst>
              <a:ext uri="{FF2B5EF4-FFF2-40B4-BE49-F238E27FC236}">
                <a16:creationId xmlns:a16="http://schemas.microsoft.com/office/drawing/2014/main" id="{A247C184-AFBC-D541-AB2C-FD13CF3219FD}"/>
              </a:ext>
            </a:extLst>
          </p:cNvPr>
          <p:cNvSpPr>
            <a:spLocks noGrp="1"/>
          </p:cNvSpPr>
          <p:nvPr>
            <p:ph type="body" sz="quarter" idx="20" hasCustomPrompt="1"/>
          </p:nvPr>
        </p:nvSpPr>
        <p:spPr>
          <a:xfrm>
            <a:off x="8360986" y="4620283"/>
            <a:ext cx="2762450" cy="342997"/>
          </a:xfrm>
        </p:spPr>
        <p:txBody>
          <a:bodyPr>
            <a:noAutofit/>
          </a:bodyPr>
          <a:lstStyle>
            <a:lvl1pPr marL="0" indent="0" algn="ctr">
              <a:spcBef>
                <a:spcPts val="0"/>
              </a:spcBef>
              <a:buNone/>
              <a:defRPr sz="2400" b="1" i="0">
                <a:solidFill>
                  <a:srgbClr val="F2609E"/>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Lorem ipsum</a:t>
            </a:r>
            <a:endParaRPr lang="en-CA"/>
          </a:p>
        </p:txBody>
      </p:sp>
    </p:spTree>
    <p:extLst>
      <p:ext uri="{BB962C8B-B14F-4D97-AF65-F5344CB8AC3E}">
        <p14:creationId xmlns:p14="http://schemas.microsoft.com/office/powerpoint/2010/main" val="26825356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Left + Tex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D30E432-2DC3-5545-8BDE-731303857A80}"/>
              </a:ext>
            </a:extLst>
          </p:cNvPr>
          <p:cNvSpPr>
            <a:spLocks noGrp="1"/>
          </p:cNvSpPr>
          <p:nvPr>
            <p:ph type="pic" sz="quarter" idx="12" hasCustomPrompt="1"/>
          </p:nvPr>
        </p:nvSpPr>
        <p:spPr>
          <a:xfrm>
            <a:off x="-1" y="0"/>
            <a:ext cx="3179489" cy="6858000"/>
          </a:xfrm>
          <a:solidFill>
            <a:srgbClr val="F6F6F6"/>
          </a:solidFill>
        </p:spPr>
        <p:txBody>
          <a:bodyPr anchor="ctr"/>
          <a:lstStyle>
            <a:lvl1pPr marL="0" indent="0" algn="ctr">
              <a:buNone/>
              <a:defRPr>
                <a:solidFill>
                  <a:schemeClr val="tx1"/>
                </a:solidFill>
                <a:latin typeface="+mj-lt"/>
              </a:defRPr>
            </a:lvl1pPr>
          </a:lstStyle>
          <a:p>
            <a:r>
              <a:rPr lang="en-CA"/>
              <a:t>Photo</a:t>
            </a:r>
          </a:p>
        </p:txBody>
      </p:sp>
      <p:sp>
        <p:nvSpPr>
          <p:cNvPr id="2" name="Title 1">
            <a:extLst>
              <a:ext uri="{FF2B5EF4-FFF2-40B4-BE49-F238E27FC236}">
                <a16:creationId xmlns:a16="http://schemas.microsoft.com/office/drawing/2014/main" id="{86191B29-D3CA-8644-9CB9-79D1A03C934E}"/>
              </a:ext>
            </a:extLst>
          </p:cNvPr>
          <p:cNvSpPr>
            <a:spLocks noGrp="1"/>
          </p:cNvSpPr>
          <p:nvPr>
            <p:ph type="title" hasCustomPrompt="1"/>
          </p:nvPr>
        </p:nvSpPr>
        <p:spPr>
          <a:xfrm>
            <a:off x="3675112" y="1545640"/>
            <a:ext cx="8134096" cy="1249477"/>
          </a:xfrm>
        </p:spPr>
        <p:txBody>
          <a:bodyPr anchor="t">
            <a:noAutofit/>
          </a:bodyPr>
          <a:lstStyle>
            <a:lvl1pPr>
              <a:defRPr>
                <a:solidFill>
                  <a:schemeClr val="accent4"/>
                </a:solidFill>
              </a:defRPr>
            </a:lvl1pPr>
          </a:lstStyle>
          <a:p>
            <a:r>
              <a:rPr lang="en-US"/>
              <a:t>Slide has a longer header and can be on two lines or one</a:t>
            </a:r>
          </a:p>
        </p:txBody>
      </p:sp>
      <p:sp>
        <p:nvSpPr>
          <p:cNvPr id="12" name="TextBox 11">
            <a:extLst>
              <a:ext uri="{FF2B5EF4-FFF2-40B4-BE49-F238E27FC236}">
                <a16:creationId xmlns:a16="http://schemas.microsoft.com/office/drawing/2014/main" id="{597E7282-3BC7-4544-8051-E534A579460C}"/>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7" name="Graphic 16">
            <a:extLst>
              <a:ext uri="{FF2B5EF4-FFF2-40B4-BE49-F238E27FC236}">
                <a16:creationId xmlns:a16="http://schemas.microsoft.com/office/drawing/2014/main" id="{A0F7AAFC-8746-104F-92FA-0C832699D0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 Placeholder 2">
            <a:extLst>
              <a:ext uri="{FF2B5EF4-FFF2-40B4-BE49-F238E27FC236}">
                <a16:creationId xmlns:a16="http://schemas.microsoft.com/office/drawing/2014/main" id="{FD3D621D-DFA8-974C-BE2B-3AAB183B143A}"/>
              </a:ext>
            </a:extLst>
          </p:cNvPr>
          <p:cNvSpPr>
            <a:spLocks noGrp="1"/>
          </p:cNvSpPr>
          <p:nvPr>
            <p:ph type="body" sz="quarter" idx="11" hasCustomPrompt="1"/>
          </p:nvPr>
        </p:nvSpPr>
        <p:spPr>
          <a:xfrm>
            <a:off x="3675112" y="3629640"/>
            <a:ext cx="3829491" cy="2794182"/>
          </a:xfrm>
        </p:spPr>
        <p:txBody>
          <a:bodyPr>
            <a:noAutofit/>
          </a:bodyPr>
          <a:lstStyle>
            <a:lvl1pPr marL="249750" indent="-249750">
              <a:lnSpc>
                <a:spcPct val="110000"/>
              </a:lnSpc>
              <a:spcBef>
                <a:spcPts val="0"/>
              </a:spcBef>
              <a:spcAft>
                <a:spcPts val="0"/>
              </a:spcAft>
              <a:buFont typeface="Arial" panose="020B0604020202020204" pitchFamily="34" charset="0"/>
              <a:buChar char="•"/>
              <a:defRPr sz="18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p>
          <a:p>
            <a:pPr lvl="0"/>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3" name="Text Placeholder 4">
            <a:extLst>
              <a:ext uri="{FF2B5EF4-FFF2-40B4-BE49-F238E27FC236}">
                <a16:creationId xmlns:a16="http://schemas.microsoft.com/office/drawing/2014/main" id="{309248FD-67F1-AD4A-B7EF-7BF1519A6E07}"/>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23" name="Text Placeholder 3">
            <a:extLst>
              <a:ext uri="{FF2B5EF4-FFF2-40B4-BE49-F238E27FC236}">
                <a16:creationId xmlns:a16="http://schemas.microsoft.com/office/drawing/2014/main" id="{8C559120-0F5C-344E-B80A-D68DC050F03C}"/>
              </a:ext>
            </a:extLst>
          </p:cNvPr>
          <p:cNvSpPr>
            <a:spLocks noGrp="1"/>
          </p:cNvSpPr>
          <p:nvPr>
            <p:ph type="body" sz="quarter" idx="14" hasCustomPrompt="1"/>
          </p:nvPr>
        </p:nvSpPr>
        <p:spPr>
          <a:xfrm>
            <a:off x="3675112" y="3151903"/>
            <a:ext cx="3829491" cy="492024"/>
          </a:xfrm>
        </p:spPr>
        <p:txBody>
          <a:bodyPr>
            <a:noAutofit/>
          </a:bodyPr>
          <a:lstStyle>
            <a:lvl1pPr marL="0" indent="0">
              <a:spcBef>
                <a:spcPts val="0"/>
              </a:spcBef>
              <a:buNone/>
              <a:defRPr sz="2000" b="1" i="0">
                <a:solidFill>
                  <a:schemeClr val="tx1"/>
                </a:solidFill>
                <a:latin typeface="+mn-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 for bullet notes</a:t>
            </a:r>
            <a:endParaRPr lang="en-CA"/>
          </a:p>
        </p:txBody>
      </p:sp>
      <p:sp>
        <p:nvSpPr>
          <p:cNvPr id="24" name="Text Placeholder 10">
            <a:extLst>
              <a:ext uri="{FF2B5EF4-FFF2-40B4-BE49-F238E27FC236}">
                <a16:creationId xmlns:a16="http://schemas.microsoft.com/office/drawing/2014/main" id="{D10D89BA-E318-1747-BD9A-17A64224B0B6}"/>
              </a:ext>
            </a:extLst>
          </p:cNvPr>
          <p:cNvSpPr>
            <a:spLocks noGrp="1"/>
          </p:cNvSpPr>
          <p:nvPr>
            <p:ph type="body" sz="quarter" idx="13" hasCustomPrompt="1"/>
          </p:nvPr>
        </p:nvSpPr>
        <p:spPr>
          <a:xfrm>
            <a:off x="3675112" y="1041137"/>
            <a:ext cx="6342707" cy="238281"/>
          </a:xfrm>
        </p:spPr>
        <p:txBody>
          <a:bodyPr wrap="square">
            <a:noAutofit/>
          </a:bodyPr>
          <a:lstStyle>
            <a:lvl1pPr marL="0" indent="0">
              <a:buNone/>
              <a:defRPr sz="1600" b="1" i="0" cap="all" spc="150" baseline="0">
                <a:solidFill>
                  <a:srgbClr val="4D4D4D"/>
                </a:solidFill>
                <a:latin typeface="+mj-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CA"/>
          </a:p>
        </p:txBody>
      </p:sp>
      <p:sp>
        <p:nvSpPr>
          <p:cNvPr id="25" name="Text Placeholder 2">
            <a:extLst>
              <a:ext uri="{FF2B5EF4-FFF2-40B4-BE49-F238E27FC236}">
                <a16:creationId xmlns:a16="http://schemas.microsoft.com/office/drawing/2014/main" id="{CB726F8E-1DF8-094E-86D2-23B25CAE9D77}"/>
              </a:ext>
            </a:extLst>
          </p:cNvPr>
          <p:cNvSpPr>
            <a:spLocks noGrp="1"/>
          </p:cNvSpPr>
          <p:nvPr>
            <p:ph type="body" sz="quarter" idx="15" hasCustomPrompt="1"/>
          </p:nvPr>
        </p:nvSpPr>
        <p:spPr>
          <a:xfrm>
            <a:off x="7975649" y="3629640"/>
            <a:ext cx="3829491" cy="2794182"/>
          </a:xfrm>
        </p:spPr>
        <p:txBody>
          <a:bodyPr>
            <a:noAutofit/>
          </a:bodyPr>
          <a:lstStyle>
            <a:lvl1pPr marL="249750" indent="-249750">
              <a:lnSpc>
                <a:spcPct val="110000"/>
              </a:lnSpc>
              <a:spcBef>
                <a:spcPts val="0"/>
              </a:spcBef>
              <a:spcAft>
                <a:spcPts val="0"/>
              </a:spcAft>
              <a:buFont typeface="Arial" panose="020B0604020202020204" pitchFamily="34" charset="0"/>
              <a:buChar char="•"/>
              <a:defRPr sz="18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dipiscing </a:t>
            </a:r>
            <a:r>
              <a:rPr lang="en-US" err="1"/>
              <a:t>elit</a:t>
            </a:r>
            <a:r>
              <a:rPr lang="en-US"/>
              <a:t>, </a:t>
            </a:r>
          </a:p>
          <a:p>
            <a:pPr lvl="0"/>
            <a:r>
              <a:rPr lang="en-US"/>
              <a:t>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p>
          <a:p>
            <a:pPr lvl="0"/>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26" name="Text Placeholder 3">
            <a:extLst>
              <a:ext uri="{FF2B5EF4-FFF2-40B4-BE49-F238E27FC236}">
                <a16:creationId xmlns:a16="http://schemas.microsoft.com/office/drawing/2014/main" id="{6D8760BB-94A5-E741-B1D0-AFED4944B5F8}"/>
              </a:ext>
            </a:extLst>
          </p:cNvPr>
          <p:cNvSpPr>
            <a:spLocks noGrp="1"/>
          </p:cNvSpPr>
          <p:nvPr>
            <p:ph type="body" sz="quarter" idx="16" hasCustomPrompt="1"/>
          </p:nvPr>
        </p:nvSpPr>
        <p:spPr>
          <a:xfrm>
            <a:off x="7975649" y="3151903"/>
            <a:ext cx="3829491" cy="492024"/>
          </a:xfrm>
        </p:spPr>
        <p:txBody>
          <a:bodyPr>
            <a:noAutofit/>
          </a:bodyPr>
          <a:lstStyle>
            <a:lvl1pPr marL="0" indent="0">
              <a:spcBef>
                <a:spcPts val="0"/>
              </a:spcBef>
              <a:buNone/>
              <a:defRPr sz="2000" b="1" i="0">
                <a:solidFill>
                  <a:schemeClr val="tx1"/>
                </a:solidFill>
                <a:latin typeface="+mn-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 header for bullet notes</a:t>
            </a:r>
            <a:endParaRPr lang="en-CA"/>
          </a:p>
        </p:txBody>
      </p:sp>
    </p:spTree>
    <p:extLst>
      <p:ext uri="{BB962C8B-B14F-4D97-AF65-F5344CB8AC3E}">
        <p14:creationId xmlns:p14="http://schemas.microsoft.com/office/powerpoint/2010/main" val="38745846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Image on right ">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6A00B60D-1408-1840-89F8-ED1E6C5588F4}"/>
              </a:ext>
            </a:extLst>
          </p:cNvPr>
          <p:cNvSpPr>
            <a:spLocks noGrp="1"/>
          </p:cNvSpPr>
          <p:nvPr>
            <p:ph type="pic" sz="quarter" idx="15" hasCustomPrompt="1"/>
          </p:nvPr>
        </p:nvSpPr>
        <p:spPr>
          <a:xfrm>
            <a:off x="6814159" y="0"/>
            <a:ext cx="5377842" cy="6858000"/>
          </a:xfrm>
          <a:solidFill>
            <a:srgbClr val="F6F6F6"/>
          </a:solidFill>
        </p:spPr>
        <p:txBody>
          <a:bodyPr anchor="ctr"/>
          <a:lstStyle>
            <a:lvl1pPr marL="0" indent="0" algn="ctr">
              <a:buNone/>
              <a:defRPr>
                <a:solidFill>
                  <a:schemeClr val="tx1"/>
                </a:solidFill>
                <a:latin typeface="+mj-lt"/>
              </a:defRPr>
            </a:lvl1pPr>
          </a:lstStyle>
          <a:p>
            <a:r>
              <a:rPr lang="en-CA"/>
              <a:t>Photo</a:t>
            </a:r>
          </a:p>
        </p:txBody>
      </p:sp>
      <p:sp>
        <p:nvSpPr>
          <p:cNvPr id="10" name="Text Placeholder 10">
            <a:extLst>
              <a:ext uri="{FF2B5EF4-FFF2-40B4-BE49-F238E27FC236}">
                <a16:creationId xmlns:a16="http://schemas.microsoft.com/office/drawing/2014/main" id="{A635C0F2-5C5E-8242-B5B8-272BDABFF2AF}"/>
              </a:ext>
            </a:extLst>
          </p:cNvPr>
          <p:cNvSpPr>
            <a:spLocks noGrp="1"/>
          </p:cNvSpPr>
          <p:nvPr>
            <p:ph type="body" sz="quarter" idx="14" hasCustomPrompt="1"/>
          </p:nvPr>
        </p:nvSpPr>
        <p:spPr>
          <a:xfrm>
            <a:off x="471452" y="3061339"/>
            <a:ext cx="5882052" cy="3397686"/>
          </a:xfrm>
        </p:spPr>
        <p:txBody>
          <a:bodyPr wrap="square">
            <a:noAutofit/>
          </a:bodyPr>
          <a:lstStyle>
            <a:lvl1pPr marL="0" indent="0">
              <a:lnSpc>
                <a:spcPct val="110000"/>
              </a:lnSpc>
              <a:spcBef>
                <a:spcPts val="0"/>
              </a:spcBef>
              <a:spcAft>
                <a:spcPts val="1400"/>
              </a:spcAft>
              <a:buFont typeface="Arial" panose="020B0604020202020204" pitchFamily="34" charset="0"/>
              <a:buNone/>
              <a:defRPr sz="18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a:t>
            </a:r>
          </a:p>
          <a:p>
            <a:pPr lvl="0"/>
            <a:r>
              <a:rPr lang="en-US"/>
              <a:t>Dolor sed viverra ipsum nunc aliquet bibendum enim facilisis. Feugiat in ante metus dictum. Venenatis urna cursus eget nunc. </a:t>
            </a:r>
          </a:p>
          <a:p>
            <a:pPr lvl="0"/>
            <a:r>
              <a:rPr lang="en-US"/>
              <a:t>Vitae purus </a:t>
            </a:r>
            <a:r>
              <a:rPr lang="en-US" err="1"/>
              <a:t>faucibus</a:t>
            </a:r>
            <a:r>
              <a:rPr lang="en-US"/>
              <a:t> </a:t>
            </a:r>
            <a:r>
              <a:rPr lang="en-US" err="1"/>
              <a:t>ornare</a:t>
            </a:r>
            <a:r>
              <a:rPr lang="en-US"/>
              <a:t> suspendisse sed nisi </a:t>
            </a:r>
            <a:r>
              <a:rPr lang="en-US" err="1"/>
              <a:t>lacus</a:t>
            </a:r>
            <a:r>
              <a:rPr lang="en-US"/>
              <a:t> sed. Diam </a:t>
            </a:r>
            <a:r>
              <a:rPr lang="en-US" err="1"/>
              <a:t>vulputate</a:t>
            </a:r>
            <a:r>
              <a:rPr lang="en-US"/>
              <a:t> ut pharetra sit. Sit amet </a:t>
            </a:r>
            <a:r>
              <a:rPr lang="en-US" err="1"/>
              <a:t>mattis</a:t>
            </a:r>
            <a:r>
              <a:rPr lang="en-US"/>
              <a:t> </a:t>
            </a:r>
            <a:r>
              <a:rPr lang="en-US" err="1"/>
              <a:t>vulputate</a:t>
            </a:r>
            <a:r>
              <a:rPr lang="en-US"/>
              <a:t> enim nulla aliquet </a:t>
            </a:r>
            <a:r>
              <a:rPr lang="en-US" err="1"/>
              <a:t>porttitor</a:t>
            </a:r>
            <a:r>
              <a:rPr lang="en-US"/>
              <a:t>. </a:t>
            </a:r>
          </a:p>
        </p:txBody>
      </p:sp>
      <p:pic>
        <p:nvPicPr>
          <p:cNvPr id="12" name="Graphic 11">
            <a:extLst>
              <a:ext uri="{FF2B5EF4-FFF2-40B4-BE49-F238E27FC236}">
                <a16:creationId xmlns:a16="http://schemas.microsoft.com/office/drawing/2014/main" id="{E00C02DB-FD9A-8E43-B53B-ADA65DFEDE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E6FB2951-E5F4-7B4D-83D4-CD64C3A1E112}"/>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13" name="Text Placeholder 4">
            <a:extLst>
              <a:ext uri="{FF2B5EF4-FFF2-40B4-BE49-F238E27FC236}">
                <a16:creationId xmlns:a16="http://schemas.microsoft.com/office/drawing/2014/main" id="{A3296BB6-B557-0D4D-8886-17AEE7E29BC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8" name="Title 1">
            <a:extLst>
              <a:ext uri="{FF2B5EF4-FFF2-40B4-BE49-F238E27FC236}">
                <a16:creationId xmlns:a16="http://schemas.microsoft.com/office/drawing/2014/main" id="{E93DF6EC-0806-144B-9410-36A09185D681}"/>
              </a:ext>
            </a:extLst>
          </p:cNvPr>
          <p:cNvSpPr>
            <a:spLocks noGrp="1"/>
          </p:cNvSpPr>
          <p:nvPr>
            <p:ph type="title" hasCustomPrompt="1"/>
          </p:nvPr>
        </p:nvSpPr>
        <p:spPr>
          <a:xfrm>
            <a:off x="471451" y="1545640"/>
            <a:ext cx="5882052" cy="1249477"/>
          </a:xfrm>
        </p:spPr>
        <p:txBody>
          <a:bodyPr anchor="t">
            <a:noAutofit/>
          </a:bodyPr>
          <a:lstStyle>
            <a:lvl1pPr>
              <a:defRPr>
                <a:solidFill>
                  <a:schemeClr val="accent6"/>
                </a:solidFill>
              </a:defRPr>
            </a:lvl1pPr>
          </a:lstStyle>
          <a:p>
            <a:r>
              <a:rPr lang="en-US"/>
              <a:t>Slide title can be on two lines or one</a:t>
            </a:r>
          </a:p>
        </p:txBody>
      </p:sp>
      <p:sp>
        <p:nvSpPr>
          <p:cNvPr id="19" name="Text Placeholder 10">
            <a:extLst>
              <a:ext uri="{FF2B5EF4-FFF2-40B4-BE49-F238E27FC236}">
                <a16:creationId xmlns:a16="http://schemas.microsoft.com/office/drawing/2014/main" id="{FABEBA2F-49A3-D24C-BBD1-FCC17DE9226E}"/>
              </a:ext>
            </a:extLst>
          </p:cNvPr>
          <p:cNvSpPr>
            <a:spLocks noGrp="1"/>
          </p:cNvSpPr>
          <p:nvPr>
            <p:ph type="body" sz="quarter" idx="13" hasCustomPrompt="1"/>
          </p:nvPr>
        </p:nvSpPr>
        <p:spPr>
          <a:xfrm>
            <a:off x="471452" y="1041137"/>
            <a:ext cx="5882052" cy="238281"/>
          </a:xfrm>
        </p:spPr>
        <p:txBody>
          <a:bodyPr wrap="square">
            <a:noAutofit/>
          </a:bodyPr>
          <a:lstStyle>
            <a:lvl1pPr marL="0" indent="0">
              <a:buNone/>
              <a:defRPr sz="1600" b="1" i="0" cap="all" spc="150" baseline="0">
                <a:solidFill>
                  <a:srgbClr val="4D4D4D"/>
                </a:solidFill>
                <a:latin typeface="+mj-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CA"/>
          </a:p>
        </p:txBody>
      </p:sp>
    </p:spTree>
    <p:extLst>
      <p:ext uri="{BB962C8B-B14F-4D97-AF65-F5344CB8AC3E}">
        <p14:creationId xmlns:p14="http://schemas.microsoft.com/office/powerpoint/2010/main" val="37403842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vs. Two">
    <p:bg>
      <p:bgPr>
        <a:solidFill>
          <a:srgbClr val="F6F6F6"/>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4EF56B-BA64-9B43-8A0B-60A365D0D31B}"/>
              </a:ext>
            </a:extLst>
          </p:cNvPr>
          <p:cNvSpPr/>
          <p:nvPr userDrawn="1"/>
        </p:nvSpPr>
        <p:spPr>
          <a:xfrm>
            <a:off x="6096000" y="0"/>
            <a:ext cx="60956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cotia" panose="020F0502020204030204"/>
              <a:ea typeface="+mn-ea"/>
              <a:cs typeface="+mn-cs"/>
            </a:endParaRPr>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1C415D1D-105C-744A-97D5-C53C0EEA8F6B}"/>
              </a:ext>
            </a:extLst>
          </p:cNvPr>
          <p:cNvSpPr>
            <a:spLocks noGrp="1"/>
          </p:cNvSpPr>
          <p:nvPr>
            <p:ph type="title" hasCustomPrompt="1"/>
          </p:nvPr>
        </p:nvSpPr>
        <p:spPr>
          <a:xfrm>
            <a:off x="757958" y="1236693"/>
            <a:ext cx="4120199" cy="530090"/>
          </a:xfrm>
        </p:spPr>
        <p:txBody>
          <a:bodyPr anchor="t">
            <a:noAutofit/>
          </a:bodyPr>
          <a:lstStyle>
            <a:lvl1pPr>
              <a:defRPr>
                <a:solidFill>
                  <a:srgbClr val="333333"/>
                </a:solidFill>
              </a:defRPr>
            </a:lvl1pPr>
          </a:lstStyle>
          <a:p>
            <a:r>
              <a:rPr lang="en-US"/>
              <a:t>One thing:</a:t>
            </a:r>
          </a:p>
        </p:txBody>
      </p:sp>
      <p:sp>
        <p:nvSpPr>
          <p:cNvPr id="6" name="Text Placeholder 5">
            <a:extLst>
              <a:ext uri="{FF2B5EF4-FFF2-40B4-BE49-F238E27FC236}">
                <a16:creationId xmlns:a16="http://schemas.microsoft.com/office/drawing/2014/main" id="{C2C82983-362E-744D-BB48-BA9384580D59}"/>
              </a:ext>
            </a:extLst>
          </p:cNvPr>
          <p:cNvSpPr>
            <a:spLocks noGrp="1"/>
          </p:cNvSpPr>
          <p:nvPr>
            <p:ph type="body" sz="quarter" idx="11" hasCustomPrompt="1"/>
          </p:nvPr>
        </p:nvSpPr>
        <p:spPr>
          <a:xfrm>
            <a:off x="755650" y="2268538"/>
            <a:ext cx="4489450" cy="4081462"/>
          </a:xfrm>
        </p:spPr>
        <p:txBody>
          <a:bodyPr/>
          <a:lstStyle>
            <a:lvl1pPr marL="371475" marR="0" indent="-371475" algn="l" defTabSz="914400" rtl="0" eaLnBrk="1" fontAlgn="base" latinLnBrk="0" hangingPunct="1">
              <a:lnSpc>
                <a:spcPct val="110000"/>
              </a:lnSpc>
              <a:spcBef>
                <a:spcPts val="0"/>
              </a:spcBef>
              <a:spcAft>
                <a:spcPts val="1800"/>
              </a:spcAft>
              <a:buClrTx/>
              <a:buSzTx/>
              <a:buFont typeface="+mj-lt"/>
              <a:buAutoNum type="arabicPeriod"/>
              <a:tabLst/>
              <a:defRPr sz="1600"/>
            </a:lvl1pPr>
            <a:lvl2pPr marL="914400" indent="-457200">
              <a:buFont typeface="+mj-lt"/>
              <a:buAutoNum type="arabicPeriod"/>
              <a:defRPr sz="1600"/>
            </a:lvl2pPr>
            <a:lvl3pPr marL="1257300" indent="-342900">
              <a:buFont typeface="+mj-lt"/>
              <a:buAutoNum type="arabicPeriod"/>
              <a:defRPr sz="1600"/>
            </a:lvl3pPr>
            <a:lvl4pPr marL="1714500" indent="-342900">
              <a:buFont typeface="+mj-lt"/>
              <a:buAutoNum type="arabicPeriod"/>
              <a:defRPr sz="1600"/>
            </a:lvl4pPr>
            <a:lvl5pPr marL="2171700" indent="-342900">
              <a:buFont typeface="+mj-lt"/>
              <a:buAutoNum type="arabicPeriod"/>
              <a:defRPr sz="1600"/>
            </a:lvl5pPr>
          </a:lstStyle>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c</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tt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Ultricies</a:t>
            </a:r>
            <a:r>
              <a:rPr kumimoji="0" lang="en-CA" sz="1600" b="0" i="0" u="none" strike="noStrike" kern="1200" cap="none" spc="0" normalizeH="0" baseline="0" noProof="0">
                <a:ln>
                  <a:noFill/>
                </a:ln>
                <a:solidFill>
                  <a:srgbClr val="333333"/>
                </a:solidFill>
                <a:effectLst/>
                <a:uLnTx/>
                <a:uFillTx/>
                <a:latin typeface="+mn-lt"/>
                <a:ea typeface="+mn-ea"/>
                <a:cs typeface="+mn-cs"/>
              </a:rPr>
              <a:t> mi </a:t>
            </a:r>
            <a:r>
              <a:rPr kumimoji="0" lang="en-CA" sz="1600" b="0" i="0" u="none" strike="noStrike" kern="1200" cap="none" spc="0" normalizeH="0" baseline="0" noProof="0" err="1">
                <a:ln>
                  <a:noFill/>
                </a:ln>
                <a:solidFill>
                  <a:srgbClr val="333333"/>
                </a:solidFill>
                <a:effectLst/>
                <a:uLnTx/>
                <a:uFillTx/>
                <a:latin typeface="+mn-lt"/>
                <a:ea typeface="+mn-ea"/>
                <a:cs typeface="+mn-cs"/>
              </a:rPr>
              <a:t>qu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hendrerit</a:t>
            </a:r>
            <a:r>
              <a:rPr kumimoji="0" lang="en-CA" sz="1600" b="0" i="0" u="none" strike="noStrike" kern="1200" cap="none" spc="0" normalizeH="0" baseline="0" noProof="0">
                <a:ln>
                  <a:noFill/>
                </a:ln>
                <a:solidFill>
                  <a:srgbClr val="333333"/>
                </a:solidFill>
                <a:effectLst/>
                <a:uLnTx/>
                <a:uFillTx/>
                <a:latin typeface="+mn-lt"/>
                <a:ea typeface="+mn-ea"/>
                <a:cs typeface="+mn-cs"/>
              </a:rPr>
              <a:t> dolor magna </a:t>
            </a:r>
            <a:r>
              <a:rPr kumimoji="0" lang="en-CA" sz="1600" b="0" i="0" u="none" strike="noStrike" kern="1200" cap="none" spc="0" normalizeH="0" baseline="0" noProof="0" err="1">
                <a:ln>
                  <a:noFill/>
                </a:ln>
                <a:solidFill>
                  <a:srgbClr val="333333"/>
                </a:solidFill>
                <a:effectLst/>
                <a:uLnTx/>
                <a:uFillTx/>
                <a:latin typeface="+mn-lt"/>
                <a:ea typeface="+mn-ea"/>
                <a:cs typeface="+mn-cs"/>
              </a:rPr>
              <a:t>ege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st</a:t>
            </a:r>
            <a:r>
              <a:rPr kumimoji="0" lang="en-CA" sz="1600" b="0" i="0" u="none" strike="noStrike" kern="1200" cap="none" spc="0" normalizeH="0" baseline="0" noProof="0">
                <a:ln>
                  <a:noFill/>
                </a:ln>
                <a:solidFill>
                  <a:srgbClr val="333333"/>
                </a:solidFill>
                <a:effectLst/>
                <a:uLnTx/>
                <a:uFillTx/>
                <a:latin typeface="+mn-lt"/>
                <a:ea typeface="+mn-ea"/>
                <a:cs typeface="+mn-cs"/>
              </a:rPr>
              <a:t> lorem.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Id </a:t>
            </a:r>
            <a:r>
              <a:rPr kumimoji="0" lang="en-CA" sz="1600" b="0" i="0" u="none" strike="noStrike" kern="1200" cap="none" spc="0" normalizeH="0" baseline="0" noProof="0" err="1">
                <a:ln>
                  <a:noFill/>
                </a:ln>
                <a:solidFill>
                  <a:srgbClr val="333333"/>
                </a:solidFill>
                <a:effectLst/>
                <a:uLnTx/>
                <a:uFillTx/>
                <a:latin typeface="+mn-lt"/>
                <a:ea typeface="+mn-ea"/>
                <a:cs typeface="+mn-cs"/>
              </a:rPr>
              <a:t>donec</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ltric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incidun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arcu</a:t>
            </a:r>
            <a:r>
              <a:rPr kumimoji="0" lang="en-CA" sz="1600" b="0" i="0" u="none" strike="noStrike" kern="1200" cap="none" spc="0" normalizeH="0" baseline="0" noProof="0">
                <a:ln>
                  <a:noFill/>
                </a:ln>
                <a:solidFill>
                  <a:srgbClr val="333333"/>
                </a:solidFill>
                <a:effectLst/>
                <a:uLnTx/>
                <a:uFillTx/>
                <a:latin typeface="+mn-lt"/>
                <a:ea typeface="+mn-ea"/>
                <a:cs typeface="+mn-cs"/>
              </a:rPr>
              <a:t> non.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Ut </a:t>
            </a:r>
            <a:r>
              <a:rPr kumimoji="0" lang="en-CA" sz="1600" b="0" i="0" u="none" strike="noStrike" kern="1200" cap="none" spc="0" normalizeH="0" baseline="0" noProof="0" err="1">
                <a:ln>
                  <a:noFill/>
                </a:ln>
                <a:solidFill>
                  <a:srgbClr val="333333"/>
                </a:solidFill>
                <a:effectLst/>
                <a:uLnTx/>
                <a:uFillTx/>
                <a:latin typeface="+mn-lt"/>
                <a:ea typeface="+mn-ea"/>
                <a:cs typeface="+mn-cs"/>
              </a:rPr>
              <a:t>faucibus</a:t>
            </a:r>
            <a:r>
              <a:rPr kumimoji="0" lang="en-CA" sz="1600" b="0" i="0" u="none" strike="noStrike" kern="1200" cap="none" spc="0" normalizeH="0" baseline="0" noProof="0">
                <a:ln>
                  <a:noFill/>
                </a:ln>
                <a:solidFill>
                  <a:srgbClr val="333333"/>
                </a:solidFill>
                <a:effectLst/>
                <a:uLnTx/>
                <a:uFillTx/>
                <a:latin typeface="+mn-lt"/>
                <a:ea typeface="+mn-ea"/>
                <a:cs typeface="+mn-cs"/>
              </a:rPr>
              <a:t> pulvinar </a:t>
            </a:r>
            <a:r>
              <a:rPr kumimoji="0" lang="en-CA" sz="1600" b="0" i="0" u="none" strike="noStrike" kern="1200" cap="none" spc="0" normalizeH="0" baseline="0" noProof="0" err="1">
                <a:ln>
                  <a:noFill/>
                </a:ln>
                <a:solidFill>
                  <a:srgbClr val="333333"/>
                </a:solidFill>
                <a:effectLst/>
                <a:uLnTx/>
                <a:uFillTx/>
                <a:latin typeface="+mn-lt"/>
                <a:ea typeface="+mn-ea"/>
                <a:cs typeface="+mn-cs"/>
              </a:rPr>
              <a:t>elementum</a:t>
            </a:r>
            <a:r>
              <a:rPr kumimoji="0" lang="en-CA" sz="1600" b="0" i="0" u="none" strike="noStrike" kern="1200" cap="none" spc="0" normalizeH="0" baseline="0" noProof="0">
                <a:ln>
                  <a:noFill/>
                </a:ln>
                <a:solidFill>
                  <a:srgbClr val="333333"/>
                </a:solidFill>
                <a:effectLst/>
                <a:uLnTx/>
                <a:uFillTx/>
                <a:latin typeface="+mn-lt"/>
                <a:ea typeface="+mn-ea"/>
                <a:cs typeface="+mn-cs"/>
              </a:rPr>
              <a:t> integer </a:t>
            </a: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Aenean sed adipiscing diam </a:t>
            </a:r>
            <a:r>
              <a:rPr kumimoji="0" lang="en-CA" sz="1600" b="0" i="0" u="none" strike="noStrike" kern="1200" cap="none" spc="0" normalizeH="0" baseline="0" noProof="0" err="1">
                <a:ln>
                  <a:noFill/>
                </a:ln>
                <a:solidFill>
                  <a:srgbClr val="333333"/>
                </a:solidFill>
                <a:effectLst/>
                <a:uLnTx/>
                <a:uFillTx/>
                <a:latin typeface="+mn-lt"/>
                <a:ea typeface="+mn-ea"/>
                <a:cs typeface="+mn-cs"/>
              </a:rPr>
              <a:t>donec</a:t>
            </a:r>
            <a:r>
              <a:rPr kumimoji="0" lang="en-CA" sz="1600" b="0" i="0" u="none" strike="noStrike" kern="1200" cap="none" spc="0" normalizeH="0" baseline="0" noProof="0">
                <a:ln>
                  <a:noFill/>
                </a:ln>
                <a:solidFill>
                  <a:srgbClr val="333333"/>
                </a:solidFill>
                <a:effectLst/>
                <a:uLnTx/>
                <a:uFillTx/>
                <a:latin typeface="+mn-lt"/>
                <a:ea typeface="+mn-ea"/>
                <a:cs typeface="+mn-cs"/>
              </a:rPr>
              <a:t> adipiscing.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Odio</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empor</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orci</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dapibu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ltrices</a:t>
            </a:r>
            <a:r>
              <a:rPr kumimoji="0" lang="en-CA" sz="1600" b="0" i="0" u="none" strike="noStrike" kern="1200" cap="none" spc="0" normalizeH="0" baseline="0" noProof="0">
                <a:ln>
                  <a:noFill/>
                </a:ln>
                <a:solidFill>
                  <a:srgbClr val="333333"/>
                </a:solidFill>
                <a:effectLst/>
                <a:uLnTx/>
                <a:uFillTx/>
                <a:latin typeface="+mn-lt"/>
                <a:ea typeface="+mn-ea"/>
                <a:cs typeface="+mn-cs"/>
              </a:rPr>
              <a:t> in </a:t>
            </a:r>
            <a:r>
              <a:rPr kumimoji="0" lang="en-CA" sz="1600" b="0" i="0" u="none" strike="noStrike" kern="1200" cap="none" spc="0" normalizeH="0" baseline="0" noProof="0" err="1">
                <a:ln>
                  <a:noFill/>
                </a:ln>
                <a:solidFill>
                  <a:srgbClr val="333333"/>
                </a:solidFill>
                <a:effectLst/>
                <a:uLnTx/>
                <a:uFillTx/>
                <a:latin typeface="+mn-lt"/>
                <a:ea typeface="+mn-ea"/>
                <a:cs typeface="+mn-cs"/>
              </a:rPr>
              <a:t>iacul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sed </a:t>
            </a:r>
            <a:r>
              <a:rPr kumimoji="0" lang="en-CA" sz="1600" b="0" i="0" u="none" strike="noStrike" kern="1200" cap="none" spc="0" normalizeH="0" baseline="0" noProof="0" err="1">
                <a:ln>
                  <a:noFill/>
                </a:ln>
                <a:solidFill>
                  <a:srgbClr val="333333"/>
                </a:solidFill>
                <a:effectLst/>
                <a:uLnTx/>
                <a:uFillTx/>
                <a:latin typeface="+mn-lt"/>
                <a:ea typeface="+mn-ea"/>
                <a:cs typeface="+mn-cs"/>
              </a:rPr>
              <a:t>augue</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lvl="4"/>
            <a:endParaRPr lang="en-CA"/>
          </a:p>
        </p:txBody>
      </p:sp>
      <p:sp>
        <p:nvSpPr>
          <p:cNvPr id="39" name="Text Placeholder 5">
            <a:extLst>
              <a:ext uri="{FF2B5EF4-FFF2-40B4-BE49-F238E27FC236}">
                <a16:creationId xmlns:a16="http://schemas.microsoft.com/office/drawing/2014/main" id="{0D24C5D1-610B-474C-8D57-3FC31F36658A}"/>
              </a:ext>
            </a:extLst>
          </p:cNvPr>
          <p:cNvSpPr>
            <a:spLocks noGrp="1"/>
          </p:cNvSpPr>
          <p:nvPr>
            <p:ph type="body" sz="quarter" idx="12" hasCustomPrompt="1"/>
          </p:nvPr>
        </p:nvSpPr>
        <p:spPr>
          <a:xfrm>
            <a:off x="7082500" y="2268538"/>
            <a:ext cx="4351542" cy="4081462"/>
          </a:xfrm>
        </p:spPr>
        <p:txBody>
          <a:bodyPr/>
          <a:lstStyle>
            <a:lvl1pPr marL="0" marR="0" indent="0" algn="l" defTabSz="914400" rtl="0" eaLnBrk="1" fontAlgn="base" latinLnBrk="0" hangingPunct="1">
              <a:lnSpc>
                <a:spcPct val="110000"/>
              </a:lnSpc>
              <a:spcBef>
                <a:spcPts val="0"/>
              </a:spcBef>
              <a:spcAft>
                <a:spcPts val="1800"/>
              </a:spcAft>
              <a:buClrTx/>
              <a:buSzTx/>
              <a:buFont typeface="+mj-lt"/>
              <a:buNone/>
              <a:tabLst/>
              <a:defRPr sz="1600"/>
            </a:lvl1pPr>
            <a:lvl2pPr marL="914400" indent="-457200">
              <a:buFont typeface="+mj-lt"/>
              <a:buAutoNum type="arabicPeriod"/>
              <a:defRPr sz="1600"/>
            </a:lvl2pPr>
            <a:lvl3pPr marL="1257300" indent="-342900">
              <a:buFont typeface="+mj-lt"/>
              <a:buAutoNum type="arabicPeriod"/>
              <a:defRPr sz="1600"/>
            </a:lvl3pPr>
            <a:lvl4pPr marL="1714500" indent="-342900">
              <a:buFont typeface="+mj-lt"/>
              <a:buAutoNum type="arabicPeriod"/>
              <a:defRPr sz="1600"/>
            </a:lvl4pPr>
            <a:lvl5pPr marL="1828800" indent="0">
              <a:buFont typeface="+mj-lt"/>
              <a:buNone/>
              <a:defRPr sz="1600"/>
            </a:lvl5pPr>
          </a:lstStyle>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Molesti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non </a:t>
            </a:r>
            <a:r>
              <a:rPr kumimoji="0" lang="en-CA" sz="1600" b="0" i="0" u="none" strike="noStrike" kern="1200" cap="none" spc="0" normalizeH="0" baseline="0" noProof="0" err="1">
                <a:ln>
                  <a:noFill/>
                </a:ln>
                <a:solidFill>
                  <a:srgbClr val="333333"/>
                </a:solidFill>
                <a:effectLst/>
                <a:uLnTx/>
                <a:uFillTx/>
                <a:latin typeface="+mn-lt"/>
                <a:ea typeface="+mn-ea"/>
                <a:cs typeface="+mn-cs"/>
              </a:rPr>
              <a:t>blandi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ssa</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ni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c</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nunc</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mattis</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Felis </a:t>
            </a:r>
            <a:r>
              <a:rPr kumimoji="0" lang="en-CA" sz="1600" b="0" i="0" u="none" strike="noStrike" kern="1200" cap="none" spc="0" normalizeH="0" baseline="0" noProof="0" err="1">
                <a:ln>
                  <a:noFill/>
                </a:ln>
                <a:solidFill>
                  <a:srgbClr val="333333"/>
                </a:solidFill>
                <a:effectLst/>
                <a:uLnTx/>
                <a:uFillTx/>
                <a:latin typeface="+mn-lt"/>
                <a:ea typeface="+mn-ea"/>
                <a:cs typeface="+mn-cs"/>
              </a:rPr>
              <a:t>bibendum</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ristique</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quis</a:t>
            </a:r>
            <a:r>
              <a:rPr kumimoji="0" lang="en-CA" sz="1600" b="0" i="0" u="none" strike="noStrike" kern="1200" cap="none" spc="0" normalizeH="0" baseline="0" noProof="0">
                <a:ln>
                  <a:noFill/>
                </a:ln>
                <a:solidFill>
                  <a:srgbClr val="333333"/>
                </a:solidFill>
                <a:effectLst/>
                <a:uLnTx/>
                <a:uFillTx/>
                <a:latin typeface="+mn-lt"/>
                <a:ea typeface="+mn-ea"/>
                <a:cs typeface="+mn-cs"/>
              </a:rPr>
              <a:t> ipsum </a:t>
            </a:r>
            <a:r>
              <a:rPr kumimoji="0" lang="en-CA" sz="1600" b="0" i="0" u="none" strike="noStrike" kern="1200" cap="none" spc="0" normalizeH="0" baseline="0" noProof="0" err="1">
                <a:ln>
                  <a:noFill/>
                </a:ln>
                <a:solidFill>
                  <a:srgbClr val="333333"/>
                </a:solidFill>
                <a:effectLst/>
                <a:uLnTx/>
                <a:uFillTx/>
                <a:latin typeface="+mn-lt"/>
                <a:ea typeface="+mn-ea"/>
                <a:cs typeface="+mn-cs"/>
              </a:rPr>
              <a:t>suspendisse</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a:ln>
                  <a:noFill/>
                </a:ln>
                <a:solidFill>
                  <a:srgbClr val="333333"/>
                </a:solidFill>
                <a:effectLst/>
                <a:uLnTx/>
                <a:uFillTx/>
                <a:latin typeface="+mn-lt"/>
                <a:ea typeface="+mn-ea"/>
                <a:cs typeface="+mn-cs"/>
              </a:rPr>
              <a:t>Sed </a:t>
            </a:r>
            <a:r>
              <a:rPr kumimoji="0" lang="en-CA" sz="1600" b="0" i="0" u="none" strike="noStrike" kern="1200" cap="none" spc="0" normalizeH="0" baseline="0" noProof="0" err="1">
                <a:ln>
                  <a:noFill/>
                </a:ln>
                <a:solidFill>
                  <a:srgbClr val="333333"/>
                </a:solidFill>
                <a:effectLst/>
                <a:uLnTx/>
                <a:uFillTx/>
                <a:latin typeface="+mn-lt"/>
                <a:ea typeface="+mn-ea"/>
                <a:cs typeface="+mn-cs"/>
              </a:rPr>
              <a:t>blandit</a:t>
            </a:r>
            <a:r>
              <a:rPr kumimoji="0" lang="en-CA" sz="1600" b="0" i="0" u="none" strike="noStrike" kern="1200" cap="none" spc="0" normalizeH="0" baseline="0" noProof="0">
                <a:ln>
                  <a:noFill/>
                </a:ln>
                <a:solidFill>
                  <a:srgbClr val="333333"/>
                </a:solidFill>
                <a:effectLst/>
                <a:uLnTx/>
                <a:uFillTx/>
                <a:latin typeface="+mn-lt"/>
                <a:ea typeface="+mn-ea"/>
                <a:cs typeface="+mn-cs"/>
              </a:rPr>
              <a:t> libero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sed. </a:t>
            </a:r>
            <a:r>
              <a:rPr kumimoji="0" lang="en-CA" sz="1600" b="0" i="0" u="none" strike="noStrike" kern="1200" cap="none" spc="0" normalizeH="0" baseline="0" noProof="0" err="1">
                <a:ln>
                  <a:noFill/>
                </a:ln>
                <a:solidFill>
                  <a:srgbClr val="333333"/>
                </a:solidFill>
                <a:effectLst/>
                <a:uLnTx/>
                <a:uFillTx/>
                <a:latin typeface="+mn-lt"/>
                <a:ea typeface="+mn-ea"/>
                <a:cs typeface="+mn-cs"/>
              </a:rPr>
              <a:t>Sodal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ne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sodale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u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tiam</a:t>
            </a:r>
            <a:r>
              <a:rPr kumimoji="0" lang="en-CA" sz="1600" b="0" i="0" u="none" strike="noStrike" kern="1200" cap="none" spc="0" normalizeH="0" baseline="0" noProof="0">
                <a:ln>
                  <a:noFill/>
                </a:ln>
                <a:solidFill>
                  <a:srgbClr val="333333"/>
                </a:solidFill>
                <a:effectLst/>
                <a:uLnTx/>
                <a:uFillTx/>
                <a:latin typeface="+mn-lt"/>
                <a:ea typeface="+mn-ea"/>
                <a:cs typeface="+mn-cs"/>
              </a:rPr>
              <a:t> sit </a:t>
            </a:r>
            <a:r>
              <a:rPr kumimoji="0" lang="en-CA" sz="1600" b="0" i="0" u="none" strike="noStrike" kern="1200" cap="none" spc="0" normalizeH="0" baseline="0" noProof="0" err="1">
                <a:ln>
                  <a:noFill/>
                </a:ln>
                <a:solidFill>
                  <a:srgbClr val="333333"/>
                </a:solidFill>
                <a:effectLst/>
                <a:uLnTx/>
                <a:uFillTx/>
                <a:latin typeface="+mn-lt"/>
                <a:ea typeface="+mn-ea"/>
                <a:cs typeface="+mn-cs"/>
              </a:rPr>
              <a:t>amet</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Turp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tincidunt</a:t>
            </a:r>
            <a:r>
              <a:rPr kumimoji="0" lang="en-CA" sz="1600" b="0" i="0" u="none" strike="noStrike" kern="1200" cap="none" spc="0" normalizeH="0" baseline="0" noProof="0">
                <a:ln>
                  <a:noFill/>
                </a:ln>
                <a:solidFill>
                  <a:srgbClr val="333333"/>
                </a:solidFill>
                <a:effectLst/>
                <a:uLnTx/>
                <a:uFillTx/>
                <a:latin typeface="+mn-lt"/>
                <a:ea typeface="+mn-ea"/>
                <a:cs typeface="+mn-cs"/>
              </a:rPr>
              <a:t> id </a:t>
            </a:r>
            <a:r>
              <a:rPr kumimoji="0" lang="en-CA" sz="1600" b="0" i="0" u="none" strike="noStrike" kern="1200" cap="none" spc="0" normalizeH="0" baseline="0" noProof="0" err="1">
                <a:ln>
                  <a:noFill/>
                </a:ln>
                <a:solidFill>
                  <a:srgbClr val="333333"/>
                </a:solidFill>
                <a:effectLst/>
                <a:uLnTx/>
                <a:uFillTx/>
                <a:latin typeface="+mn-lt"/>
                <a:ea typeface="+mn-ea"/>
                <a:cs typeface="+mn-cs"/>
              </a:rPr>
              <a:t>alique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risus</a:t>
            </a:r>
            <a:r>
              <a:rPr kumimoji="0" lang="en-CA" sz="1600" b="0" i="0" u="none" strike="noStrike" kern="1200" cap="none" spc="0" normalizeH="0" baseline="0" noProof="0">
                <a:ln>
                  <a:noFill/>
                </a:ln>
                <a:solidFill>
                  <a:srgbClr val="333333"/>
                </a:solidFill>
                <a:effectLst/>
                <a:uLnTx/>
                <a:uFillTx/>
                <a:latin typeface="+mn-lt"/>
                <a:ea typeface="+mn-ea"/>
                <a:cs typeface="+mn-cs"/>
              </a:rPr>
              <a:t>. Morbi </a:t>
            </a:r>
            <a:r>
              <a:rPr kumimoji="0" lang="en-CA" sz="1600" b="0" i="0" u="none" strike="noStrike" kern="1200" cap="none" spc="0" normalizeH="0" baseline="0" noProof="0" err="1">
                <a:ln>
                  <a:noFill/>
                </a:ln>
                <a:solidFill>
                  <a:srgbClr val="333333"/>
                </a:solidFill>
                <a:effectLst/>
                <a:uLnTx/>
                <a:uFillTx/>
                <a:latin typeface="+mn-lt"/>
                <a:ea typeface="+mn-ea"/>
                <a:cs typeface="+mn-cs"/>
              </a:rPr>
              <a:t>tristique</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senectus</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netus</a:t>
            </a:r>
            <a:r>
              <a:rPr kumimoji="0" lang="en-CA" sz="1600" b="0" i="0" u="none" strike="noStrike" kern="1200" cap="none" spc="0" normalizeH="0" baseline="0" noProof="0">
                <a:ln>
                  <a:noFill/>
                </a:ln>
                <a:solidFill>
                  <a:srgbClr val="333333"/>
                </a:solidFill>
                <a:effectLst/>
                <a:uLnTx/>
                <a:uFillTx/>
                <a:latin typeface="+mn-lt"/>
                <a:ea typeface="+mn-ea"/>
                <a:cs typeface="+mn-cs"/>
              </a:rPr>
              <a:t> et </a:t>
            </a:r>
            <a:r>
              <a:rPr kumimoji="0" lang="en-CA" sz="1600" b="0" i="0" u="none" strike="noStrike" kern="1200" cap="none" spc="0" normalizeH="0" baseline="0" noProof="0" err="1">
                <a:ln>
                  <a:noFill/>
                </a:ln>
                <a:solidFill>
                  <a:srgbClr val="333333"/>
                </a:solidFill>
                <a:effectLst/>
                <a:uLnTx/>
                <a:uFillTx/>
                <a:latin typeface="+mn-lt"/>
                <a:ea typeface="+mn-ea"/>
                <a:cs typeface="+mn-cs"/>
              </a:rPr>
              <a:t>malesuada</a:t>
            </a:r>
            <a:r>
              <a:rPr kumimoji="0" lang="en-CA" sz="1600" b="0" i="0" u="none" strike="noStrike" kern="1200" cap="none" spc="0" normalizeH="0" baseline="0" noProof="0">
                <a:ln>
                  <a:noFill/>
                </a:ln>
                <a:solidFill>
                  <a:srgbClr val="333333"/>
                </a:solidFill>
                <a:effectLst/>
                <a:uLnTx/>
                <a:uFillTx/>
                <a:latin typeface="+mn-lt"/>
                <a:ea typeface="+mn-ea"/>
                <a:cs typeface="+mn-cs"/>
              </a:rPr>
              <a:t>. </a:t>
            </a:r>
          </a:p>
          <a:p>
            <a:pPr marL="371475" marR="0" lvl="0" indent="-371475" algn="l" defTabSz="914400" rtl="0" eaLnBrk="1" fontAlgn="base" latinLnBrk="0" hangingPunct="1">
              <a:lnSpc>
                <a:spcPct val="110000"/>
              </a:lnSpc>
              <a:spcBef>
                <a:spcPts val="0"/>
              </a:spcBef>
              <a:spcAft>
                <a:spcPts val="1800"/>
              </a:spcAft>
              <a:buClrTx/>
              <a:buSzTx/>
              <a:buFont typeface="+mj-lt"/>
              <a:buAutoNum type="arabicPeriod"/>
              <a:tabLst/>
              <a:defRPr/>
            </a:pPr>
            <a:r>
              <a:rPr kumimoji="0" lang="en-CA" sz="1600" b="0" i="0" u="none" strike="noStrike" kern="1200" cap="none" spc="0" normalizeH="0" baseline="0" noProof="0" err="1">
                <a:ln>
                  <a:noFill/>
                </a:ln>
                <a:solidFill>
                  <a:srgbClr val="333333"/>
                </a:solidFill>
                <a:effectLst/>
                <a:uLnTx/>
                <a:uFillTx/>
                <a:latin typeface="+mn-lt"/>
                <a:ea typeface="+mn-ea"/>
                <a:cs typeface="+mn-cs"/>
              </a:rPr>
              <a:t>Accumsan</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lacus</a:t>
            </a:r>
            <a:r>
              <a:rPr kumimoji="0" lang="en-CA" sz="1600" b="0" i="0" u="none" strike="noStrike" kern="1200" cap="none" spc="0" normalizeH="0" baseline="0" noProof="0">
                <a:ln>
                  <a:noFill/>
                </a:ln>
                <a:solidFill>
                  <a:srgbClr val="333333"/>
                </a:solidFill>
                <a:effectLst/>
                <a:uLnTx/>
                <a:uFillTx/>
                <a:latin typeface="+mn-lt"/>
                <a:ea typeface="+mn-ea"/>
                <a:cs typeface="+mn-cs"/>
              </a:rPr>
              <a:t> vel </a:t>
            </a:r>
            <a:r>
              <a:rPr kumimoji="0" lang="en-CA" sz="1600" b="0" i="0" u="none" strike="noStrike" kern="1200" cap="none" spc="0" normalizeH="0" baseline="0" noProof="0" err="1">
                <a:ln>
                  <a:noFill/>
                </a:ln>
                <a:solidFill>
                  <a:srgbClr val="333333"/>
                </a:solidFill>
                <a:effectLst/>
                <a:uLnTx/>
                <a:uFillTx/>
                <a:latin typeface="+mn-lt"/>
                <a:ea typeface="+mn-ea"/>
                <a:cs typeface="+mn-cs"/>
              </a:rPr>
              <a:t>facilisis</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olutpa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s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velit</a:t>
            </a:r>
            <a:r>
              <a:rPr kumimoji="0" lang="en-CA" sz="1600" b="0" i="0" u="none" strike="noStrike" kern="1200" cap="none" spc="0" normalizeH="0" baseline="0" noProof="0">
                <a:ln>
                  <a:noFill/>
                </a:ln>
                <a:solidFill>
                  <a:srgbClr val="333333"/>
                </a:solidFill>
                <a:effectLst/>
                <a:uLnTx/>
                <a:uFillTx/>
                <a:latin typeface="+mn-lt"/>
                <a:ea typeface="+mn-ea"/>
                <a:cs typeface="+mn-cs"/>
              </a:rPr>
              <a:t>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dui. </a:t>
            </a:r>
            <a:r>
              <a:rPr kumimoji="0" lang="en-CA" sz="1600" b="0" i="0" u="none" strike="noStrike" kern="1200" cap="none" spc="0" normalizeH="0" baseline="0" noProof="0" err="1">
                <a:ln>
                  <a:noFill/>
                </a:ln>
                <a:solidFill>
                  <a:srgbClr val="333333"/>
                </a:solidFill>
                <a:effectLst/>
                <a:uLnTx/>
                <a:uFillTx/>
                <a:latin typeface="+mn-lt"/>
                <a:ea typeface="+mn-ea"/>
                <a:cs typeface="+mn-cs"/>
              </a:rPr>
              <a:t>Elementum</a:t>
            </a:r>
            <a:r>
              <a:rPr kumimoji="0" lang="en-CA" sz="1600" b="0" i="0" u="none" strike="noStrike" kern="1200" cap="none" spc="0" normalizeH="0" baseline="0" noProof="0">
                <a:ln>
                  <a:noFill/>
                </a:ln>
                <a:solidFill>
                  <a:srgbClr val="333333"/>
                </a:solidFill>
                <a:effectLst/>
                <a:uLnTx/>
                <a:uFillTx/>
                <a:latin typeface="+mn-lt"/>
                <a:ea typeface="+mn-ea"/>
                <a:cs typeface="+mn-cs"/>
              </a:rPr>
              <a:t> tempus </a:t>
            </a:r>
            <a:r>
              <a:rPr kumimoji="0" lang="en-CA" sz="1600" b="0" i="0" u="none" strike="noStrike" kern="1200" cap="none" spc="0" normalizeH="0" baseline="0" noProof="0" err="1">
                <a:ln>
                  <a:noFill/>
                </a:ln>
                <a:solidFill>
                  <a:srgbClr val="333333"/>
                </a:solidFill>
                <a:effectLst/>
                <a:uLnTx/>
                <a:uFillTx/>
                <a:latin typeface="+mn-lt"/>
                <a:ea typeface="+mn-ea"/>
                <a:cs typeface="+mn-cs"/>
              </a:rPr>
              <a:t>egestas</a:t>
            </a:r>
            <a:r>
              <a:rPr kumimoji="0" lang="en-CA" sz="1600" b="0" i="0" u="none" strike="noStrike" kern="1200" cap="none" spc="0" normalizeH="0" baseline="0" noProof="0">
                <a:ln>
                  <a:noFill/>
                </a:ln>
                <a:solidFill>
                  <a:srgbClr val="333333"/>
                </a:solidFill>
                <a:effectLst/>
                <a:uLnTx/>
                <a:uFillTx/>
                <a:latin typeface="+mn-lt"/>
                <a:ea typeface="+mn-ea"/>
                <a:cs typeface="+mn-cs"/>
              </a:rPr>
              <a:t> sed sed </a:t>
            </a:r>
            <a:r>
              <a:rPr kumimoji="0" lang="en-CA" sz="1600" b="0" i="0" u="none" strike="noStrike" kern="1200" cap="none" spc="0" normalizeH="0" baseline="0" noProof="0" err="1">
                <a:ln>
                  <a:noFill/>
                </a:ln>
                <a:solidFill>
                  <a:srgbClr val="333333"/>
                </a:solidFill>
                <a:effectLst/>
                <a:uLnTx/>
                <a:uFillTx/>
                <a:latin typeface="+mn-lt"/>
                <a:ea typeface="+mn-ea"/>
                <a:cs typeface="+mn-cs"/>
              </a:rPr>
              <a:t>risus</a:t>
            </a:r>
            <a:r>
              <a:rPr kumimoji="0" lang="en-CA" sz="1600" b="0" i="0" u="none" strike="noStrike" kern="1200" cap="none" spc="0" normalizeH="0" baseline="0" noProof="0">
                <a:ln>
                  <a:noFill/>
                </a:ln>
                <a:solidFill>
                  <a:srgbClr val="333333"/>
                </a:solidFill>
                <a:effectLst/>
                <a:uLnTx/>
                <a:uFillTx/>
                <a:latin typeface="+mn-lt"/>
                <a:ea typeface="+mn-ea"/>
                <a:cs typeface="+mn-cs"/>
              </a:rPr>
              <a:t>.</a:t>
            </a:r>
            <a:endParaRPr kumimoji="0" lang="en-CA" sz="1400" b="0" i="0" u="none" strike="noStrike" kern="1200" cap="none" spc="0" normalizeH="0" baseline="0" noProof="0">
              <a:ln>
                <a:noFill/>
              </a:ln>
              <a:solidFill>
                <a:srgbClr val="333333"/>
              </a:solidFill>
              <a:effectLst/>
              <a:uLnTx/>
              <a:uFillTx/>
              <a:latin typeface="+mn-lt"/>
              <a:ea typeface="+mn-ea"/>
              <a:cs typeface="+mn-cs"/>
            </a:endParaRPr>
          </a:p>
        </p:txBody>
      </p:sp>
      <p:sp>
        <p:nvSpPr>
          <p:cNvPr id="9" name="Text Placeholder 8">
            <a:extLst>
              <a:ext uri="{FF2B5EF4-FFF2-40B4-BE49-F238E27FC236}">
                <a16:creationId xmlns:a16="http://schemas.microsoft.com/office/drawing/2014/main" id="{990A04F8-56E6-3B4E-824D-8E614727089E}"/>
              </a:ext>
            </a:extLst>
          </p:cNvPr>
          <p:cNvSpPr>
            <a:spLocks noGrp="1"/>
          </p:cNvSpPr>
          <p:nvPr>
            <p:ph type="body" sz="quarter" idx="13" hasCustomPrompt="1"/>
          </p:nvPr>
        </p:nvSpPr>
        <p:spPr>
          <a:xfrm>
            <a:off x="7076355" y="1236663"/>
            <a:ext cx="4357687" cy="563562"/>
          </a:xfrm>
        </p:spPr>
        <p:txBody>
          <a:bodyPr>
            <a:noAutofit/>
          </a:bodyPr>
          <a:lstStyle>
            <a:lvl1pPr marL="0" indent="0">
              <a:buNone/>
              <a:defRPr sz="40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Another thing:</a:t>
            </a:r>
            <a:endParaRPr lang="en-CA"/>
          </a:p>
        </p:txBody>
      </p:sp>
      <p:sp>
        <p:nvSpPr>
          <p:cNvPr id="11" name="Content Placeholder 10">
            <a:extLst>
              <a:ext uri="{FF2B5EF4-FFF2-40B4-BE49-F238E27FC236}">
                <a16:creationId xmlns:a16="http://schemas.microsoft.com/office/drawing/2014/main" id="{520F7B7B-6B3A-A644-BBBF-797B3B69F647}"/>
              </a:ext>
            </a:extLst>
          </p:cNvPr>
          <p:cNvSpPr>
            <a:spLocks noGrp="1" noChangeAspect="1"/>
          </p:cNvSpPr>
          <p:nvPr>
            <p:ph sz="quarter" idx="14" hasCustomPrompt="1"/>
          </p:nvPr>
        </p:nvSpPr>
        <p:spPr>
          <a:xfrm>
            <a:off x="5634931" y="991101"/>
            <a:ext cx="925200" cy="925200"/>
          </a:xfrm>
          <a:prstGeom prst="ellipse">
            <a:avLst/>
          </a:prstGeom>
          <a:solidFill>
            <a:schemeClr val="accent1"/>
          </a:solidFill>
        </p:spPr>
        <p:txBody>
          <a:bodyPr tIns="72000" anchor="ctr"/>
          <a:lstStyle>
            <a:lvl1pPr marL="0" indent="0" algn="ctr">
              <a:buNone/>
              <a:defRPr>
                <a:solidFill>
                  <a:schemeClr val="bg1"/>
                </a:solidFill>
                <a:latin typeface="+mj-lt"/>
              </a:defRPr>
            </a:lvl1pPr>
          </a:lstStyle>
          <a:p>
            <a:pPr lvl="0"/>
            <a:r>
              <a:rPr lang="en-US"/>
              <a:t>VS</a:t>
            </a:r>
            <a:endParaRPr lang="en-CA"/>
          </a:p>
        </p:txBody>
      </p:sp>
    </p:spTree>
    <p:extLst>
      <p:ext uri="{BB962C8B-B14F-4D97-AF65-F5344CB8AC3E}">
        <p14:creationId xmlns:p14="http://schemas.microsoft.com/office/powerpoint/2010/main" val="33706729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rge impact text - Centred Neutral">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2095827" y="2809674"/>
            <a:ext cx="8000346" cy="2074222"/>
          </a:xfrm>
        </p:spPr>
        <p:txBody>
          <a:bodyPr anchor="t">
            <a:noAutofit/>
          </a:bodyPr>
          <a:lstStyle>
            <a:lvl1pPr algn="ctr">
              <a:lnSpc>
                <a:spcPct val="100000"/>
              </a:lnSpc>
              <a:defRPr lang="es-ES_tradnl" sz="3000" b="1" kern="1200" dirty="0">
                <a:solidFill>
                  <a:srgbClr val="333333"/>
                </a:solidFill>
                <a:latin typeface="Scotia Headline"/>
                <a:ea typeface="Gilroy ExtraBold Italic"/>
                <a:cs typeface="Gilroy ExtraBold Italic"/>
              </a:defRPr>
            </a:lvl1pPr>
          </a:lstStyle>
          <a:p>
            <a:r>
              <a:rPr lang="en-US"/>
              <a:t>Lage impact text goes here.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p:txBody>
      </p:sp>
      <p:sp>
        <p:nvSpPr>
          <p:cNvPr id="9" name="Text Placeholder 11">
            <a:extLst>
              <a:ext uri="{FF2B5EF4-FFF2-40B4-BE49-F238E27FC236}">
                <a16:creationId xmlns:a16="http://schemas.microsoft.com/office/drawing/2014/main" id="{6EF7400F-D872-5144-AD1D-927764ABB84E}"/>
              </a:ext>
            </a:extLst>
          </p:cNvPr>
          <p:cNvSpPr>
            <a:spLocks noGrp="1"/>
          </p:cNvSpPr>
          <p:nvPr>
            <p:ph type="body" sz="quarter" idx="11" hasCustomPrompt="1"/>
          </p:nvPr>
        </p:nvSpPr>
        <p:spPr>
          <a:xfrm>
            <a:off x="2095826" y="2242129"/>
            <a:ext cx="8000347" cy="321189"/>
          </a:xfrm>
          <a:ln w="12700">
            <a:miter lim="400000"/>
          </a:ln>
        </p:spPr>
        <p:txBody>
          <a:bodyPr wrap="square" lIns="0" tIns="0" rIns="0" bIns="0">
            <a:noAutofit/>
          </a:bodyPr>
          <a:lstStyle>
            <a:lvl1pPr marL="0" indent="0" algn="ctr">
              <a:buNone/>
              <a:defRPr lang="en-US" sz="1800" b="1" cap="all" spc="300" baseline="0" smtClean="0">
                <a:solidFill>
                  <a:schemeClr val="accent2"/>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Subhead</a:t>
            </a:r>
          </a:p>
        </p:txBody>
      </p:sp>
      <p:pic>
        <p:nvPicPr>
          <p:cNvPr id="10" name="Graphic 9">
            <a:extLst>
              <a:ext uri="{FF2B5EF4-FFF2-40B4-BE49-F238E27FC236}">
                <a16:creationId xmlns:a16="http://schemas.microsoft.com/office/drawing/2014/main" id="{ECDAE827-A5E1-234A-88B6-8A65094BF7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019573B0-D955-4B4C-8BB5-C6735698A5C7}"/>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333333"/>
                </a:solidFill>
                <a:latin typeface="Scotia" panose="020B0503020203020204" pitchFamily="34" charset="0"/>
              </a:rPr>
              <a:pPr algn="r"/>
              <a:t>‹#›</a:t>
            </a:fld>
            <a:endParaRPr lang="en-CA" sz="800">
              <a:solidFill>
                <a:srgbClr val="333333"/>
              </a:solidFill>
              <a:latin typeface="Scotia" panose="020B0503020203020204" pitchFamily="34" charset="0"/>
            </a:endParaRPr>
          </a:p>
        </p:txBody>
      </p:sp>
      <p:sp>
        <p:nvSpPr>
          <p:cNvPr id="13" name="Text Placeholder 4">
            <a:extLst>
              <a:ext uri="{FF2B5EF4-FFF2-40B4-BE49-F238E27FC236}">
                <a16:creationId xmlns:a16="http://schemas.microsoft.com/office/drawing/2014/main" id="{9831DDF5-2C59-9540-A7DF-1D1666C371D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333333"/>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22861183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rge impact text - Neutral">
    <p:bg>
      <p:bgPr>
        <a:solidFill>
          <a:srgbClr val="F6F6F6"/>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D67F74-3A1E-6E4C-977D-AAF946BF3588}"/>
              </a:ext>
            </a:extLst>
          </p:cNvPr>
          <p:cNvSpPr/>
          <p:nvPr userDrawn="1"/>
        </p:nvSpPr>
        <p:spPr>
          <a:xfrm>
            <a:off x="594757" y="716280"/>
            <a:ext cx="10980589" cy="5577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1900833" y="2289070"/>
            <a:ext cx="8370623" cy="1171473"/>
          </a:xfrm>
        </p:spPr>
        <p:txBody>
          <a:bodyPr anchor="t">
            <a:noAutofit/>
          </a:bodyPr>
          <a:lstStyle>
            <a:lvl1pPr algn="ctr">
              <a:defRPr lang="es-ES_tradnl" sz="4400" b="1" kern="1200" dirty="0">
                <a:solidFill>
                  <a:schemeClr val="accent1"/>
                </a:solidFill>
                <a:latin typeface="Scotia Headline"/>
                <a:ea typeface="Gilroy ExtraBold Italic"/>
                <a:cs typeface="Gilroy ExtraBold Italic"/>
              </a:defRPr>
            </a:lvl1pPr>
          </a:lstStyle>
          <a:p>
            <a:r>
              <a:rPr lang="en-US"/>
              <a:t>Impactful title and text that deserves its own slide</a:t>
            </a:r>
          </a:p>
        </p:txBody>
      </p:sp>
      <p:sp>
        <p:nvSpPr>
          <p:cNvPr id="3" name="Text Placeholder 2">
            <a:extLst>
              <a:ext uri="{FF2B5EF4-FFF2-40B4-BE49-F238E27FC236}">
                <a16:creationId xmlns:a16="http://schemas.microsoft.com/office/drawing/2014/main" id="{46600663-9684-2E4C-B2ED-A00D40588E60}"/>
              </a:ext>
            </a:extLst>
          </p:cNvPr>
          <p:cNvSpPr>
            <a:spLocks noGrp="1"/>
          </p:cNvSpPr>
          <p:nvPr>
            <p:ph type="body" sz="quarter" idx="11" hasCustomPrompt="1"/>
          </p:nvPr>
        </p:nvSpPr>
        <p:spPr>
          <a:xfrm>
            <a:off x="1937460" y="3926111"/>
            <a:ext cx="8317080" cy="1171474"/>
          </a:xfrm>
        </p:spPr>
        <p:txBody>
          <a:bodyPr>
            <a:noAutofit/>
          </a:bodyPr>
          <a:lstStyle>
            <a:lvl1pPr marL="0" indent="0" algn="ctr" fontAlgn="base">
              <a:lnSpc>
                <a:spcPct val="110000"/>
              </a:lnSpc>
              <a:spcBef>
                <a:spcPts val="0"/>
              </a:spcBef>
              <a:spcAft>
                <a:spcPts val="1800"/>
              </a:spcAft>
              <a:buNone/>
              <a:defRPr sz="1800" b="0"/>
            </a:lvl1pPr>
            <a:lvl2pPr marL="457200" indent="0">
              <a:buNone/>
              <a:defRPr b="0"/>
            </a:lvl2pPr>
            <a:lvl3pPr marL="914400" indent="0">
              <a:buNone/>
              <a:defRPr b="0"/>
            </a:lvl3pPr>
            <a:lvl4pPr marL="1371600" indent="0">
              <a:buNone/>
              <a:defRPr b="0"/>
            </a:lvl4pPr>
            <a:lvl5pPr marL="1828800" indent="0">
              <a:buNone/>
              <a:defRPr b="0"/>
            </a:lvl5pPr>
          </a:lstStyle>
          <a:p>
            <a:pPr algn="ctr" fontAlgn="base">
              <a:lnSpc>
                <a:spcPct val="110000"/>
              </a:lnSpc>
              <a:spcAft>
                <a:spcPts val="1800"/>
              </a:spcAft>
            </a:pPr>
            <a:r>
              <a:rPr lang="en-CA"/>
              <a:t>Lorem ipsum dolor sit </a:t>
            </a:r>
            <a:r>
              <a:rPr lang="en-CA" err="1"/>
              <a:t>amet</a:t>
            </a:r>
            <a:r>
              <a:rPr lang="en-CA"/>
              <a:t>, </a:t>
            </a:r>
            <a:r>
              <a:rPr lang="en-CA" err="1"/>
              <a:t>consectetur</a:t>
            </a:r>
            <a:r>
              <a:rPr lang="en-CA"/>
              <a:t> adipiscing </a:t>
            </a:r>
            <a:r>
              <a:rPr lang="en-CA" err="1"/>
              <a:t>elit</a:t>
            </a:r>
            <a:r>
              <a:rPr lang="en-CA"/>
              <a:t>, sed do </a:t>
            </a:r>
            <a:r>
              <a:rPr lang="en-CA" err="1"/>
              <a:t>eiusmod</a:t>
            </a:r>
            <a:r>
              <a:rPr lang="en-CA"/>
              <a:t> </a:t>
            </a:r>
            <a:r>
              <a:rPr lang="en-CA" err="1"/>
              <a:t>tempor</a:t>
            </a:r>
            <a:r>
              <a:rPr lang="en-CA"/>
              <a:t> </a:t>
            </a:r>
            <a:r>
              <a:rPr lang="en-CA" err="1"/>
              <a:t>incididunt</a:t>
            </a:r>
            <a:r>
              <a:rPr lang="en-CA"/>
              <a:t> </a:t>
            </a:r>
            <a:r>
              <a:rPr lang="en-CA" err="1"/>
              <a:t>ut</a:t>
            </a:r>
            <a:r>
              <a:rPr lang="en-CA"/>
              <a:t> </a:t>
            </a:r>
            <a:r>
              <a:rPr lang="en-CA" err="1"/>
              <a:t>labore</a:t>
            </a:r>
            <a:r>
              <a:rPr lang="en-CA"/>
              <a:t> et dolore magna </a:t>
            </a:r>
            <a:r>
              <a:rPr lang="en-CA" err="1"/>
              <a:t>aliqua</a:t>
            </a:r>
            <a:r>
              <a:rPr lang="en-CA"/>
              <a:t>. Ut </a:t>
            </a:r>
            <a:r>
              <a:rPr lang="en-CA" err="1"/>
              <a:t>enim</a:t>
            </a:r>
            <a:r>
              <a:rPr lang="en-CA"/>
              <a:t> ad minim </a:t>
            </a:r>
            <a:r>
              <a:rPr lang="en-CA" err="1"/>
              <a:t>veniam</a:t>
            </a:r>
            <a:r>
              <a:rPr lang="en-CA"/>
              <a:t>, </a:t>
            </a:r>
            <a:r>
              <a:rPr lang="en-CA" err="1"/>
              <a:t>quis</a:t>
            </a:r>
            <a:r>
              <a:rPr lang="en-CA"/>
              <a:t> </a:t>
            </a:r>
            <a:r>
              <a:rPr lang="en-CA" err="1"/>
              <a:t>nostrud</a:t>
            </a:r>
            <a:r>
              <a:rPr lang="en-CA"/>
              <a:t> exercitation </a:t>
            </a:r>
            <a:r>
              <a:rPr lang="en-CA" err="1"/>
              <a:t>ullamco</a:t>
            </a:r>
            <a:r>
              <a:rPr lang="en-CA"/>
              <a:t> </a:t>
            </a:r>
            <a:r>
              <a:rPr lang="en-CA" err="1"/>
              <a:t>laboris</a:t>
            </a:r>
            <a:r>
              <a:rPr lang="en-CA"/>
              <a:t> nisi </a:t>
            </a:r>
            <a:r>
              <a:rPr lang="en-CA" err="1"/>
              <a:t>ut</a:t>
            </a:r>
            <a:r>
              <a:rPr lang="en-CA"/>
              <a:t> </a:t>
            </a:r>
            <a:r>
              <a:rPr lang="en-CA" err="1"/>
              <a:t>aliquip</a:t>
            </a:r>
            <a:r>
              <a:rPr lang="en-CA"/>
              <a:t> ex </a:t>
            </a:r>
            <a:r>
              <a:rPr lang="en-CA" err="1"/>
              <a:t>ea</a:t>
            </a:r>
            <a:r>
              <a:rPr lang="en-CA"/>
              <a:t> </a:t>
            </a:r>
            <a:r>
              <a:rPr lang="en-CA" err="1"/>
              <a:t>commodo</a:t>
            </a:r>
            <a:r>
              <a:rPr lang="en-CA"/>
              <a:t> </a:t>
            </a:r>
            <a:r>
              <a:rPr lang="en-CA" err="1"/>
              <a:t>consequat</a:t>
            </a:r>
            <a:r>
              <a:rPr lang="en-CA"/>
              <a:t>. Duis </a:t>
            </a:r>
            <a:r>
              <a:rPr lang="en-CA" err="1"/>
              <a:t>aute</a:t>
            </a:r>
            <a:r>
              <a:rPr lang="en-CA"/>
              <a:t> </a:t>
            </a:r>
            <a:r>
              <a:rPr lang="en-CA" err="1"/>
              <a:t>irure</a:t>
            </a:r>
            <a:r>
              <a:rPr lang="en-CA"/>
              <a:t> dolor in </a:t>
            </a:r>
            <a:r>
              <a:rPr lang="en-CA" err="1"/>
              <a:t>reprehenderit</a:t>
            </a:r>
            <a:r>
              <a:rPr lang="en-CA"/>
              <a:t> in </a:t>
            </a:r>
            <a:r>
              <a:rPr lang="en-CA" err="1"/>
              <a:t>voluptate</a:t>
            </a:r>
            <a:r>
              <a:rPr lang="en-CA"/>
              <a:t> </a:t>
            </a:r>
            <a:r>
              <a:rPr lang="en-CA" err="1"/>
              <a:t>velit</a:t>
            </a:r>
            <a:r>
              <a:rPr lang="en-CA"/>
              <a:t> </a:t>
            </a:r>
            <a:r>
              <a:rPr lang="en-CA" err="1"/>
              <a:t>esse</a:t>
            </a:r>
            <a:r>
              <a:rPr lang="en-CA"/>
              <a:t> </a:t>
            </a:r>
            <a:r>
              <a:rPr lang="en-CA" err="1"/>
              <a:t>cillum</a:t>
            </a:r>
            <a:r>
              <a:rPr lang="en-CA"/>
              <a:t> </a:t>
            </a:r>
            <a:r>
              <a:rPr lang="en-CA" err="1"/>
              <a:t>dolorre</a:t>
            </a:r>
            <a:r>
              <a:rPr lang="en-CA"/>
              <a:t>.</a:t>
            </a:r>
          </a:p>
        </p:txBody>
      </p:sp>
      <p:sp>
        <p:nvSpPr>
          <p:cNvPr id="10" name="TextBox 9">
            <a:extLst>
              <a:ext uri="{FF2B5EF4-FFF2-40B4-BE49-F238E27FC236}">
                <a16:creationId xmlns:a16="http://schemas.microsoft.com/office/drawing/2014/main" id="{A7C18734-B11F-344D-BA62-183D3A0AC429}"/>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1" name="Graphic 10">
            <a:extLst>
              <a:ext uri="{FF2B5EF4-FFF2-40B4-BE49-F238E27FC236}">
                <a16:creationId xmlns:a16="http://schemas.microsoft.com/office/drawing/2014/main" id="{5A446BF3-4FB6-6F49-BA55-762B22429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1078277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hite slide">
    <p:spTree>
      <p:nvGrpSpPr>
        <p:cNvPr id="1" name=""/>
        <p:cNvGrpSpPr/>
        <p:nvPr/>
      </p:nvGrpSpPr>
      <p:grpSpPr>
        <a:xfrm>
          <a:off x="0" y="0"/>
          <a:ext cx="0" cy="0"/>
          <a:chOff x="0" y="0"/>
          <a:chExt cx="0" cy="0"/>
        </a:xfrm>
      </p:grpSpPr>
      <p:sp>
        <p:nvSpPr>
          <p:cNvPr id="3" name="TextBox 7">
            <a:extLst>
              <a:ext uri="{FF2B5EF4-FFF2-40B4-BE49-F238E27FC236}">
                <a16:creationId xmlns:a16="http://schemas.microsoft.com/office/drawing/2014/main" id="{FE38206B-8885-2049-A986-ED6126E1C817}"/>
              </a:ext>
            </a:extLst>
          </p:cNvPr>
          <p:cNvSpPr txBox="1">
            <a:spLocks/>
          </p:cNvSpPr>
          <p:nvPr userDrawn="1"/>
        </p:nvSpPr>
        <p:spPr>
          <a:xfrm>
            <a:off x="11375838" y="376731"/>
            <a:ext cx="416436" cy="123111"/>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b="0" i="0" smtClean="0">
                <a:solidFill>
                  <a:schemeClr val="tx1"/>
                </a:solidFill>
                <a:latin typeface="Scotia Regular" panose="020B0503020203020204" pitchFamily="34" charset="0"/>
              </a:rPr>
              <a:pPr algn="r"/>
              <a:t>‹#›</a:t>
            </a:fld>
            <a:endParaRPr lang="en-CA" sz="800" b="0" i="0">
              <a:solidFill>
                <a:schemeClr val="tx1"/>
              </a:solidFill>
              <a:latin typeface="Scotia Regular" panose="020B0503020203020204" pitchFamily="34" charset="0"/>
            </a:endParaRPr>
          </a:p>
        </p:txBody>
      </p:sp>
      <p:pic>
        <p:nvPicPr>
          <p:cNvPr id="4" name="Picture 3">
            <a:extLst>
              <a:ext uri="{FF2B5EF4-FFF2-40B4-BE49-F238E27FC236}">
                <a16:creationId xmlns:a16="http://schemas.microsoft.com/office/drawing/2014/main" id="{00CB8662-D723-2A4D-B74B-4F28D6A968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613" y="390639"/>
            <a:ext cx="566335" cy="80905"/>
          </a:xfrm>
          <a:prstGeom prst="rect">
            <a:avLst/>
          </a:prstGeom>
        </p:spPr>
      </p:pic>
    </p:spTree>
    <p:extLst>
      <p:ext uri="{BB962C8B-B14F-4D97-AF65-F5344CB8AC3E}">
        <p14:creationId xmlns:p14="http://schemas.microsoft.com/office/powerpoint/2010/main" val="15984335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Phone Screen - white">
    <p:bg>
      <p:bgPr>
        <a:solidFill>
          <a:srgbClr val="138468"/>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844FDC9-1D30-DD4B-9A24-1686F43AF929}"/>
              </a:ext>
            </a:extLst>
          </p:cNvPr>
          <p:cNvSpPr/>
          <p:nvPr userDrawn="1"/>
        </p:nvSpPr>
        <p:spPr>
          <a:xfrm flipH="1">
            <a:off x="7505205" y="0"/>
            <a:ext cx="46867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10">
            <a:extLst>
              <a:ext uri="{FF2B5EF4-FFF2-40B4-BE49-F238E27FC236}">
                <a16:creationId xmlns:a16="http://schemas.microsoft.com/office/drawing/2014/main" id="{25A992F2-12A0-AD45-8D80-5994BCB586D2}"/>
              </a:ext>
            </a:extLst>
          </p:cNvPr>
          <p:cNvSpPr>
            <a:spLocks noGrp="1"/>
          </p:cNvSpPr>
          <p:nvPr>
            <p:ph type="body" sz="quarter" idx="14" hasCustomPrompt="1"/>
          </p:nvPr>
        </p:nvSpPr>
        <p:spPr>
          <a:xfrm>
            <a:off x="471451" y="2564703"/>
            <a:ext cx="6342707" cy="3397686"/>
          </a:xfrm>
        </p:spPr>
        <p:txBody>
          <a:bodyPr wrap="square">
            <a:noAutofit/>
          </a:bodyPr>
          <a:lstStyle>
            <a:lvl1pPr marL="285750" indent="-285750">
              <a:lnSpc>
                <a:spcPct val="110000"/>
              </a:lnSpc>
              <a:spcBef>
                <a:spcPts val="0"/>
              </a:spcBef>
              <a:spcAft>
                <a:spcPts val="1400"/>
              </a:spcAft>
              <a:buFont typeface="Arial" panose="020B0604020202020204" pitchFamily="34" charset="0"/>
              <a:buChar char="•"/>
              <a:defRPr sz="1400" b="0" i="0">
                <a:solidFill>
                  <a:srgbClr val="FFFFFF"/>
                </a:solidFill>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a:t>
            </a:r>
          </a:p>
          <a:p>
            <a:pPr lvl="0"/>
            <a:r>
              <a:rPr lang="en-US"/>
              <a:t>Dolor sed viverra ipsum nunc aliquet bibendum enim facilisis. Feugiat in ante metus dictum. Venenatis urna cursus eget nunc. </a:t>
            </a:r>
          </a:p>
          <a:p>
            <a:pPr lvl="0"/>
            <a:r>
              <a:rPr lang="en-US"/>
              <a:t>Vitae purus </a:t>
            </a:r>
            <a:r>
              <a:rPr lang="en-US" err="1"/>
              <a:t>faucibus</a:t>
            </a:r>
            <a:r>
              <a:rPr lang="en-US"/>
              <a:t> </a:t>
            </a:r>
            <a:r>
              <a:rPr lang="en-US" err="1"/>
              <a:t>ornare</a:t>
            </a:r>
            <a:r>
              <a:rPr lang="en-US"/>
              <a:t> suspendisse sed nisi </a:t>
            </a:r>
            <a:r>
              <a:rPr lang="en-US" err="1"/>
              <a:t>lacus</a:t>
            </a:r>
            <a:r>
              <a:rPr lang="en-US"/>
              <a:t> sed. Diam </a:t>
            </a:r>
            <a:r>
              <a:rPr lang="en-US" err="1"/>
              <a:t>vulputate</a:t>
            </a:r>
            <a:r>
              <a:rPr lang="en-US"/>
              <a:t> ut pharetra sit. Sit amet </a:t>
            </a:r>
            <a:r>
              <a:rPr lang="en-US" err="1"/>
              <a:t>mattis</a:t>
            </a:r>
            <a:r>
              <a:rPr lang="en-US"/>
              <a:t> </a:t>
            </a:r>
            <a:r>
              <a:rPr lang="en-US" err="1"/>
              <a:t>vulputate</a:t>
            </a:r>
            <a:r>
              <a:rPr lang="en-US"/>
              <a:t> enim nulla aliquet </a:t>
            </a:r>
            <a:r>
              <a:rPr lang="en-US" err="1"/>
              <a:t>porttitor</a:t>
            </a:r>
            <a:r>
              <a:rPr lang="en-US"/>
              <a:t>.</a:t>
            </a:r>
          </a:p>
          <a:p>
            <a:pPr lvl="0"/>
            <a:r>
              <a:rPr lang="en-US"/>
              <a:t>Tortor </a:t>
            </a:r>
            <a:r>
              <a:rPr lang="en-US" err="1"/>
              <a:t>posuere</a:t>
            </a:r>
            <a:r>
              <a:rPr lang="en-US"/>
              <a:t> ac ut </a:t>
            </a:r>
            <a:r>
              <a:rPr lang="en-US" err="1"/>
              <a:t>consequat</a:t>
            </a:r>
            <a:r>
              <a:rPr lang="en-US"/>
              <a:t> semper. Vestibulum sed arcu non odio </a:t>
            </a:r>
            <a:r>
              <a:rPr lang="en-US" err="1"/>
              <a:t>euismod</a:t>
            </a:r>
            <a:r>
              <a:rPr lang="en-US"/>
              <a:t> lacinia. </a:t>
            </a:r>
          </a:p>
          <a:p>
            <a:pPr lvl="0"/>
            <a:r>
              <a:rPr lang="en-US" err="1"/>
              <a:t>Condimentum</a:t>
            </a:r>
            <a:r>
              <a:rPr lang="en-US"/>
              <a:t> vitae </a:t>
            </a:r>
            <a:r>
              <a:rPr lang="en-US" err="1"/>
              <a:t>sapien</a:t>
            </a:r>
            <a:r>
              <a:rPr lang="en-US"/>
              <a:t> pellentesque habitant morbi </a:t>
            </a:r>
            <a:r>
              <a:rPr lang="en-US" err="1"/>
              <a:t>tristique</a:t>
            </a:r>
            <a:r>
              <a:rPr lang="en-US"/>
              <a:t>. Sit amet </a:t>
            </a:r>
            <a:r>
              <a:rPr lang="en-US" err="1"/>
              <a:t>mauris</a:t>
            </a:r>
            <a:r>
              <a:rPr lang="en-US"/>
              <a:t> commodo quis. Elementum eu facilisis sed odio morbi quis commodo odio </a:t>
            </a:r>
            <a:r>
              <a:rPr lang="en-US" err="1"/>
              <a:t>aenean</a:t>
            </a:r>
            <a:r>
              <a:rPr lang="en-US"/>
              <a:t>. </a:t>
            </a:r>
          </a:p>
        </p:txBody>
      </p:sp>
      <p:pic>
        <p:nvPicPr>
          <p:cNvPr id="10" name="Graphic 9">
            <a:extLst>
              <a:ext uri="{FF2B5EF4-FFF2-40B4-BE49-F238E27FC236}">
                <a16:creationId xmlns:a16="http://schemas.microsoft.com/office/drawing/2014/main" id="{3605220B-EF3A-C341-85BE-C20E10FEF2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9" name="TextBox 8">
            <a:extLst>
              <a:ext uri="{FF2B5EF4-FFF2-40B4-BE49-F238E27FC236}">
                <a16:creationId xmlns:a16="http://schemas.microsoft.com/office/drawing/2014/main" id="{FAEE1FDF-908F-F046-9247-4419999157F6}"/>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333333"/>
                </a:solidFill>
                <a:latin typeface="Scotia" panose="020B0503020203020204" pitchFamily="34" charset="0"/>
              </a:rPr>
              <a:pPr algn="r"/>
              <a:t>‹#›</a:t>
            </a:fld>
            <a:endParaRPr lang="en-CA" sz="800">
              <a:solidFill>
                <a:srgbClr val="333333"/>
              </a:solidFill>
              <a:latin typeface="Scotia" panose="020B0503020203020204" pitchFamily="34" charset="0"/>
            </a:endParaRPr>
          </a:p>
        </p:txBody>
      </p:sp>
      <p:sp>
        <p:nvSpPr>
          <p:cNvPr id="11" name="Text Placeholder 4">
            <a:extLst>
              <a:ext uri="{FF2B5EF4-FFF2-40B4-BE49-F238E27FC236}">
                <a16:creationId xmlns:a16="http://schemas.microsoft.com/office/drawing/2014/main" id="{9001D69B-6A70-864A-AF2E-4DD199151F75}"/>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333333"/>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2" name="Title 1">
            <a:extLst>
              <a:ext uri="{FF2B5EF4-FFF2-40B4-BE49-F238E27FC236}">
                <a16:creationId xmlns:a16="http://schemas.microsoft.com/office/drawing/2014/main" id="{585D8A3C-5A7D-9A48-B413-AFFD8981536A}"/>
              </a:ext>
            </a:extLst>
          </p:cNvPr>
          <p:cNvSpPr>
            <a:spLocks noGrp="1"/>
          </p:cNvSpPr>
          <p:nvPr>
            <p:ph type="title" hasCustomPrompt="1"/>
          </p:nvPr>
        </p:nvSpPr>
        <p:spPr>
          <a:xfrm>
            <a:off x="467422" y="816110"/>
            <a:ext cx="6085777" cy="530090"/>
          </a:xfrm>
        </p:spPr>
        <p:txBody>
          <a:bodyPr anchor="t">
            <a:noAutofit/>
          </a:bodyPr>
          <a:lstStyle>
            <a:lvl1pPr>
              <a:defRPr>
                <a:solidFill>
                  <a:srgbClr val="FFFFFF"/>
                </a:solidFill>
              </a:defRPr>
            </a:lvl1pPr>
          </a:lstStyle>
          <a:p>
            <a:r>
              <a:rPr lang="en-US"/>
              <a:t>Slide title</a:t>
            </a:r>
          </a:p>
        </p:txBody>
      </p:sp>
      <p:sp>
        <p:nvSpPr>
          <p:cNvPr id="13" name="Text Placeholder 2">
            <a:extLst>
              <a:ext uri="{FF2B5EF4-FFF2-40B4-BE49-F238E27FC236}">
                <a16:creationId xmlns:a16="http://schemas.microsoft.com/office/drawing/2014/main" id="{134ED864-2F6B-9841-93B4-72E9B4AF382D}"/>
              </a:ext>
            </a:extLst>
          </p:cNvPr>
          <p:cNvSpPr>
            <a:spLocks noGrp="1"/>
          </p:cNvSpPr>
          <p:nvPr>
            <p:ph type="body" sz="quarter" idx="23" hasCustomPrompt="1"/>
          </p:nvPr>
        </p:nvSpPr>
        <p:spPr>
          <a:xfrm>
            <a:off x="471051" y="1389073"/>
            <a:ext cx="6082148" cy="384336"/>
          </a:xfrm>
        </p:spPr>
        <p:txBody>
          <a:bodyPr>
            <a:noAutofit/>
          </a:bodyPr>
          <a:lstStyle>
            <a:lvl1pPr marL="0" indent="0">
              <a:lnSpc>
                <a:spcPct val="110000"/>
              </a:lnSpc>
              <a:spcBef>
                <a:spcPts val="0"/>
              </a:spcBef>
              <a:spcAft>
                <a:spcPts val="1600"/>
              </a:spcAft>
              <a:buFont typeface="Arial" panose="020B0604020202020204" pitchFamily="34" charset="0"/>
              <a:buNone/>
              <a:defRPr sz="2400">
                <a:solidFill>
                  <a:srgbClr val="FFFFFF"/>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Important subheading goes here:</a:t>
            </a:r>
          </a:p>
        </p:txBody>
      </p:sp>
      <p:pic>
        <p:nvPicPr>
          <p:cNvPr id="16" name="Picture 15" descr="A picture containing text, mirror, car mirror, screenshot&#10;&#10;Description automatically generated">
            <a:extLst>
              <a:ext uri="{FF2B5EF4-FFF2-40B4-BE49-F238E27FC236}">
                <a16:creationId xmlns:a16="http://schemas.microsoft.com/office/drawing/2014/main" id="{28AC1B34-FC79-C441-8A4F-AF135AD439FB}"/>
              </a:ext>
            </a:extLst>
          </p:cNvPr>
          <p:cNvPicPr>
            <a:picLocks noChangeAspect="1"/>
          </p:cNvPicPr>
          <p:nvPr userDrawn="1"/>
        </p:nvPicPr>
        <p:blipFill>
          <a:blip r:embed="rId4"/>
          <a:stretch>
            <a:fillRect/>
          </a:stretch>
        </p:blipFill>
        <p:spPr>
          <a:xfrm>
            <a:off x="8544103" y="657289"/>
            <a:ext cx="2746579" cy="5543422"/>
          </a:xfrm>
          <a:prstGeom prst="rect">
            <a:avLst/>
          </a:prstGeom>
        </p:spPr>
      </p:pic>
      <p:sp>
        <p:nvSpPr>
          <p:cNvPr id="17" name="Picture Placeholder 21">
            <a:extLst>
              <a:ext uri="{FF2B5EF4-FFF2-40B4-BE49-F238E27FC236}">
                <a16:creationId xmlns:a16="http://schemas.microsoft.com/office/drawing/2014/main" id="{E06D4BFD-355E-F348-BB52-20854024FB65}"/>
              </a:ext>
            </a:extLst>
          </p:cNvPr>
          <p:cNvSpPr>
            <a:spLocks noGrp="1"/>
          </p:cNvSpPr>
          <p:nvPr>
            <p:ph type="pic" sz="quarter" idx="24" hasCustomPrompt="1"/>
          </p:nvPr>
        </p:nvSpPr>
        <p:spPr>
          <a:xfrm>
            <a:off x="8702956" y="793750"/>
            <a:ext cx="2428875" cy="5270500"/>
          </a:xfrm>
          <a:custGeom>
            <a:avLst/>
            <a:gdLst>
              <a:gd name="connsiteX0" fmla="*/ 287927 w 2428875"/>
              <a:gd name="connsiteY0" fmla="*/ 0 h 5270500"/>
              <a:gd name="connsiteX1" fmla="*/ 517912 w 2428875"/>
              <a:gd name="connsiteY1" fmla="*/ 0 h 5270500"/>
              <a:gd name="connsiteX2" fmla="*/ 541984 w 2428875"/>
              <a:gd name="connsiteY2" fmla="*/ 9967 h 5270500"/>
              <a:gd name="connsiteX3" fmla="*/ 552493 w 2428875"/>
              <a:gd name="connsiteY3" fmla="*/ 35324 h 5270500"/>
              <a:gd name="connsiteX4" fmla="*/ 552493 w 2428875"/>
              <a:gd name="connsiteY4" fmla="*/ 67599 h 5270500"/>
              <a:gd name="connsiteX5" fmla="*/ 681651 w 2428875"/>
              <a:gd name="connsiteY5" fmla="*/ 196699 h 5270500"/>
              <a:gd name="connsiteX6" fmla="*/ 1732856 w 2428875"/>
              <a:gd name="connsiteY6" fmla="*/ 196699 h 5270500"/>
              <a:gd name="connsiteX7" fmla="*/ 1862014 w 2428875"/>
              <a:gd name="connsiteY7" fmla="*/ 67599 h 5270500"/>
              <a:gd name="connsiteX8" fmla="*/ 1862014 w 2428875"/>
              <a:gd name="connsiteY8" fmla="*/ 35324 h 5270500"/>
              <a:gd name="connsiteX9" fmla="*/ 1872522 w 2428875"/>
              <a:gd name="connsiteY9" fmla="*/ 9967 h 5270500"/>
              <a:gd name="connsiteX10" fmla="*/ 1896594 w 2428875"/>
              <a:gd name="connsiteY10" fmla="*/ 0 h 5270500"/>
              <a:gd name="connsiteX11" fmla="*/ 2130169 w 2428875"/>
              <a:gd name="connsiteY11" fmla="*/ 0 h 5270500"/>
              <a:gd name="connsiteX12" fmla="*/ 2244814 w 2428875"/>
              <a:gd name="connsiteY12" fmla="*/ 23135 h 5270500"/>
              <a:gd name="connsiteX13" fmla="*/ 2422753 w 2428875"/>
              <a:gd name="connsiteY13" fmla="*/ 239987 h 5270500"/>
              <a:gd name="connsiteX14" fmla="*/ 2428875 w 2428875"/>
              <a:gd name="connsiteY14" fmla="*/ 300686 h 5270500"/>
              <a:gd name="connsiteX15" fmla="*/ 2428875 w 2428875"/>
              <a:gd name="connsiteY15" fmla="*/ 4969814 h 5270500"/>
              <a:gd name="connsiteX16" fmla="*/ 2422753 w 2428875"/>
              <a:gd name="connsiteY16" fmla="*/ 5030512 h 5270500"/>
              <a:gd name="connsiteX17" fmla="*/ 2244814 w 2428875"/>
              <a:gd name="connsiteY17" fmla="*/ 5247364 h 5270500"/>
              <a:gd name="connsiteX18" fmla="*/ 2130168 w 2428875"/>
              <a:gd name="connsiteY18" fmla="*/ 5270500 h 5270500"/>
              <a:gd name="connsiteX19" fmla="*/ 287927 w 2428875"/>
              <a:gd name="connsiteY19" fmla="*/ 5270500 h 5270500"/>
              <a:gd name="connsiteX20" fmla="*/ 173281 w 2428875"/>
              <a:gd name="connsiteY20" fmla="*/ 5247364 h 5270500"/>
              <a:gd name="connsiteX21" fmla="*/ 12901 w 2428875"/>
              <a:gd name="connsiteY21" fmla="*/ 5087055 h 5270500"/>
              <a:gd name="connsiteX22" fmla="*/ 0 w 2428875"/>
              <a:gd name="connsiteY22" fmla="*/ 5045514 h 5270500"/>
              <a:gd name="connsiteX23" fmla="*/ 0 w 2428875"/>
              <a:gd name="connsiteY23" fmla="*/ 224984 h 5270500"/>
              <a:gd name="connsiteX24" fmla="*/ 12901 w 2428875"/>
              <a:gd name="connsiteY24" fmla="*/ 183442 h 5270500"/>
              <a:gd name="connsiteX25" fmla="*/ 173281 w 2428875"/>
              <a:gd name="connsiteY25" fmla="*/ 23135 h 527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8875" h="5270500">
                <a:moveTo>
                  <a:pt x="287927" y="0"/>
                </a:moveTo>
                <a:lnTo>
                  <a:pt x="517912" y="0"/>
                </a:lnTo>
                <a:lnTo>
                  <a:pt x="541984" y="9967"/>
                </a:lnTo>
                <a:cubicBezTo>
                  <a:pt x="548477" y="16456"/>
                  <a:pt x="552493" y="25421"/>
                  <a:pt x="552493" y="35324"/>
                </a:cubicBezTo>
                <a:lnTo>
                  <a:pt x="552493" y="67599"/>
                </a:lnTo>
                <a:cubicBezTo>
                  <a:pt x="552493" y="138898"/>
                  <a:pt x="610319" y="196699"/>
                  <a:pt x="681651" y="196699"/>
                </a:cubicBezTo>
                <a:lnTo>
                  <a:pt x="1732856" y="196699"/>
                </a:lnTo>
                <a:cubicBezTo>
                  <a:pt x="1804188" y="196699"/>
                  <a:pt x="1862014" y="138898"/>
                  <a:pt x="1862014" y="67599"/>
                </a:cubicBezTo>
                <a:lnTo>
                  <a:pt x="1862014" y="35324"/>
                </a:lnTo>
                <a:cubicBezTo>
                  <a:pt x="1862014" y="25421"/>
                  <a:pt x="1866030" y="16456"/>
                  <a:pt x="1872522" y="9967"/>
                </a:cubicBezTo>
                <a:lnTo>
                  <a:pt x="1896594" y="0"/>
                </a:lnTo>
                <a:lnTo>
                  <a:pt x="2130169" y="0"/>
                </a:lnTo>
                <a:lnTo>
                  <a:pt x="2244814" y="23135"/>
                </a:lnTo>
                <a:cubicBezTo>
                  <a:pt x="2334952" y="61243"/>
                  <a:pt x="2402681" y="141939"/>
                  <a:pt x="2422753" y="239987"/>
                </a:cubicBezTo>
                <a:lnTo>
                  <a:pt x="2428875" y="300686"/>
                </a:lnTo>
                <a:lnTo>
                  <a:pt x="2428875" y="4969814"/>
                </a:lnTo>
                <a:lnTo>
                  <a:pt x="2422753" y="5030512"/>
                </a:lnTo>
                <a:cubicBezTo>
                  <a:pt x="2402681" y="5128557"/>
                  <a:pt x="2334952" y="5209255"/>
                  <a:pt x="2244814" y="5247364"/>
                </a:cubicBezTo>
                <a:lnTo>
                  <a:pt x="2130168" y="5270500"/>
                </a:lnTo>
                <a:lnTo>
                  <a:pt x="287927" y="5270500"/>
                </a:lnTo>
                <a:lnTo>
                  <a:pt x="173281" y="5247364"/>
                </a:lnTo>
                <a:cubicBezTo>
                  <a:pt x="101170" y="5216876"/>
                  <a:pt x="43401" y="5159132"/>
                  <a:pt x="12901" y="5087055"/>
                </a:cubicBezTo>
                <a:lnTo>
                  <a:pt x="0" y="5045514"/>
                </a:lnTo>
                <a:lnTo>
                  <a:pt x="0" y="224984"/>
                </a:lnTo>
                <a:lnTo>
                  <a:pt x="12901" y="183442"/>
                </a:lnTo>
                <a:cubicBezTo>
                  <a:pt x="43401" y="111364"/>
                  <a:pt x="101170" y="53622"/>
                  <a:pt x="173281" y="23135"/>
                </a:cubicBezTo>
                <a:close/>
              </a:path>
            </a:pathLst>
          </a:custGeom>
          <a:ln w="12700">
            <a:solidFill>
              <a:srgbClr val="4D4D4D"/>
            </a:solidFill>
          </a:ln>
        </p:spPr>
        <p:txBody>
          <a:bodyPr wrap="square" lIns="180000" rIns="180000" anchor="ctr">
            <a:noAutofit/>
          </a:bodyPr>
          <a:lstStyle>
            <a:lvl1pPr marL="0" indent="0" algn="ctr">
              <a:lnSpc>
                <a:spcPct val="100000"/>
              </a:lnSpc>
              <a:spcBef>
                <a:spcPts val="0"/>
              </a:spcBef>
              <a:buNone/>
              <a:defRPr sz="2000" b="1">
                <a:solidFill>
                  <a:schemeClr val="bg1"/>
                </a:solidFill>
              </a:defRPr>
            </a:lvl1pPr>
          </a:lstStyle>
          <a:p>
            <a:r>
              <a:rPr lang="en-US"/>
              <a:t>Drag and drop iPhone screen here</a:t>
            </a:r>
          </a:p>
        </p:txBody>
      </p:sp>
    </p:spTree>
    <p:extLst>
      <p:ext uri="{BB962C8B-B14F-4D97-AF65-F5344CB8AC3E}">
        <p14:creationId xmlns:p14="http://schemas.microsoft.com/office/powerpoint/2010/main" val="30500085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Phone Screen - black">
    <p:bg>
      <p:bgPr>
        <a:solidFill>
          <a:schemeClr val="accent3"/>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844FDC9-1D30-DD4B-9A24-1686F43AF929}"/>
              </a:ext>
            </a:extLst>
          </p:cNvPr>
          <p:cNvSpPr/>
          <p:nvPr userDrawn="1"/>
        </p:nvSpPr>
        <p:spPr>
          <a:xfrm>
            <a:off x="-1" y="0"/>
            <a:ext cx="7505205"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0">
            <a:extLst>
              <a:ext uri="{FF2B5EF4-FFF2-40B4-BE49-F238E27FC236}">
                <a16:creationId xmlns:a16="http://schemas.microsoft.com/office/drawing/2014/main" id="{E1361928-BA60-0243-AF11-37EB60F3E288}"/>
              </a:ext>
            </a:extLst>
          </p:cNvPr>
          <p:cNvSpPr>
            <a:spLocks noGrp="1"/>
          </p:cNvSpPr>
          <p:nvPr>
            <p:ph type="body" sz="quarter" idx="13" hasCustomPrompt="1"/>
          </p:nvPr>
        </p:nvSpPr>
        <p:spPr>
          <a:xfrm>
            <a:off x="471451" y="519264"/>
            <a:ext cx="6342707" cy="238281"/>
          </a:xfrm>
        </p:spPr>
        <p:txBody>
          <a:bodyPr wrap="square">
            <a:noAutofit/>
          </a:bodyPr>
          <a:lstStyle>
            <a:lvl1pPr marL="0" indent="0">
              <a:buNone/>
              <a:defRPr sz="1600" b="1" i="0" cap="all" spc="100" baseline="0">
                <a:solidFill>
                  <a:srgbClr val="FB6330"/>
                </a:solidFill>
                <a:latin typeface="+mj-lt"/>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CA"/>
          </a:p>
        </p:txBody>
      </p:sp>
      <p:sp>
        <p:nvSpPr>
          <p:cNvPr id="10" name="Text Placeholder 10">
            <a:extLst>
              <a:ext uri="{FF2B5EF4-FFF2-40B4-BE49-F238E27FC236}">
                <a16:creationId xmlns:a16="http://schemas.microsoft.com/office/drawing/2014/main" id="{A635C0F2-5C5E-8242-B5B8-272BDABFF2AF}"/>
              </a:ext>
            </a:extLst>
          </p:cNvPr>
          <p:cNvSpPr>
            <a:spLocks noGrp="1"/>
          </p:cNvSpPr>
          <p:nvPr>
            <p:ph type="body" sz="quarter" idx="14" hasCustomPrompt="1"/>
          </p:nvPr>
        </p:nvSpPr>
        <p:spPr>
          <a:xfrm>
            <a:off x="471451" y="2564703"/>
            <a:ext cx="6342707" cy="3397686"/>
          </a:xfrm>
        </p:spPr>
        <p:txBody>
          <a:bodyPr wrap="square">
            <a:noAutofit/>
          </a:bodyPr>
          <a:lstStyle>
            <a:lvl1pPr marL="285750" indent="-285750">
              <a:lnSpc>
                <a:spcPct val="110000"/>
              </a:lnSpc>
              <a:spcBef>
                <a:spcPts val="0"/>
              </a:spcBef>
              <a:spcAft>
                <a:spcPts val="1400"/>
              </a:spcAft>
              <a:buFont typeface="Arial" panose="020B0604020202020204" pitchFamily="34" charset="0"/>
              <a:buChar char="•"/>
              <a:defRPr sz="14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a:t>
            </a:r>
          </a:p>
          <a:p>
            <a:pPr lvl="0"/>
            <a:r>
              <a:rPr lang="en-US"/>
              <a:t>Dolor sed viverra ipsum nunc aliquet bibendum enim facilisis. Feugiat in ante metus dictum. Venenatis urna cursus eget nunc. </a:t>
            </a:r>
          </a:p>
          <a:p>
            <a:pPr lvl="0"/>
            <a:r>
              <a:rPr lang="en-US"/>
              <a:t>Vitae purus </a:t>
            </a:r>
            <a:r>
              <a:rPr lang="en-US" err="1"/>
              <a:t>faucibus</a:t>
            </a:r>
            <a:r>
              <a:rPr lang="en-US"/>
              <a:t> </a:t>
            </a:r>
            <a:r>
              <a:rPr lang="en-US" err="1"/>
              <a:t>ornare</a:t>
            </a:r>
            <a:r>
              <a:rPr lang="en-US"/>
              <a:t> suspendisse sed nisi </a:t>
            </a:r>
            <a:r>
              <a:rPr lang="en-US" err="1"/>
              <a:t>lacus</a:t>
            </a:r>
            <a:r>
              <a:rPr lang="en-US"/>
              <a:t> sed. Diam </a:t>
            </a:r>
            <a:r>
              <a:rPr lang="en-US" err="1"/>
              <a:t>vulputate</a:t>
            </a:r>
            <a:r>
              <a:rPr lang="en-US"/>
              <a:t> ut pharetra sit. Sit amet </a:t>
            </a:r>
            <a:r>
              <a:rPr lang="en-US" err="1"/>
              <a:t>mattis</a:t>
            </a:r>
            <a:r>
              <a:rPr lang="en-US"/>
              <a:t> </a:t>
            </a:r>
            <a:r>
              <a:rPr lang="en-US" err="1"/>
              <a:t>vulputate</a:t>
            </a:r>
            <a:r>
              <a:rPr lang="en-US"/>
              <a:t> enim nulla aliquet </a:t>
            </a:r>
            <a:r>
              <a:rPr lang="en-US" err="1"/>
              <a:t>porttitor</a:t>
            </a:r>
            <a:r>
              <a:rPr lang="en-US"/>
              <a:t>.</a:t>
            </a:r>
          </a:p>
          <a:p>
            <a:pPr lvl="0"/>
            <a:r>
              <a:rPr lang="en-US"/>
              <a:t>Tortor </a:t>
            </a:r>
            <a:r>
              <a:rPr lang="en-US" err="1"/>
              <a:t>posuere</a:t>
            </a:r>
            <a:r>
              <a:rPr lang="en-US"/>
              <a:t> ac ut </a:t>
            </a:r>
            <a:r>
              <a:rPr lang="en-US" err="1"/>
              <a:t>consequat</a:t>
            </a:r>
            <a:r>
              <a:rPr lang="en-US"/>
              <a:t> semper. Vestibulum sed arcu non odio </a:t>
            </a:r>
            <a:r>
              <a:rPr lang="en-US" err="1"/>
              <a:t>euismod</a:t>
            </a:r>
            <a:r>
              <a:rPr lang="en-US"/>
              <a:t> lacinia. </a:t>
            </a:r>
          </a:p>
          <a:p>
            <a:pPr lvl="0"/>
            <a:r>
              <a:rPr lang="en-US" err="1"/>
              <a:t>Condimentum</a:t>
            </a:r>
            <a:r>
              <a:rPr lang="en-US"/>
              <a:t> vitae </a:t>
            </a:r>
            <a:r>
              <a:rPr lang="en-US" err="1"/>
              <a:t>sapien</a:t>
            </a:r>
            <a:r>
              <a:rPr lang="en-US"/>
              <a:t> pellentesque habitant morbi </a:t>
            </a:r>
            <a:r>
              <a:rPr lang="en-US" err="1"/>
              <a:t>tristique</a:t>
            </a:r>
            <a:r>
              <a:rPr lang="en-US"/>
              <a:t>. Sit amet </a:t>
            </a:r>
            <a:r>
              <a:rPr lang="en-US" err="1"/>
              <a:t>mauris</a:t>
            </a:r>
            <a:r>
              <a:rPr lang="en-US"/>
              <a:t> commodo quis. Elementum eu facilisis sed odio morbi quis commodo odio </a:t>
            </a:r>
            <a:r>
              <a:rPr lang="en-US" err="1"/>
              <a:t>aenean</a:t>
            </a:r>
            <a:r>
              <a:rPr lang="en-US"/>
              <a:t>. </a:t>
            </a:r>
          </a:p>
        </p:txBody>
      </p:sp>
      <p:pic>
        <p:nvPicPr>
          <p:cNvPr id="12" name="Graphic 11">
            <a:extLst>
              <a:ext uri="{FF2B5EF4-FFF2-40B4-BE49-F238E27FC236}">
                <a16:creationId xmlns:a16="http://schemas.microsoft.com/office/drawing/2014/main" id="{E00C02DB-FD9A-8E43-B53B-ADA65DFEDE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1" name="TextBox 10">
            <a:extLst>
              <a:ext uri="{FF2B5EF4-FFF2-40B4-BE49-F238E27FC236}">
                <a16:creationId xmlns:a16="http://schemas.microsoft.com/office/drawing/2014/main" id="{E6FB2951-E5F4-7B4D-83D4-CD64C3A1E112}"/>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FFFFFF"/>
                </a:solidFill>
                <a:latin typeface="Scotia" panose="020B0503020203020204" pitchFamily="34" charset="0"/>
              </a:rPr>
              <a:pPr algn="r"/>
              <a:t>‹#›</a:t>
            </a:fld>
            <a:endParaRPr lang="en-CA" sz="800">
              <a:solidFill>
                <a:srgbClr val="FFFFFF"/>
              </a:solidFill>
              <a:latin typeface="Scotia" panose="020B0503020203020204" pitchFamily="34" charset="0"/>
            </a:endParaRPr>
          </a:p>
        </p:txBody>
      </p:sp>
      <p:sp>
        <p:nvSpPr>
          <p:cNvPr id="13" name="Text Placeholder 4">
            <a:extLst>
              <a:ext uri="{FF2B5EF4-FFF2-40B4-BE49-F238E27FC236}">
                <a16:creationId xmlns:a16="http://schemas.microsoft.com/office/drawing/2014/main" id="{A3296BB6-B557-0D4D-8886-17AEE7E29BC1}"/>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rgbClr val="FFFFFF"/>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4" name="Title 1">
            <a:extLst>
              <a:ext uri="{FF2B5EF4-FFF2-40B4-BE49-F238E27FC236}">
                <a16:creationId xmlns:a16="http://schemas.microsoft.com/office/drawing/2014/main" id="{56E1E8A9-0A33-0549-8983-366E22AB619A}"/>
              </a:ext>
            </a:extLst>
          </p:cNvPr>
          <p:cNvSpPr>
            <a:spLocks noGrp="1"/>
          </p:cNvSpPr>
          <p:nvPr>
            <p:ph type="title" hasCustomPrompt="1"/>
          </p:nvPr>
        </p:nvSpPr>
        <p:spPr>
          <a:xfrm>
            <a:off x="467422" y="816110"/>
            <a:ext cx="6085777" cy="530090"/>
          </a:xfrm>
        </p:spPr>
        <p:txBody>
          <a:bodyPr anchor="t">
            <a:noAutofit/>
          </a:bodyPr>
          <a:lstStyle>
            <a:lvl1pPr>
              <a:defRPr>
                <a:solidFill>
                  <a:srgbClr val="333333"/>
                </a:solidFill>
              </a:defRPr>
            </a:lvl1pPr>
          </a:lstStyle>
          <a:p>
            <a:r>
              <a:rPr lang="en-US"/>
              <a:t>Slide title</a:t>
            </a:r>
          </a:p>
        </p:txBody>
      </p:sp>
      <p:pic>
        <p:nvPicPr>
          <p:cNvPr id="15" name="Picture 14" descr="Shape, square&#10;&#10;Description automatically generated">
            <a:extLst>
              <a:ext uri="{FF2B5EF4-FFF2-40B4-BE49-F238E27FC236}">
                <a16:creationId xmlns:a16="http://schemas.microsoft.com/office/drawing/2014/main" id="{D6B97FAA-97FC-644B-B18A-AFD78FFEB112}"/>
              </a:ext>
            </a:extLst>
          </p:cNvPr>
          <p:cNvPicPr>
            <a:picLocks noChangeAspect="1"/>
          </p:cNvPicPr>
          <p:nvPr userDrawn="1"/>
        </p:nvPicPr>
        <p:blipFill>
          <a:blip r:embed="rId4"/>
          <a:stretch>
            <a:fillRect/>
          </a:stretch>
        </p:blipFill>
        <p:spPr>
          <a:xfrm>
            <a:off x="8501478" y="657289"/>
            <a:ext cx="2746579" cy="5543422"/>
          </a:xfrm>
          <a:prstGeom prst="rect">
            <a:avLst/>
          </a:prstGeom>
        </p:spPr>
      </p:pic>
      <p:sp>
        <p:nvSpPr>
          <p:cNvPr id="16" name="Picture Placeholder 21">
            <a:extLst>
              <a:ext uri="{FF2B5EF4-FFF2-40B4-BE49-F238E27FC236}">
                <a16:creationId xmlns:a16="http://schemas.microsoft.com/office/drawing/2014/main" id="{822F6118-9B87-4E45-85BB-5DC61D3B9563}"/>
              </a:ext>
            </a:extLst>
          </p:cNvPr>
          <p:cNvSpPr>
            <a:spLocks noGrp="1"/>
          </p:cNvSpPr>
          <p:nvPr>
            <p:ph type="pic" sz="quarter" idx="15" hasCustomPrompt="1"/>
          </p:nvPr>
        </p:nvSpPr>
        <p:spPr>
          <a:xfrm>
            <a:off x="8660329" y="793750"/>
            <a:ext cx="2428875" cy="5270500"/>
          </a:xfrm>
          <a:custGeom>
            <a:avLst/>
            <a:gdLst>
              <a:gd name="connsiteX0" fmla="*/ 287927 w 2428875"/>
              <a:gd name="connsiteY0" fmla="*/ 0 h 5270500"/>
              <a:gd name="connsiteX1" fmla="*/ 517912 w 2428875"/>
              <a:gd name="connsiteY1" fmla="*/ 0 h 5270500"/>
              <a:gd name="connsiteX2" fmla="*/ 541984 w 2428875"/>
              <a:gd name="connsiteY2" fmla="*/ 9967 h 5270500"/>
              <a:gd name="connsiteX3" fmla="*/ 552493 w 2428875"/>
              <a:gd name="connsiteY3" fmla="*/ 35324 h 5270500"/>
              <a:gd name="connsiteX4" fmla="*/ 552493 w 2428875"/>
              <a:gd name="connsiteY4" fmla="*/ 67599 h 5270500"/>
              <a:gd name="connsiteX5" fmla="*/ 681651 w 2428875"/>
              <a:gd name="connsiteY5" fmla="*/ 196699 h 5270500"/>
              <a:gd name="connsiteX6" fmla="*/ 1732856 w 2428875"/>
              <a:gd name="connsiteY6" fmla="*/ 196699 h 5270500"/>
              <a:gd name="connsiteX7" fmla="*/ 1862014 w 2428875"/>
              <a:gd name="connsiteY7" fmla="*/ 67599 h 5270500"/>
              <a:gd name="connsiteX8" fmla="*/ 1862014 w 2428875"/>
              <a:gd name="connsiteY8" fmla="*/ 35324 h 5270500"/>
              <a:gd name="connsiteX9" fmla="*/ 1872522 w 2428875"/>
              <a:gd name="connsiteY9" fmla="*/ 9967 h 5270500"/>
              <a:gd name="connsiteX10" fmla="*/ 1896594 w 2428875"/>
              <a:gd name="connsiteY10" fmla="*/ 0 h 5270500"/>
              <a:gd name="connsiteX11" fmla="*/ 2130169 w 2428875"/>
              <a:gd name="connsiteY11" fmla="*/ 0 h 5270500"/>
              <a:gd name="connsiteX12" fmla="*/ 2244814 w 2428875"/>
              <a:gd name="connsiteY12" fmla="*/ 23135 h 5270500"/>
              <a:gd name="connsiteX13" fmla="*/ 2422753 w 2428875"/>
              <a:gd name="connsiteY13" fmla="*/ 239987 h 5270500"/>
              <a:gd name="connsiteX14" fmla="*/ 2428875 w 2428875"/>
              <a:gd name="connsiteY14" fmla="*/ 300686 h 5270500"/>
              <a:gd name="connsiteX15" fmla="*/ 2428875 w 2428875"/>
              <a:gd name="connsiteY15" fmla="*/ 4969814 h 5270500"/>
              <a:gd name="connsiteX16" fmla="*/ 2422753 w 2428875"/>
              <a:gd name="connsiteY16" fmla="*/ 5030512 h 5270500"/>
              <a:gd name="connsiteX17" fmla="*/ 2244814 w 2428875"/>
              <a:gd name="connsiteY17" fmla="*/ 5247364 h 5270500"/>
              <a:gd name="connsiteX18" fmla="*/ 2130168 w 2428875"/>
              <a:gd name="connsiteY18" fmla="*/ 5270500 h 5270500"/>
              <a:gd name="connsiteX19" fmla="*/ 287927 w 2428875"/>
              <a:gd name="connsiteY19" fmla="*/ 5270500 h 5270500"/>
              <a:gd name="connsiteX20" fmla="*/ 173281 w 2428875"/>
              <a:gd name="connsiteY20" fmla="*/ 5247364 h 5270500"/>
              <a:gd name="connsiteX21" fmla="*/ 12901 w 2428875"/>
              <a:gd name="connsiteY21" fmla="*/ 5087055 h 5270500"/>
              <a:gd name="connsiteX22" fmla="*/ 0 w 2428875"/>
              <a:gd name="connsiteY22" fmla="*/ 5045514 h 5270500"/>
              <a:gd name="connsiteX23" fmla="*/ 0 w 2428875"/>
              <a:gd name="connsiteY23" fmla="*/ 224984 h 5270500"/>
              <a:gd name="connsiteX24" fmla="*/ 12901 w 2428875"/>
              <a:gd name="connsiteY24" fmla="*/ 183442 h 5270500"/>
              <a:gd name="connsiteX25" fmla="*/ 173281 w 2428875"/>
              <a:gd name="connsiteY25" fmla="*/ 23135 h 527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8875" h="5270500">
                <a:moveTo>
                  <a:pt x="287927" y="0"/>
                </a:moveTo>
                <a:lnTo>
                  <a:pt x="517912" y="0"/>
                </a:lnTo>
                <a:lnTo>
                  <a:pt x="541984" y="9967"/>
                </a:lnTo>
                <a:cubicBezTo>
                  <a:pt x="548477" y="16456"/>
                  <a:pt x="552493" y="25421"/>
                  <a:pt x="552493" y="35324"/>
                </a:cubicBezTo>
                <a:lnTo>
                  <a:pt x="552493" y="67599"/>
                </a:lnTo>
                <a:cubicBezTo>
                  <a:pt x="552493" y="138898"/>
                  <a:pt x="610319" y="196699"/>
                  <a:pt x="681651" y="196699"/>
                </a:cubicBezTo>
                <a:lnTo>
                  <a:pt x="1732856" y="196699"/>
                </a:lnTo>
                <a:cubicBezTo>
                  <a:pt x="1804188" y="196699"/>
                  <a:pt x="1862014" y="138898"/>
                  <a:pt x="1862014" y="67599"/>
                </a:cubicBezTo>
                <a:lnTo>
                  <a:pt x="1862014" y="35324"/>
                </a:lnTo>
                <a:cubicBezTo>
                  <a:pt x="1862014" y="25421"/>
                  <a:pt x="1866030" y="16456"/>
                  <a:pt x="1872522" y="9967"/>
                </a:cubicBezTo>
                <a:lnTo>
                  <a:pt x="1896594" y="0"/>
                </a:lnTo>
                <a:lnTo>
                  <a:pt x="2130169" y="0"/>
                </a:lnTo>
                <a:lnTo>
                  <a:pt x="2244814" y="23135"/>
                </a:lnTo>
                <a:cubicBezTo>
                  <a:pt x="2334952" y="61243"/>
                  <a:pt x="2402681" y="141939"/>
                  <a:pt x="2422753" y="239987"/>
                </a:cubicBezTo>
                <a:lnTo>
                  <a:pt x="2428875" y="300686"/>
                </a:lnTo>
                <a:lnTo>
                  <a:pt x="2428875" y="4969814"/>
                </a:lnTo>
                <a:lnTo>
                  <a:pt x="2422753" y="5030512"/>
                </a:lnTo>
                <a:cubicBezTo>
                  <a:pt x="2402681" y="5128557"/>
                  <a:pt x="2334952" y="5209255"/>
                  <a:pt x="2244814" y="5247364"/>
                </a:cubicBezTo>
                <a:lnTo>
                  <a:pt x="2130168" y="5270500"/>
                </a:lnTo>
                <a:lnTo>
                  <a:pt x="287927" y="5270500"/>
                </a:lnTo>
                <a:lnTo>
                  <a:pt x="173281" y="5247364"/>
                </a:lnTo>
                <a:cubicBezTo>
                  <a:pt x="101170" y="5216876"/>
                  <a:pt x="43401" y="5159132"/>
                  <a:pt x="12901" y="5087055"/>
                </a:cubicBezTo>
                <a:lnTo>
                  <a:pt x="0" y="5045514"/>
                </a:lnTo>
                <a:lnTo>
                  <a:pt x="0" y="224984"/>
                </a:lnTo>
                <a:lnTo>
                  <a:pt x="12901" y="183442"/>
                </a:lnTo>
                <a:cubicBezTo>
                  <a:pt x="43401" y="111364"/>
                  <a:pt x="101170" y="53622"/>
                  <a:pt x="173281" y="23135"/>
                </a:cubicBezTo>
                <a:close/>
              </a:path>
            </a:pathLst>
          </a:custGeom>
          <a:ln w="12700">
            <a:solidFill>
              <a:srgbClr val="CCCCCC"/>
            </a:solidFill>
          </a:ln>
        </p:spPr>
        <p:txBody>
          <a:bodyPr wrap="square" lIns="180000" rIns="180000" anchor="ctr">
            <a:noAutofit/>
          </a:bodyPr>
          <a:lstStyle>
            <a:lvl1pPr marL="0" indent="0" algn="ctr">
              <a:lnSpc>
                <a:spcPct val="100000"/>
              </a:lnSpc>
              <a:spcBef>
                <a:spcPts val="0"/>
              </a:spcBef>
              <a:buNone/>
              <a:defRPr sz="2000" b="1"/>
            </a:lvl1pPr>
          </a:lstStyle>
          <a:p>
            <a:r>
              <a:rPr lang="en-US"/>
              <a:t>Drag and drop iPhone screen here</a:t>
            </a:r>
          </a:p>
        </p:txBody>
      </p:sp>
    </p:spTree>
    <p:extLst>
      <p:ext uri="{BB962C8B-B14F-4D97-AF65-F5344CB8AC3E}">
        <p14:creationId xmlns:p14="http://schemas.microsoft.com/office/powerpoint/2010/main" val="15472077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ebsite Screen">
    <p:bg>
      <p:bgPr>
        <a:solidFill>
          <a:srgbClr val="009DD6"/>
        </a:solidFill>
        <a:effectLst/>
      </p:bgPr>
    </p:bg>
    <p:spTree>
      <p:nvGrpSpPr>
        <p:cNvPr id="1" name=""/>
        <p:cNvGrpSpPr/>
        <p:nvPr/>
      </p:nvGrpSpPr>
      <p:grpSpPr>
        <a:xfrm>
          <a:off x="0" y="0"/>
          <a:ext cx="0" cy="0"/>
          <a:chOff x="0" y="0"/>
          <a:chExt cx="0" cy="0"/>
        </a:xfrm>
      </p:grpSpPr>
      <p:pic>
        <p:nvPicPr>
          <p:cNvPr id="9" name="Picture 8" descr="Graphical user interface&#10;&#10;Description automatically generated with medium confidence">
            <a:extLst>
              <a:ext uri="{FF2B5EF4-FFF2-40B4-BE49-F238E27FC236}">
                <a16:creationId xmlns:a16="http://schemas.microsoft.com/office/drawing/2014/main" id="{2DBD3B92-7D7E-BC4D-B6D1-013C6338F0F5}"/>
              </a:ext>
            </a:extLst>
          </p:cNvPr>
          <p:cNvPicPr>
            <a:picLocks noChangeAspect="1"/>
          </p:cNvPicPr>
          <p:nvPr userDrawn="1"/>
        </p:nvPicPr>
        <p:blipFill>
          <a:blip r:embed="rId2"/>
          <a:stretch>
            <a:fillRect/>
          </a:stretch>
        </p:blipFill>
        <p:spPr>
          <a:xfrm>
            <a:off x="12665529" y="0"/>
            <a:ext cx="2715319" cy="3070679"/>
          </a:xfrm>
          <a:prstGeom prst="rect">
            <a:avLst/>
          </a:prstGeom>
        </p:spPr>
      </p:pic>
      <p:sp>
        <p:nvSpPr>
          <p:cNvPr id="3" name="Picture Placeholder 2">
            <a:extLst>
              <a:ext uri="{FF2B5EF4-FFF2-40B4-BE49-F238E27FC236}">
                <a16:creationId xmlns:a16="http://schemas.microsoft.com/office/drawing/2014/main" id="{4A1B2F42-E590-4748-88DA-26B2D332577C}"/>
              </a:ext>
            </a:extLst>
          </p:cNvPr>
          <p:cNvSpPr>
            <a:spLocks noGrp="1"/>
          </p:cNvSpPr>
          <p:nvPr>
            <p:ph type="pic" sz="quarter" idx="10" hasCustomPrompt="1"/>
          </p:nvPr>
        </p:nvSpPr>
        <p:spPr>
          <a:xfrm>
            <a:off x="905328" y="674557"/>
            <a:ext cx="5407025" cy="6197600"/>
          </a:xfrm>
          <a:noFill/>
          <a:effectLst>
            <a:outerShdw blurRad="254000" algn="ctr" rotWithShape="0">
              <a:srgbClr val="949494">
                <a:alpha val="15000"/>
              </a:srgbClr>
            </a:outerShdw>
          </a:effectLst>
        </p:spPr>
        <p:txBody>
          <a:bodyPr anchor="ctr"/>
          <a:lstStyle>
            <a:lvl1pPr marL="0" indent="0" algn="ctr">
              <a:buNone/>
              <a:defRPr b="1"/>
            </a:lvl1pPr>
          </a:lstStyle>
          <a:p>
            <a:r>
              <a:rPr lang="en-CA"/>
              <a:t>Website screengrab</a:t>
            </a:r>
          </a:p>
        </p:txBody>
      </p:sp>
      <p:pic>
        <p:nvPicPr>
          <p:cNvPr id="5" name="Picture 4" descr="A screenshot of a cell phone&#10;&#10;Description automatically generated with medium confidence">
            <a:extLst>
              <a:ext uri="{FF2B5EF4-FFF2-40B4-BE49-F238E27FC236}">
                <a16:creationId xmlns:a16="http://schemas.microsoft.com/office/drawing/2014/main" id="{79A56849-AD04-AC4F-AD7F-2065B2F00004}"/>
              </a:ext>
            </a:extLst>
          </p:cNvPr>
          <p:cNvPicPr>
            <a:picLocks noChangeAspect="1"/>
          </p:cNvPicPr>
          <p:nvPr userDrawn="1"/>
        </p:nvPicPr>
        <p:blipFill>
          <a:blip r:embed="rId3"/>
          <a:stretch>
            <a:fillRect/>
          </a:stretch>
        </p:blipFill>
        <p:spPr>
          <a:xfrm>
            <a:off x="12745330" y="3354963"/>
            <a:ext cx="1400760" cy="3321050"/>
          </a:xfrm>
          <a:prstGeom prst="rect">
            <a:avLst/>
          </a:prstGeom>
        </p:spPr>
      </p:pic>
      <p:sp>
        <p:nvSpPr>
          <p:cNvPr id="11" name="Text Placeholder 10">
            <a:extLst>
              <a:ext uri="{FF2B5EF4-FFF2-40B4-BE49-F238E27FC236}">
                <a16:creationId xmlns:a16="http://schemas.microsoft.com/office/drawing/2014/main" id="{F3845AFD-F9A0-FE4E-9A00-2213991468D2}"/>
              </a:ext>
            </a:extLst>
          </p:cNvPr>
          <p:cNvSpPr>
            <a:spLocks noGrp="1"/>
          </p:cNvSpPr>
          <p:nvPr>
            <p:ph type="body" sz="quarter" idx="11" hasCustomPrompt="1"/>
          </p:nvPr>
        </p:nvSpPr>
        <p:spPr>
          <a:xfrm>
            <a:off x="7046913" y="1853280"/>
            <a:ext cx="4351337" cy="476562"/>
          </a:xfrm>
        </p:spPr>
        <p:txBody>
          <a:bodyPr wrap="square">
            <a:noAutofit/>
          </a:bodyPr>
          <a:lstStyle>
            <a:lvl1pPr marL="0" indent="0">
              <a:buNone/>
              <a:defRPr sz="4000" b="1" i="0">
                <a:solidFill>
                  <a:srgbClr val="FFFFFF"/>
                </a:solidFill>
                <a:latin typeface="Scotia Headline" panose="020B0503020203020204" pitchFamily="34" charset="0"/>
                <a:ea typeface="Scotia Headline"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a:t>
            </a:r>
            <a:endParaRPr lang="en-CA"/>
          </a:p>
        </p:txBody>
      </p:sp>
      <p:sp>
        <p:nvSpPr>
          <p:cNvPr id="16" name="Text Placeholder 10">
            <a:extLst>
              <a:ext uri="{FF2B5EF4-FFF2-40B4-BE49-F238E27FC236}">
                <a16:creationId xmlns:a16="http://schemas.microsoft.com/office/drawing/2014/main" id="{D3867B6E-2903-BB4F-B131-3F8000AA5FD8}"/>
              </a:ext>
            </a:extLst>
          </p:cNvPr>
          <p:cNvSpPr>
            <a:spLocks noGrp="1"/>
          </p:cNvSpPr>
          <p:nvPr>
            <p:ph type="body" sz="quarter" idx="12" hasCustomPrompt="1"/>
          </p:nvPr>
        </p:nvSpPr>
        <p:spPr>
          <a:xfrm>
            <a:off x="7046913" y="2477173"/>
            <a:ext cx="4351337" cy="476562"/>
          </a:xfrm>
        </p:spPr>
        <p:txBody>
          <a:bodyPr wrap="square">
            <a:noAutofit/>
          </a:bodyPr>
          <a:lstStyle>
            <a:lvl1pPr marL="0" indent="0">
              <a:buNone/>
              <a:defRPr sz="2800" b="0" i="0">
                <a:solidFill>
                  <a:srgbClr val="FFFFFF"/>
                </a:solidFill>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mportant subheading</a:t>
            </a:r>
            <a:endParaRPr lang="en-CA"/>
          </a:p>
        </p:txBody>
      </p:sp>
      <p:sp>
        <p:nvSpPr>
          <p:cNvPr id="17" name="Text Placeholder 10">
            <a:extLst>
              <a:ext uri="{FF2B5EF4-FFF2-40B4-BE49-F238E27FC236}">
                <a16:creationId xmlns:a16="http://schemas.microsoft.com/office/drawing/2014/main" id="{1B11D73E-F7DC-8B48-98AD-45E2D2DCD6EB}"/>
              </a:ext>
            </a:extLst>
          </p:cNvPr>
          <p:cNvSpPr>
            <a:spLocks noGrp="1"/>
          </p:cNvSpPr>
          <p:nvPr>
            <p:ph type="body" sz="quarter" idx="13" hasCustomPrompt="1"/>
          </p:nvPr>
        </p:nvSpPr>
        <p:spPr>
          <a:xfrm>
            <a:off x="7046913" y="3429000"/>
            <a:ext cx="4351337" cy="1736173"/>
          </a:xfrm>
        </p:spPr>
        <p:txBody>
          <a:bodyPr wrap="square">
            <a:noAutofit/>
          </a:bodyPr>
          <a:lstStyle>
            <a:lvl1pPr marL="0" indent="0">
              <a:lnSpc>
                <a:spcPct val="110000"/>
              </a:lnSpc>
              <a:buNone/>
              <a:defRPr sz="1400" b="0" i="0">
                <a:solidFill>
                  <a:srgbClr val="FFFFFF"/>
                </a:solidFill>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Dolor sed viverra ipsum nunc aliquet bibendum enim facilisis. Feugiat in ante metus dictum. Venenatis urna cursus eget nunc. Vitae purus </a:t>
            </a:r>
            <a:r>
              <a:rPr lang="en-US" err="1"/>
              <a:t>faucibus</a:t>
            </a:r>
            <a:r>
              <a:rPr lang="en-US"/>
              <a:t> </a:t>
            </a:r>
            <a:r>
              <a:rPr lang="en-US" err="1"/>
              <a:t>ornare</a:t>
            </a:r>
            <a:r>
              <a:rPr lang="en-US"/>
              <a:t> suspendisse sed nisi </a:t>
            </a:r>
            <a:r>
              <a:rPr lang="en-US" err="1"/>
              <a:t>lacus</a:t>
            </a:r>
            <a:r>
              <a:rPr lang="en-US"/>
              <a:t> sed. Diam </a:t>
            </a:r>
            <a:r>
              <a:rPr lang="en-US" err="1"/>
              <a:t>vulputate</a:t>
            </a:r>
            <a:r>
              <a:rPr lang="en-US"/>
              <a:t> ut pharetra sit. Sit amet </a:t>
            </a:r>
            <a:r>
              <a:rPr lang="en-US" err="1"/>
              <a:t>mattis</a:t>
            </a:r>
            <a:r>
              <a:rPr lang="en-US"/>
              <a:t> </a:t>
            </a:r>
            <a:r>
              <a:rPr lang="en-US" err="1"/>
              <a:t>vulputate</a:t>
            </a:r>
            <a:r>
              <a:rPr lang="en-US"/>
              <a:t> enim nulla aliquet </a:t>
            </a:r>
            <a:r>
              <a:rPr lang="en-US" err="1"/>
              <a:t>porttitor</a:t>
            </a:r>
            <a:r>
              <a:rPr lang="en-US"/>
              <a:t>. </a:t>
            </a:r>
          </a:p>
        </p:txBody>
      </p:sp>
      <p:pic>
        <p:nvPicPr>
          <p:cNvPr id="12" name="Graphic 11">
            <a:extLst>
              <a:ext uri="{FF2B5EF4-FFF2-40B4-BE49-F238E27FC236}">
                <a16:creationId xmlns:a16="http://schemas.microsoft.com/office/drawing/2014/main" id="{378B910C-E7C3-8545-8AE6-AD2F5637405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800288" y="6466685"/>
            <a:ext cx="391315" cy="391315"/>
          </a:xfrm>
          <a:prstGeom prst="rect">
            <a:avLst/>
          </a:prstGeom>
        </p:spPr>
      </p:pic>
      <p:sp>
        <p:nvSpPr>
          <p:cNvPr id="10" name="TextBox 9">
            <a:extLst>
              <a:ext uri="{FF2B5EF4-FFF2-40B4-BE49-F238E27FC236}">
                <a16:creationId xmlns:a16="http://schemas.microsoft.com/office/drawing/2014/main" id="{07FCB904-5C2E-BE4B-AE7E-D148C3CCA0E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FFFFFF"/>
                </a:solidFill>
                <a:latin typeface="Scotia" panose="020B0503020203020204" pitchFamily="34" charset="0"/>
              </a:rPr>
              <a:pPr algn="r"/>
              <a:t>‹#›</a:t>
            </a:fld>
            <a:endParaRPr lang="en-CA" sz="800">
              <a:solidFill>
                <a:srgbClr val="FFFFFF"/>
              </a:solidFill>
              <a:latin typeface="Scotia" panose="020B0503020203020204" pitchFamily="34" charset="0"/>
            </a:endParaRPr>
          </a:p>
        </p:txBody>
      </p:sp>
      <p:sp>
        <p:nvSpPr>
          <p:cNvPr id="13" name="Text Placeholder 4">
            <a:extLst>
              <a:ext uri="{FF2B5EF4-FFF2-40B4-BE49-F238E27FC236}">
                <a16:creationId xmlns:a16="http://schemas.microsoft.com/office/drawing/2014/main" id="{2F11D801-3294-A048-8C6B-309FD3F2A6F7}"/>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rgbClr val="FFFFFF"/>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23866662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ebsite Screen with laptop">
    <p:bg>
      <p:bgPr>
        <a:solidFill>
          <a:schemeClr val="accent4"/>
        </a:solidFill>
        <a:effectLst/>
      </p:bgPr>
    </p:bg>
    <p:spTree>
      <p:nvGrpSpPr>
        <p:cNvPr id="1" name=""/>
        <p:cNvGrpSpPr/>
        <p:nvPr/>
      </p:nvGrpSpPr>
      <p:grpSpPr>
        <a:xfrm>
          <a:off x="0" y="0"/>
          <a:ext cx="0" cy="0"/>
          <a:chOff x="0" y="0"/>
          <a:chExt cx="0" cy="0"/>
        </a:xfrm>
      </p:grpSpPr>
      <p:pic>
        <p:nvPicPr>
          <p:cNvPr id="20" name="Picture 19" descr="A picture containing graphical user interface&#10;&#10;Description automatically generated">
            <a:extLst>
              <a:ext uri="{FF2B5EF4-FFF2-40B4-BE49-F238E27FC236}">
                <a16:creationId xmlns:a16="http://schemas.microsoft.com/office/drawing/2014/main" id="{4E65621A-B41F-6545-8F01-E91812F09830}"/>
              </a:ext>
            </a:extLst>
          </p:cNvPr>
          <p:cNvPicPr>
            <a:picLocks noChangeAspect="1"/>
          </p:cNvPicPr>
          <p:nvPr/>
        </p:nvPicPr>
        <p:blipFill>
          <a:blip r:embed="rId2"/>
          <a:stretch>
            <a:fillRect/>
          </a:stretch>
        </p:blipFill>
        <p:spPr>
          <a:xfrm>
            <a:off x="3869049" y="965543"/>
            <a:ext cx="8718636" cy="4926914"/>
          </a:xfrm>
          <a:prstGeom prst="rect">
            <a:avLst/>
          </a:prstGeom>
        </p:spPr>
      </p:pic>
      <p:sp>
        <p:nvSpPr>
          <p:cNvPr id="3" name="Picture Placeholder 2">
            <a:extLst>
              <a:ext uri="{FF2B5EF4-FFF2-40B4-BE49-F238E27FC236}">
                <a16:creationId xmlns:a16="http://schemas.microsoft.com/office/drawing/2014/main" id="{4A1B2F42-E590-4748-88DA-26B2D332577C}"/>
              </a:ext>
            </a:extLst>
          </p:cNvPr>
          <p:cNvSpPr>
            <a:spLocks noGrp="1"/>
          </p:cNvSpPr>
          <p:nvPr>
            <p:ph type="pic" sz="quarter" idx="10" hasCustomPrompt="1"/>
          </p:nvPr>
        </p:nvSpPr>
        <p:spPr>
          <a:xfrm>
            <a:off x="4872034" y="1247265"/>
            <a:ext cx="6706809" cy="4206478"/>
          </a:xfrm>
          <a:solidFill>
            <a:srgbClr val="949494"/>
          </a:solidFill>
          <a:effectLst>
            <a:outerShdw blurRad="254000" algn="ctr" rotWithShape="0">
              <a:srgbClr val="949494">
                <a:alpha val="15000"/>
              </a:srgbClr>
            </a:outerShdw>
          </a:effectLst>
        </p:spPr>
        <p:txBody>
          <a:bodyPr anchor="ctr"/>
          <a:lstStyle>
            <a:lvl1pPr marL="0" indent="0" algn="ctr">
              <a:buNone/>
              <a:defRPr b="1">
                <a:solidFill>
                  <a:schemeClr val="bg1"/>
                </a:solidFill>
              </a:defRPr>
            </a:lvl1pPr>
          </a:lstStyle>
          <a:p>
            <a:r>
              <a:rPr lang="en-CA"/>
              <a:t>Website screengrab</a:t>
            </a:r>
          </a:p>
        </p:txBody>
      </p:sp>
      <p:sp>
        <p:nvSpPr>
          <p:cNvPr id="17" name="Text Placeholder 10">
            <a:extLst>
              <a:ext uri="{FF2B5EF4-FFF2-40B4-BE49-F238E27FC236}">
                <a16:creationId xmlns:a16="http://schemas.microsoft.com/office/drawing/2014/main" id="{1B11D73E-F7DC-8B48-98AD-45E2D2DCD6EB}"/>
              </a:ext>
            </a:extLst>
          </p:cNvPr>
          <p:cNvSpPr>
            <a:spLocks noGrp="1"/>
          </p:cNvSpPr>
          <p:nvPr>
            <p:ph type="body" sz="quarter" idx="13" hasCustomPrompt="1"/>
          </p:nvPr>
        </p:nvSpPr>
        <p:spPr>
          <a:xfrm>
            <a:off x="758371" y="1371600"/>
            <a:ext cx="3366001" cy="3477986"/>
          </a:xfrm>
        </p:spPr>
        <p:txBody>
          <a:bodyPr wrap="square">
            <a:noAutofit/>
          </a:bodyPr>
          <a:lstStyle>
            <a:lvl1pPr marL="0" indent="0">
              <a:lnSpc>
                <a:spcPct val="110000"/>
              </a:lnSpc>
              <a:buNone/>
              <a:defRPr sz="2200" b="0" i="0">
                <a:solidFill>
                  <a:srgbClr val="FFFFFF"/>
                </a:solidFill>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Aliquet </a:t>
            </a:r>
            <a:r>
              <a:rPr lang="en-US" err="1"/>
              <a:t>sagittis</a:t>
            </a:r>
            <a:r>
              <a:rPr lang="en-US"/>
              <a:t> id </a:t>
            </a:r>
            <a:r>
              <a:rPr lang="en-US" err="1"/>
              <a:t>consecte</a:t>
            </a:r>
            <a:r>
              <a:rPr lang="en-US"/>
              <a:t>tur purus. Pellentesque id nibh tortor id aliquet lectus proin nibh nisl. Dolor sed viverra ipsum nunc aliquet bibendum enim facilisis. Feugiat in ante metus dictum. </a:t>
            </a:r>
          </a:p>
        </p:txBody>
      </p:sp>
      <p:pic>
        <p:nvPicPr>
          <p:cNvPr id="12" name="Graphic 11">
            <a:extLst>
              <a:ext uri="{FF2B5EF4-FFF2-40B4-BE49-F238E27FC236}">
                <a16:creationId xmlns:a16="http://schemas.microsoft.com/office/drawing/2014/main" id="{378B910C-E7C3-8545-8AE6-AD2F5637405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800288" y="6466685"/>
            <a:ext cx="391315" cy="391315"/>
          </a:xfrm>
          <a:prstGeom prst="rect">
            <a:avLst/>
          </a:prstGeom>
        </p:spPr>
      </p:pic>
      <p:sp>
        <p:nvSpPr>
          <p:cNvPr id="22" name="TextBox 21">
            <a:extLst>
              <a:ext uri="{FF2B5EF4-FFF2-40B4-BE49-F238E27FC236}">
                <a16:creationId xmlns:a16="http://schemas.microsoft.com/office/drawing/2014/main" id="{75092BE7-FE37-4246-B575-4C5408CC278B}"/>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rgbClr val="FFFFFF"/>
                </a:solidFill>
                <a:latin typeface="Scotia" panose="020B0503020203020204" pitchFamily="34" charset="0"/>
              </a:rPr>
              <a:pPr algn="r"/>
              <a:t>‹#›</a:t>
            </a:fld>
            <a:endParaRPr lang="en-CA" sz="800">
              <a:solidFill>
                <a:srgbClr val="FFFFFF"/>
              </a:solidFill>
              <a:latin typeface="Scotia" panose="020B0503020203020204" pitchFamily="34" charset="0"/>
            </a:endParaRPr>
          </a:p>
        </p:txBody>
      </p:sp>
      <p:sp>
        <p:nvSpPr>
          <p:cNvPr id="23" name="Text Placeholder 4">
            <a:extLst>
              <a:ext uri="{FF2B5EF4-FFF2-40B4-BE49-F238E27FC236}">
                <a16:creationId xmlns:a16="http://schemas.microsoft.com/office/drawing/2014/main" id="{F9CF84A7-63BA-084A-BA7C-14371D7A5B9E}"/>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rgbClr val="FFFFFF"/>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9067610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headshot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69292610-3493-BE43-9971-6B14D758BFB5}"/>
              </a:ext>
            </a:extLst>
          </p:cNvPr>
          <p:cNvSpPr>
            <a:spLocks noGrp="1"/>
          </p:cNvSpPr>
          <p:nvPr>
            <p:ph type="pic" sz="quarter" idx="13"/>
          </p:nvPr>
        </p:nvSpPr>
        <p:spPr>
          <a:xfrm>
            <a:off x="684705"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34" name="Text Placeholder 33">
            <a:extLst>
              <a:ext uri="{FF2B5EF4-FFF2-40B4-BE49-F238E27FC236}">
                <a16:creationId xmlns:a16="http://schemas.microsoft.com/office/drawing/2014/main" id="{8E9EBD9D-1985-2B44-97F1-DF9B9176AD3E}"/>
              </a:ext>
            </a:extLst>
          </p:cNvPr>
          <p:cNvSpPr>
            <a:spLocks noGrp="1"/>
          </p:cNvSpPr>
          <p:nvPr>
            <p:ph type="body" sz="quarter" idx="12" hasCustomPrompt="1"/>
          </p:nvPr>
        </p:nvSpPr>
        <p:spPr>
          <a:xfrm>
            <a:off x="425632"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39" name="Picture Placeholder 38">
            <a:extLst>
              <a:ext uri="{FF2B5EF4-FFF2-40B4-BE49-F238E27FC236}">
                <a16:creationId xmlns:a16="http://schemas.microsoft.com/office/drawing/2014/main" id="{5D0BB6E9-3AA8-044E-84F0-5F63DE5C93F7}"/>
              </a:ext>
            </a:extLst>
          </p:cNvPr>
          <p:cNvSpPr>
            <a:spLocks noGrp="1"/>
          </p:cNvSpPr>
          <p:nvPr>
            <p:ph type="pic" sz="quarter" idx="14"/>
          </p:nvPr>
        </p:nvSpPr>
        <p:spPr>
          <a:xfrm>
            <a:off x="2607639"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0" name="Picture Placeholder 39">
            <a:extLst>
              <a:ext uri="{FF2B5EF4-FFF2-40B4-BE49-F238E27FC236}">
                <a16:creationId xmlns:a16="http://schemas.microsoft.com/office/drawing/2014/main" id="{357A3C9A-67AC-2644-A53E-A24944E05C26}"/>
              </a:ext>
            </a:extLst>
          </p:cNvPr>
          <p:cNvSpPr>
            <a:spLocks noGrp="1"/>
          </p:cNvSpPr>
          <p:nvPr>
            <p:ph type="pic" sz="quarter" idx="15"/>
          </p:nvPr>
        </p:nvSpPr>
        <p:spPr>
          <a:xfrm>
            <a:off x="4515986"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1" name="Picture Placeholder 40">
            <a:extLst>
              <a:ext uri="{FF2B5EF4-FFF2-40B4-BE49-F238E27FC236}">
                <a16:creationId xmlns:a16="http://schemas.microsoft.com/office/drawing/2014/main" id="{F0FA1631-02F2-524F-99EB-D43B3CCA17BF}"/>
              </a:ext>
            </a:extLst>
          </p:cNvPr>
          <p:cNvSpPr>
            <a:spLocks noGrp="1"/>
          </p:cNvSpPr>
          <p:nvPr>
            <p:ph type="pic" sz="quarter" idx="16"/>
          </p:nvPr>
        </p:nvSpPr>
        <p:spPr>
          <a:xfrm>
            <a:off x="6452177"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2" name="Picture Placeholder 41">
            <a:extLst>
              <a:ext uri="{FF2B5EF4-FFF2-40B4-BE49-F238E27FC236}">
                <a16:creationId xmlns:a16="http://schemas.microsoft.com/office/drawing/2014/main" id="{A8446167-D2DE-6041-BC7C-CF8CA8BEE221}"/>
              </a:ext>
            </a:extLst>
          </p:cNvPr>
          <p:cNvSpPr>
            <a:spLocks noGrp="1"/>
          </p:cNvSpPr>
          <p:nvPr>
            <p:ph type="pic" sz="quarter" idx="17"/>
          </p:nvPr>
        </p:nvSpPr>
        <p:spPr>
          <a:xfrm>
            <a:off x="8373779"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3" name="Picture Placeholder 42">
            <a:extLst>
              <a:ext uri="{FF2B5EF4-FFF2-40B4-BE49-F238E27FC236}">
                <a16:creationId xmlns:a16="http://schemas.microsoft.com/office/drawing/2014/main" id="{8C3E5C91-906A-1043-94C8-A24B5945BD97}"/>
              </a:ext>
            </a:extLst>
          </p:cNvPr>
          <p:cNvSpPr>
            <a:spLocks noGrp="1"/>
          </p:cNvSpPr>
          <p:nvPr>
            <p:ph type="pic" sz="quarter" idx="18"/>
          </p:nvPr>
        </p:nvSpPr>
        <p:spPr>
          <a:xfrm>
            <a:off x="10295381" y="1959882"/>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5" name="Picture Placeholder 44">
            <a:extLst>
              <a:ext uri="{FF2B5EF4-FFF2-40B4-BE49-F238E27FC236}">
                <a16:creationId xmlns:a16="http://schemas.microsoft.com/office/drawing/2014/main" id="{25B57303-3B10-3F49-B252-DC6E43009209}"/>
              </a:ext>
            </a:extLst>
          </p:cNvPr>
          <p:cNvSpPr>
            <a:spLocks noGrp="1"/>
          </p:cNvSpPr>
          <p:nvPr>
            <p:ph type="pic" sz="quarter" idx="20"/>
          </p:nvPr>
        </p:nvSpPr>
        <p:spPr>
          <a:xfrm>
            <a:off x="2607639"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6" name="Picture Placeholder 45">
            <a:extLst>
              <a:ext uri="{FF2B5EF4-FFF2-40B4-BE49-F238E27FC236}">
                <a16:creationId xmlns:a16="http://schemas.microsoft.com/office/drawing/2014/main" id="{F39DB685-C643-4F41-B2E1-FA34DDE694C6}"/>
              </a:ext>
            </a:extLst>
          </p:cNvPr>
          <p:cNvSpPr>
            <a:spLocks noGrp="1"/>
          </p:cNvSpPr>
          <p:nvPr>
            <p:ph type="pic" sz="quarter" idx="21"/>
          </p:nvPr>
        </p:nvSpPr>
        <p:spPr>
          <a:xfrm>
            <a:off x="4515986"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7" name="Picture Placeholder 46">
            <a:extLst>
              <a:ext uri="{FF2B5EF4-FFF2-40B4-BE49-F238E27FC236}">
                <a16:creationId xmlns:a16="http://schemas.microsoft.com/office/drawing/2014/main" id="{0E48D3A3-465F-EF4C-878A-3E24710C547D}"/>
              </a:ext>
            </a:extLst>
          </p:cNvPr>
          <p:cNvSpPr>
            <a:spLocks noGrp="1"/>
          </p:cNvSpPr>
          <p:nvPr>
            <p:ph type="pic" sz="quarter" idx="22"/>
          </p:nvPr>
        </p:nvSpPr>
        <p:spPr>
          <a:xfrm>
            <a:off x="6452177"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8" name="Picture Placeholder 47">
            <a:extLst>
              <a:ext uri="{FF2B5EF4-FFF2-40B4-BE49-F238E27FC236}">
                <a16:creationId xmlns:a16="http://schemas.microsoft.com/office/drawing/2014/main" id="{3475FC00-AE46-FC48-A001-65A3F794CFCC}"/>
              </a:ext>
            </a:extLst>
          </p:cNvPr>
          <p:cNvSpPr>
            <a:spLocks noGrp="1"/>
          </p:cNvSpPr>
          <p:nvPr>
            <p:ph type="pic" sz="quarter" idx="23"/>
          </p:nvPr>
        </p:nvSpPr>
        <p:spPr>
          <a:xfrm>
            <a:off x="8373779"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49" name="Picture Placeholder 48">
            <a:extLst>
              <a:ext uri="{FF2B5EF4-FFF2-40B4-BE49-F238E27FC236}">
                <a16:creationId xmlns:a16="http://schemas.microsoft.com/office/drawing/2014/main" id="{9EC45182-F680-7B46-B2F3-F50F51BFD7E6}"/>
              </a:ext>
            </a:extLst>
          </p:cNvPr>
          <p:cNvSpPr>
            <a:spLocks noGrp="1"/>
          </p:cNvSpPr>
          <p:nvPr>
            <p:ph type="pic" sz="quarter" idx="24"/>
          </p:nvPr>
        </p:nvSpPr>
        <p:spPr>
          <a:xfrm>
            <a:off x="10295381"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50" name="Picture Placeholder 49">
            <a:extLst>
              <a:ext uri="{FF2B5EF4-FFF2-40B4-BE49-F238E27FC236}">
                <a16:creationId xmlns:a16="http://schemas.microsoft.com/office/drawing/2014/main" id="{05CAA1DF-8BCA-B346-9257-54A8C469DFF4}"/>
              </a:ext>
            </a:extLst>
          </p:cNvPr>
          <p:cNvSpPr>
            <a:spLocks noGrp="1"/>
          </p:cNvSpPr>
          <p:nvPr>
            <p:ph type="pic" sz="quarter" idx="25"/>
          </p:nvPr>
        </p:nvSpPr>
        <p:spPr>
          <a:xfrm>
            <a:off x="684705" y="3952805"/>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p:spPr>
        <p:txBody>
          <a:bodyPr wrap="square" anchor="ctr">
            <a:noAutofit/>
          </a:bodyPr>
          <a:lstStyle>
            <a:lvl1pPr marL="0" indent="0" algn="ctr">
              <a:buNone/>
              <a:defRPr sz="1600" b="1">
                <a:solidFill>
                  <a:schemeClr val="bg1"/>
                </a:solidFill>
              </a:defRPr>
            </a:lvl1pPr>
          </a:lstStyle>
          <a:p>
            <a:endParaRPr lang="en-CA"/>
          </a:p>
        </p:txBody>
      </p:sp>
      <p:sp>
        <p:nvSpPr>
          <p:cNvPr id="51" name="Text Placeholder 33">
            <a:extLst>
              <a:ext uri="{FF2B5EF4-FFF2-40B4-BE49-F238E27FC236}">
                <a16:creationId xmlns:a16="http://schemas.microsoft.com/office/drawing/2014/main" id="{AE6ED5DD-7B00-9246-8D2E-E5C76C26EC2D}"/>
              </a:ext>
            </a:extLst>
          </p:cNvPr>
          <p:cNvSpPr>
            <a:spLocks noGrp="1"/>
          </p:cNvSpPr>
          <p:nvPr>
            <p:ph type="body" sz="quarter" idx="26" hasCustomPrompt="1"/>
          </p:nvPr>
        </p:nvSpPr>
        <p:spPr>
          <a:xfrm>
            <a:off x="425632"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2" name="Text Placeholder 33">
            <a:extLst>
              <a:ext uri="{FF2B5EF4-FFF2-40B4-BE49-F238E27FC236}">
                <a16:creationId xmlns:a16="http://schemas.microsoft.com/office/drawing/2014/main" id="{4F0856C3-DC8D-3442-8548-FCDAB29634F1}"/>
              </a:ext>
            </a:extLst>
          </p:cNvPr>
          <p:cNvSpPr>
            <a:spLocks noGrp="1"/>
          </p:cNvSpPr>
          <p:nvPr>
            <p:ph type="body" sz="quarter" idx="27" hasCustomPrompt="1"/>
          </p:nvPr>
        </p:nvSpPr>
        <p:spPr>
          <a:xfrm>
            <a:off x="2349666"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3" name="Text Placeholder 33">
            <a:extLst>
              <a:ext uri="{FF2B5EF4-FFF2-40B4-BE49-F238E27FC236}">
                <a16:creationId xmlns:a16="http://schemas.microsoft.com/office/drawing/2014/main" id="{0DFEDC18-2911-EC49-BFC0-1628FBC2F1E2}"/>
              </a:ext>
            </a:extLst>
          </p:cNvPr>
          <p:cNvSpPr>
            <a:spLocks noGrp="1"/>
          </p:cNvSpPr>
          <p:nvPr>
            <p:ph type="body" sz="quarter" idx="28" hasCustomPrompt="1"/>
          </p:nvPr>
        </p:nvSpPr>
        <p:spPr>
          <a:xfrm>
            <a:off x="2349666"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4" name="Text Placeholder 33">
            <a:extLst>
              <a:ext uri="{FF2B5EF4-FFF2-40B4-BE49-F238E27FC236}">
                <a16:creationId xmlns:a16="http://schemas.microsoft.com/office/drawing/2014/main" id="{5886A89D-CE6F-4743-B41E-F734B60FC4E7}"/>
              </a:ext>
            </a:extLst>
          </p:cNvPr>
          <p:cNvSpPr>
            <a:spLocks noGrp="1"/>
          </p:cNvSpPr>
          <p:nvPr>
            <p:ph type="body" sz="quarter" idx="29" hasCustomPrompt="1"/>
          </p:nvPr>
        </p:nvSpPr>
        <p:spPr>
          <a:xfrm>
            <a:off x="4273700"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5" name="Text Placeholder 33">
            <a:extLst>
              <a:ext uri="{FF2B5EF4-FFF2-40B4-BE49-F238E27FC236}">
                <a16:creationId xmlns:a16="http://schemas.microsoft.com/office/drawing/2014/main" id="{80807306-F354-1B4F-B83A-CD420B88CC0F}"/>
              </a:ext>
            </a:extLst>
          </p:cNvPr>
          <p:cNvSpPr>
            <a:spLocks noGrp="1"/>
          </p:cNvSpPr>
          <p:nvPr>
            <p:ph type="body" sz="quarter" idx="30" hasCustomPrompt="1"/>
          </p:nvPr>
        </p:nvSpPr>
        <p:spPr>
          <a:xfrm>
            <a:off x="4273700"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6" name="Text Placeholder 33">
            <a:extLst>
              <a:ext uri="{FF2B5EF4-FFF2-40B4-BE49-F238E27FC236}">
                <a16:creationId xmlns:a16="http://schemas.microsoft.com/office/drawing/2014/main" id="{DB711AC4-8F2E-4742-BFB3-9F22ABCE7FDC}"/>
              </a:ext>
            </a:extLst>
          </p:cNvPr>
          <p:cNvSpPr>
            <a:spLocks noGrp="1"/>
          </p:cNvSpPr>
          <p:nvPr>
            <p:ph type="body" sz="quarter" idx="31" hasCustomPrompt="1"/>
          </p:nvPr>
        </p:nvSpPr>
        <p:spPr>
          <a:xfrm>
            <a:off x="6206360"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7" name="Text Placeholder 33">
            <a:extLst>
              <a:ext uri="{FF2B5EF4-FFF2-40B4-BE49-F238E27FC236}">
                <a16:creationId xmlns:a16="http://schemas.microsoft.com/office/drawing/2014/main" id="{82CAAF90-FF1B-2041-96CA-2F9501B5AEAD}"/>
              </a:ext>
            </a:extLst>
          </p:cNvPr>
          <p:cNvSpPr>
            <a:spLocks noGrp="1"/>
          </p:cNvSpPr>
          <p:nvPr>
            <p:ph type="body" sz="quarter" idx="32" hasCustomPrompt="1"/>
          </p:nvPr>
        </p:nvSpPr>
        <p:spPr>
          <a:xfrm>
            <a:off x="6206360"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9" name="Text Placeholder 33">
            <a:extLst>
              <a:ext uri="{FF2B5EF4-FFF2-40B4-BE49-F238E27FC236}">
                <a16:creationId xmlns:a16="http://schemas.microsoft.com/office/drawing/2014/main" id="{4553DFC2-701B-A84F-B813-6660935FE68D}"/>
              </a:ext>
            </a:extLst>
          </p:cNvPr>
          <p:cNvSpPr>
            <a:spLocks noGrp="1"/>
          </p:cNvSpPr>
          <p:nvPr>
            <p:ph type="body" sz="quarter" idx="33" hasCustomPrompt="1"/>
          </p:nvPr>
        </p:nvSpPr>
        <p:spPr>
          <a:xfrm>
            <a:off x="8130394"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0" name="Text Placeholder 33">
            <a:extLst>
              <a:ext uri="{FF2B5EF4-FFF2-40B4-BE49-F238E27FC236}">
                <a16:creationId xmlns:a16="http://schemas.microsoft.com/office/drawing/2014/main" id="{3C4C54FB-411E-F441-88EB-F13AEFF6B6EE}"/>
              </a:ext>
            </a:extLst>
          </p:cNvPr>
          <p:cNvSpPr>
            <a:spLocks noGrp="1"/>
          </p:cNvSpPr>
          <p:nvPr>
            <p:ph type="body" sz="quarter" idx="34" hasCustomPrompt="1"/>
          </p:nvPr>
        </p:nvSpPr>
        <p:spPr>
          <a:xfrm>
            <a:off x="8130394"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1" name="Text Placeholder 33">
            <a:extLst>
              <a:ext uri="{FF2B5EF4-FFF2-40B4-BE49-F238E27FC236}">
                <a16:creationId xmlns:a16="http://schemas.microsoft.com/office/drawing/2014/main" id="{5F774BA9-7702-9E4A-B764-6DB291147E93}"/>
              </a:ext>
            </a:extLst>
          </p:cNvPr>
          <p:cNvSpPr>
            <a:spLocks noGrp="1"/>
          </p:cNvSpPr>
          <p:nvPr>
            <p:ph type="body" sz="quarter" idx="35" hasCustomPrompt="1"/>
          </p:nvPr>
        </p:nvSpPr>
        <p:spPr>
          <a:xfrm>
            <a:off x="10063054" y="334418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2" name="Text Placeholder 33">
            <a:extLst>
              <a:ext uri="{FF2B5EF4-FFF2-40B4-BE49-F238E27FC236}">
                <a16:creationId xmlns:a16="http://schemas.microsoft.com/office/drawing/2014/main" id="{1CA8272A-10A4-A24A-8BAA-5B0AD12828D5}"/>
              </a:ext>
            </a:extLst>
          </p:cNvPr>
          <p:cNvSpPr>
            <a:spLocks noGrp="1"/>
          </p:cNvSpPr>
          <p:nvPr>
            <p:ph type="body" sz="quarter" idx="36" hasCustomPrompt="1"/>
          </p:nvPr>
        </p:nvSpPr>
        <p:spPr>
          <a:xfrm>
            <a:off x="10063054" y="356580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3" name="Text Placeholder 33">
            <a:extLst>
              <a:ext uri="{FF2B5EF4-FFF2-40B4-BE49-F238E27FC236}">
                <a16:creationId xmlns:a16="http://schemas.microsoft.com/office/drawing/2014/main" id="{C1B631FE-F961-384C-A206-DB714D9ED055}"/>
              </a:ext>
            </a:extLst>
          </p:cNvPr>
          <p:cNvSpPr>
            <a:spLocks noGrp="1"/>
          </p:cNvSpPr>
          <p:nvPr>
            <p:ph type="body" sz="quarter" idx="37" hasCustomPrompt="1"/>
          </p:nvPr>
        </p:nvSpPr>
        <p:spPr>
          <a:xfrm>
            <a:off x="425632"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4" name="Text Placeholder 33">
            <a:extLst>
              <a:ext uri="{FF2B5EF4-FFF2-40B4-BE49-F238E27FC236}">
                <a16:creationId xmlns:a16="http://schemas.microsoft.com/office/drawing/2014/main" id="{24A2C844-2509-344B-8349-C66F8058EBCD}"/>
              </a:ext>
            </a:extLst>
          </p:cNvPr>
          <p:cNvSpPr>
            <a:spLocks noGrp="1"/>
          </p:cNvSpPr>
          <p:nvPr>
            <p:ph type="body" sz="quarter" idx="38" hasCustomPrompt="1"/>
          </p:nvPr>
        </p:nvSpPr>
        <p:spPr>
          <a:xfrm>
            <a:off x="425632"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5" name="Text Placeholder 33">
            <a:extLst>
              <a:ext uri="{FF2B5EF4-FFF2-40B4-BE49-F238E27FC236}">
                <a16:creationId xmlns:a16="http://schemas.microsoft.com/office/drawing/2014/main" id="{57A5551D-A12D-E844-91F5-819FBC41D262}"/>
              </a:ext>
            </a:extLst>
          </p:cNvPr>
          <p:cNvSpPr>
            <a:spLocks noGrp="1"/>
          </p:cNvSpPr>
          <p:nvPr>
            <p:ph type="body" sz="quarter" idx="39" hasCustomPrompt="1"/>
          </p:nvPr>
        </p:nvSpPr>
        <p:spPr>
          <a:xfrm>
            <a:off x="2349666"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6" name="Text Placeholder 33">
            <a:extLst>
              <a:ext uri="{FF2B5EF4-FFF2-40B4-BE49-F238E27FC236}">
                <a16:creationId xmlns:a16="http://schemas.microsoft.com/office/drawing/2014/main" id="{E6666719-8F2A-FE4A-BB14-C098E671D2FB}"/>
              </a:ext>
            </a:extLst>
          </p:cNvPr>
          <p:cNvSpPr>
            <a:spLocks noGrp="1"/>
          </p:cNvSpPr>
          <p:nvPr>
            <p:ph type="body" sz="quarter" idx="40" hasCustomPrompt="1"/>
          </p:nvPr>
        </p:nvSpPr>
        <p:spPr>
          <a:xfrm>
            <a:off x="2349666"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7" name="Text Placeholder 33">
            <a:extLst>
              <a:ext uri="{FF2B5EF4-FFF2-40B4-BE49-F238E27FC236}">
                <a16:creationId xmlns:a16="http://schemas.microsoft.com/office/drawing/2014/main" id="{E4D269F3-E72F-5843-8915-06CBDFF812E2}"/>
              </a:ext>
            </a:extLst>
          </p:cNvPr>
          <p:cNvSpPr>
            <a:spLocks noGrp="1"/>
          </p:cNvSpPr>
          <p:nvPr>
            <p:ph type="body" sz="quarter" idx="41" hasCustomPrompt="1"/>
          </p:nvPr>
        </p:nvSpPr>
        <p:spPr>
          <a:xfrm>
            <a:off x="4273700"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8" name="Text Placeholder 33">
            <a:extLst>
              <a:ext uri="{FF2B5EF4-FFF2-40B4-BE49-F238E27FC236}">
                <a16:creationId xmlns:a16="http://schemas.microsoft.com/office/drawing/2014/main" id="{66A0001A-37D7-4B45-871B-E2BBADD19D55}"/>
              </a:ext>
            </a:extLst>
          </p:cNvPr>
          <p:cNvSpPr>
            <a:spLocks noGrp="1"/>
          </p:cNvSpPr>
          <p:nvPr>
            <p:ph type="body" sz="quarter" idx="42" hasCustomPrompt="1"/>
          </p:nvPr>
        </p:nvSpPr>
        <p:spPr>
          <a:xfrm>
            <a:off x="4273700"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9" name="Text Placeholder 33">
            <a:extLst>
              <a:ext uri="{FF2B5EF4-FFF2-40B4-BE49-F238E27FC236}">
                <a16:creationId xmlns:a16="http://schemas.microsoft.com/office/drawing/2014/main" id="{709D61D6-7FE2-5D4B-93A2-AEA47015EB83}"/>
              </a:ext>
            </a:extLst>
          </p:cNvPr>
          <p:cNvSpPr>
            <a:spLocks noGrp="1"/>
          </p:cNvSpPr>
          <p:nvPr>
            <p:ph type="body" sz="quarter" idx="43" hasCustomPrompt="1"/>
          </p:nvPr>
        </p:nvSpPr>
        <p:spPr>
          <a:xfrm>
            <a:off x="6206360"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70" name="Text Placeholder 33">
            <a:extLst>
              <a:ext uri="{FF2B5EF4-FFF2-40B4-BE49-F238E27FC236}">
                <a16:creationId xmlns:a16="http://schemas.microsoft.com/office/drawing/2014/main" id="{4A995E6D-2F95-4D4A-9F80-7A82A7F82B78}"/>
              </a:ext>
            </a:extLst>
          </p:cNvPr>
          <p:cNvSpPr>
            <a:spLocks noGrp="1"/>
          </p:cNvSpPr>
          <p:nvPr>
            <p:ph type="body" sz="quarter" idx="44" hasCustomPrompt="1"/>
          </p:nvPr>
        </p:nvSpPr>
        <p:spPr>
          <a:xfrm>
            <a:off x="6206360"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71" name="Text Placeholder 33">
            <a:extLst>
              <a:ext uri="{FF2B5EF4-FFF2-40B4-BE49-F238E27FC236}">
                <a16:creationId xmlns:a16="http://schemas.microsoft.com/office/drawing/2014/main" id="{B08D0868-A342-A242-98D7-73A3C3ED72B0}"/>
              </a:ext>
            </a:extLst>
          </p:cNvPr>
          <p:cNvSpPr>
            <a:spLocks noGrp="1"/>
          </p:cNvSpPr>
          <p:nvPr>
            <p:ph type="body" sz="quarter" idx="45" hasCustomPrompt="1"/>
          </p:nvPr>
        </p:nvSpPr>
        <p:spPr>
          <a:xfrm>
            <a:off x="8130394"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72" name="Text Placeholder 33">
            <a:extLst>
              <a:ext uri="{FF2B5EF4-FFF2-40B4-BE49-F238E27FC236}">
                <a16:creationId xmlns:a16="http://schemas.microsoft.com/office/drawing/2014/main" id="{86F90080-152B-6145-A698-242C2C58890B}"/>
              </a:ext>
            </a:extLst>
          </p:cNvPr>
          <p:cNvSpPr>
            <a:spLocks noGrp="1"/>
          </p:cNvSpPr>
          <p:nvPr>
            <p:ph type="body" sz="quarter" idx="46" hasCustomPrompt="1"/>
          </p:nvPr>
        </p:nvSpPr>
        <p:spPr>
          <a:xfrm>
            <a:off x="8130394"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73" name="Text Placeholder 33">
            <a:extLst>
              <a:ext uri="{FF2B5EF4-FFF2-40B4-BE49-F238E27FC236}">
                <a16:creationId xmlns:a16="http://schemas.microsoft.com/office/drawing/2014/main" id="{F2AA7219-71A9-3D4A-BC76-9B27DAD71FC2}"/>
              </a:ext>
            </a:extLst>
          </p:cNvPr>
          <p:cNvSpPr>
            <a:spLocks noGrp="1"/>
          </p:cNvSpPr>
          <p:nvPr>
            <p:ph type="body" sz="quarter" idx="47" hasCustomPrompt="1"/>
          </p:nvPr>
        </p:nvSpPr>
        <p:spPr>
          <a:xfrm>
            <a:off x="10063054" y="5349552"/>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74" name="Text Placeholder 33">
            <a:extLst>
              <a:ext uri="{FF2B5EF4-FFF2-40B4-BE49-F238E27FC236}">
                <a16:creationId xmlns:a16="http://schemas.microsoft.com/office/drawing/2014/main" id="{8E20ACE6-6296-1F46-BEC5-6D844AB25839}"/>
              </a:ext>
            </a:extLst>
          </p:cNvPr>
          <p:cNvSpPr>
            <a:spLocks noGrp="1"/>
          </p:cNvSpPr>
          <p:nvPr>
            <p:ph type="body" sz="quarter" idx="48" hasCustomPrompt="1"/>
          </p:nvPr>
        </p:nvSpPr>
        <p:spPr>
          <a:xfrm>
            <a:off x="10063054" y="5571176"/>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pic>
        <p:nvPicPr>
          <p:cNvPr id="58" name="Graphic 57">
            <a:extLst>
              <a:ext uri="{FF2B5EF4-FFF2-40B4-BE49-F238E27FC236}">
                <a16:creationId xmlns:a16="http://schemas.microsoft.com/office/drawing/2014/main" id="{05A66BE5-2793-B441-B3C3-6FA7A98D49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4" name="Title 1">
            <a:extLst>
              <a:ext uri="{FF2B5EF4-FFF2-40B4-BE49-F238E27FC236}">
                <a16:creationId xmlns:a16="http://schemas.microsoft.com/office/drawing/2014/main" id="{0B66B85A-5976-6B4E-9B8B-2749D732A0C0}"/>
              </a:ext>
            </a:extLst>
          </p:cNvPr>
          <p:cNvSpPr>
            <a:spLocks noGrp="1"/>
          </p:cNvSpPr>
          <p:nvPr>
            <p:ph type="title" hasCustomPrompt="1"/>
          </p:nvPr>
        </p:nvSpPr>
        <p:spPr>
          <a:xfrm>
            <a:off x="467422" y="816110"/>
            <a:ext cx="10937178" cy="530090"/>
          </a:xfrm>
        </p:spPr>
        <p:txBody>
          <a:bodyPr anchor="t">
            <a:noAutofit/>
          </a:bodyPr>
          <a:lstStyle>
            <a:lvl1pPr>
              <a:defRPr>
                <a:solidFill>
                  <a:srgbClr val="333333"/>
                </a:solidFill>
              </a:defRPr>
            </a:lvl1pPr>
          </a:lstStyle>
          <a:p>
            <a:r>
              <a:rPr lang="en-US"/>
              <a:t>Meet the Team</a:t>
            </a:r>
          </a:p>
        </p:txBody>
      </p:sp>
      <p:sp>
        <p:nvSpPr>
          <p:cNvPr id="75" name="Text Placeholder 4">
            <a:extLst>
              <a:ext uri="{FF2B5EF4-FFF2-40B4-BE49-F238E27FC236}">
                <a16:creationId xmlns:a16="http://schemas.microsoft.com/office/drawing/2014/main" id="{43C9DD61-C61A-D640-AF78-9CB4EE108257}"/>
              </a:ext>
            </a:extLst>
          </p:cNvPr>
          <p:cNvSpPr>
            <a:spLocks noGrp="1"/>
          </p:cNvSpPr>
          <p:nvPr>
            <p:ph type="body" sz="quarter" idx="49"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1491648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rg chart 1">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69292610-3493-BE43-9971-6B14D758BFB5}"/>
              </a:ext>
            </a:extLst>
          </p:cNvPr>
          <p:cNvSpPr>
            <a:spLocks noGrp="1"/>
          </p:cNvSpPr>
          <p:nvPr>
            <p:ph type="pic" sz="quarter" idx="13" hasCustomPrompt="1"/>
          </p:nvPr>
        </p:nvSpPr>
        <p:spPr>
          <a:xfrm>
            <a:off x="5477121" y="1242664"/>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34" name="Text Placeholder 33">
            <a:extLst>
              <a:ext uri="{FF2B5EF4-FFF2-40B4-BE49-F238E27FC236}">
                <a16:creationId xmlns:a16="http://schemas.microsoft.com/office/drawing/2014/main" id="{8E9EBD9D-1985-2B44-97F1-DF9B9176AD3E}"/>
              </a:ext>
            </a:extLst>
          </p:cNvPr>
          <p:cNvSpPr>
            <a:spLocks noGrp="1"/>
          </p:cNvSpPr>
          <p:nvPr>
            <p:ph type="body" sz="quarter" idx="12" hasCustomPrompt="1"/>
          </p:nvPr>
        </p:nvSpPr>
        <p:spPr>
          <a:xfrm>
            <a:off x="5218048" y="2626964"/>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1" name="Text Placeholder 33">
            <a:extLst>
              <a:ext uri="{FF2B5EF4-FFF2-40B4-BE49-F238E27FC236}">
                <a16:creationId xmlns:a16="http://schemas.microsoft.com/office/drawing/2014/main" id="{AE6ED5DD-7B00-9246-8D2E-E5C76C26EC2D}"/>
              </a:ext>
            </a:extLst>
          </p:cNvPr>
          <p:cNvSpPr>
            <a:spLocks noGrp="1"/>
          </p:cNvSpPr>
          <p:nvPr>
            <p:ph type="body" sz="quarter" idx="26" hasCustomPrompt="1"/>
          </p:nvPr>
        </p:nvSpPr>
        <p:spPr>
          <a:xfrm>
            <a:off x="5218048" y="2848588"/>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pic>
        <p:nvPicPr>
          <p:cNvPr id="58" name="Graphic 57">
            <a:extLst>
              <a:ext uri="{FF2B5EF4-FFF2-40B4-BE49-F238E27FC236}">
                <a16:creationId xmlns:a16="http://schemas.microsoft.com/office/drawing/2014/main" id="{05A66BE5-2793-B441-B3C3-6FA7A98D49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4" name="Title 1">
            <a:extLst>
              <a:ext uri="{FF2B5EF4-FFF2-40B4-BE49-F238E27FC236}">
                <a16:creationId xmlns:a16="http://schemas.microsoft.com/office/drawing/2014/main" id="{0B66B85A-5976-6B4E-9B8B-2749D732A0C0}"/>
              </a:ext>
            </a:extLst>
          </p:cNvPr>
          <p:cNvSpPr>
            <a:spLocks noGrp="1"/>
          </p:cNvSpPr>
          <p:nvPr>
            <p:ph type="title" hasCustomPrompt="1"/>
          </p:nvPr>
        </p:nvSpPr>
        <p:spPr>
          <a:xfrm>
            <a:off x="467422" y="816110"/>
            <a:ext cx="10937178" cy="530090"/>
          </a:xfrm>
        </p:spPr>
        <p:txBody>
          <a:bodyPr anchor="t">
            <a:noAutofit/>
          </a:bodyPr>
          <a:lstStyle>
            <a:lvl1pPr>
              <a:defRPr>
                <a:solidFill>
                  <a:srgbClr val="333333"/>
                </a:solidFill>
              </a:defRPr>
            </a:lvl1pPr>
          </a:lstStyle>
          <a:p>
            <a:r>
              <a:rPr lang="en-US"/>
              <a:t>Our Team</a:t>
            </a:r>
          </a:p>
        </p:txBody>
      </p:sp>
      <p:sp>
        <p:nvSpPr>
          <p:cNvPr id="89" name="Picture Placeholder 37">
            <a:extLst>
              <a:ext uri="{FF2B5EF4-FFF2-40B4-BE49-F238E27FC236}">
                <a16:creationId xmlns:a16="http://schemas.microsoft.com/office/drawing/2014/main" id="{9D5E41D8-A4FF-E64D-BCEF-48DE5A487E25}"/>
              </a:ext>
            </a:extLst>
          </p:cNvPr>
          <p:cNvSpPr>
            <a:spLocks noGrp="1"/>
          </p:cNvSpPr>
          <p:nvPr>
            <p:ph type="pic" sz="quarter" idx="37" hasCustomPrompt="1"/>
          </p:nvPr>
        </p:nvSpPr>
        <p:spPr>
          <a:xfrm>
            <a:off x="1985894" y="4046457"/>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90" name="Text Placeholder 33">
            <a:extLst>
              <a:ext uri="{FF2B5EF4-FFF2-40B4-BE49-F238E27FC236}">
                <a16:creationId xmlns:a16="http://schemas.microsoft.com/office/drawing/2014/main" id="{752830E1-22CA-5347-934A-57F131663BF3}"/>
              </a:ext>
            </a:extLst>
          </p:cNvPr>
          <p:cNvSpPr>
            <a:spLocks noGrp="1"/>
          </p:cNvSpPr>
          <p:nvPr>
            <p:ph type="body" sz="quarter" idx="38" hasCustomPrompt="1"/>
          </p:nvPr>
        </p:nvSpPr>
        <p:spPr>
          <a:xfrm>
            <a:off x="1726821" y="5430757"/>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91" name="Text Placeholder 33">
            <a:extLst>
              <a:ext uri="{FF2B5EF4-FFF2-40B4-BE49-F238E27FC236}">
                <a16:creationId xmlns:a16="http://schemas.microsoft.com/office/drawing/2014/main" id="{E340E937-1638-844C-BCCD-E04C7D0AD00D}"/>
              </a:ext>
            </a:extLst>
          </p:cNvPr>
          <p:cNvSpPr>
            <a:spLocks noGrp="1"/>
          </p:cNvSpPr>
          <p:nvPr>
            <p:ph type="body" sz="quarter" idx="39" hasCustomPrompt="1"/>
          </p:nvPr>
        </p:nvSpPr>
        <p:spPr>
          <a:xfrm>
            <a:off x="1726821" y="5652381"/>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92" name="Picture Placeholder 37">
            <a:extLst>
              <a:ext uri="{FF2B5EF4-FFF2-40B4-BE49-F238E27FC236}">
                <a16:creationId xmlns:a16="http://schemas.microsoft.com/office/drawing/2014/main" id="{BE7EA475-D95F-6645-B4CF-CBEF671453B5}"/>
              </a:ext>
            </a:extLst>
          </p:cNvPr>
          <p:cNvSpPr>
            <a:spLocks noGrp="1"/>
          </p:cNvSpPr>
          <p:nvPr>
            <p:ph type="pic" sz="quarter" idx="40" hasCustomPrompt="1"/>
          </p:nvPr>
        </p:nvSpPr>
        <p:spPr>
          <a:xfrm>
            <a:off x="4353536" y="4046457"/>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93" name="Text Placeholder 33">
            <a:extLst>
              <a:ext uri="{FF2B5EF4-FFF2-40B4-BE49-F238E27FC236}">
                <a16:creationId xmlns:a16="http://schemas.microsoft.com/office/drawing/2014/main" id="{D79B1817-F9A3-D343-89B4-8F966978D455}"/>
              </a:ext>
            </a:extLst>
          </p:cNvPr>
          <p:cNvSpPr>
            <a:spLocks noGrp="1"/>
          </p:cNvSpPr>
          <p:nvPr>
            <p:ph type="body" sz="quarter" idx="41" hasCustomPrompt="1"/>
          </p:nvPr>
        </p:nvSpPr>
        <p:spPr>
          <a:xfrm>
            <a:off x="4094463" y="5430757"/>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94" name="Text Placeholder 33">
            <a:extLst>
              <a:ext uri="{FF2B5EF4-FFF2-40B4-BE49-F238E27FC236}">
                <a16:creationId xmlns:a16="http://schemas.microsoft.com/office/drawing/2014/main" id="{D9B76D62-DFFB-8C4D-9332-A654D3B5EF5E}"/>
              </a:ext>
            </a:extLst>
          </p:cNvPr>
          <p:cNvSpPr>
            <a:spLocks noGrp="1"/>
          </p:cNvSpPr>
          <p:nvPr>
            <p:ph type="body" sz="quarter" idx="42" hasCustomPrompt="1"/>
          </p:nvPr>
        </p:nvSpPr>
        <p:spPr>
          <a:xfrm>
            <a:off x="4094463" y="5652381"/>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95" name="Picture Placeholder 37">
            <a:extLst>
              <a:ext uri="{FF2B5EF4-FFF2-40B4-BE49-F238E27FC236}">
                <a16:creationId xmlns:a16="http://schemas.microsoft.com/office/drawing/2014/main" id="{70F0AF73-057B-114E-B847-AA03A7709ACF}"/>
              </a:ext>
            </a:extLst>
          </p:cNvPr>
          <p:cNvSpPr>
            <a:spLocks noGrp="1"/>
          </p:cNvSpPr>
          <p:nvPr>
            <p:ph type="pic" sz="quarter" idx="43" hasCustomPrompt="1"/>
          </p:nvPr>
        </p:nvSpPr>
        <p:spPr>
          <a:xfrm>
            <a:off x="6672193" y="4046457"/>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96" name="Text Placeholder 33">
            <a:extLst>
              <a:ext uri="{FF2B5EF4-FFF2-40B4-BE49-F238E27FC236}">
                <a16:creationId xmlns:a16="http://schemas.microsoft.com/office/drawing/2014/main" id="{9F1448BC-2D33-9B46-A245-9B5F619D435E}"/>
              </a:ext>
            </a:extLst>
          </p:cNvPr>
          <p:cNvSpPr>
            <a:spLocks noGrp="1"/>
          </p:cNvSpPr>
          <p:nvPr>
            <p:ph type="body" sz="quarter" idx="44" hasCustomPrompt="1"/>
          </p:nvPr>
        </p:nvSpPr>
        <p:spPr>
          <a:xfrm>
            <a:off x="6413120" y="5430757"/>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97" name="Text Placeholder 33">
            <a:extLst>
              <a:ext uri="{FF2B5EF4-FFF2-40B4-BE49-F238E27FC236}">
                <a16:creationId xmlns:a16="http://schemas.microsoft.com/office/drawing/2014/main" id="{3E49414A-874E-CF4E-B522-355BD086C9C0}"/>
              </a:ext>
            </a:extLst>
          </p:cNvPr>
          <p:cNvSpPr>
            <a:spLocks noGrp="1"/>
          </p:cNvSpPr>
          <p:nvPr>
            <p:ph type="body" sz="quarter" idx="45" hasCustomPrompt="1"/>
          </p:nvPr>
        </p:nvSpPr>
        <p:spPr>
          <a:xfrm>
            <a:off x="6413120" y="5652381"/>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98" name="Picture Placeholder 37">
            <a:extLst>
              <a:ext uri="{FF2B5EF4-FFF2-40B4-BE49-F238E27FC236}">
                <a16:creationId xmlns:a16="http://schemas.microsoft.com/office/drawing/2014/main" id="{58CF8E7E-8D6F-4643-9E53-68711C5D3C08}"/>
              </a:ext>
            </a:extLst>
          </p:cNvPr>
          <p:cNvSpPr>
            <a:spLocks noGrp="1"/>
          </p:cNvSpPr>
          <p:nvPr>
            <p:ph type="pic" sz="quarter" idx="46" hasCustomPrompt="1"/>
          </p:nvPr>
        </p:nvSpPr>
        <p:spPr>
          <a:xfrm>
            <a:off x="8990850" y="4046457"/>
            <a:ext cx="1237758" cy="1238232"/>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99" name="Text Placeholder 33">
            <a:extLst>
              <a:ext uri="{FF2B5EF4-FFF2-40B4-BE49-F238E27FC236}">
                <a16:creationId xmlns:a16="http://schemas.microsoft.com/office/drawing/2014/main" id="{6350CDC5-0DF6-C84F-841A-B62649E2D796}"/>
              </a:ext>
            </a:extLst>
          </p:cNvPr>
          <p:cNvSpPr>
            <a:spLocks noGrp="1"/>
          </p:cNvSpPr>
          <p:nvPr>
            <p:ph type="body" sz="quarter" idx="47" hasCustomPrompt="1"/>
          </p:nvPr>
        </p:nvSpPr>
        <p:spPr>
          <a:xfrm>
            <a:off x="8731777" y="5430757"/>
            <a:ext cx="1729392" cy="187813"/>
          </a:xfrm>
        </p:spPr>
        <p:txBody>
          <a:bodyPr wrap="none">
            <a:noAutofit/>
          </a:bodyPr>
          <a:lstStyle>
            <a:lvl1pPr marL="0" indent="0" algn="ctr">
              <a:lnSpc>
                <a:spcPct val="100000"/>
              </a:lnSpc>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100" name="Text Placeholder 33">
            <a:extLst>
              <a:ext uri="{FF2B5EF4-FFF2-40B4-BE49-F238E27FC236}">
                <a16:creationId xmlns:a16="http://schemas.microsoft.com/office/drawing/2014/main" id="{78F53984-B56F-864D-B76B-C06188720EA8}"/>
              </a:ext>
            </a:extLst>
          </p:cNvPr>
          <p:cNvSpPr>
            <a:spLocks noGrp="1"/>
          </p:cNvSpPr>
          <p:nvPr>
            <p:ph type="body" sz="quarter" idx="48" hasCustomPrompt="1"/>
          </p:nvPr>
        </p:nvSpPr>
        <p:spPr>
          <a:xfrm>
            <a:off x="8731777" y="5652381"/>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101" name="Text Placeholder 4">
            <a:extLst>
              <a:ext uri="{FF2B5EF4-FFF2-40B4-BE49-F238E27FC236}">
                <a16:creationId xmlns:a16="http://schemas.microsoft.com/office/drawing/2014/main" id="{4F085EBA-CD5E-0A48-83D8-360EB5E2F5F6}"/>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34361877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Org chart 1">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69292610-3493-BE43-9971-6B14D758BFB5}"/>
              </a:ext>
            </a:extLst>
          </p:cNvPr>
          <p:cNvSpPr>
            <a:spLocks noGrp="1"/>
          </p:cNvSpPr>
          <p:nvPr>
            <p:ph type="pic" sz="quarter" idx="13" hasCustomPrompt="1"/>
          </p:nvPr>
        </p:nvSpPr>
        <p:spPr>
          <a:xfrm>
            <a:off x="661078" y="3047791"/>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indent="0" algn="ctr">
              <a:buNone/>
              <a:defRPr sz="1400" b="1">
                <a:solidFill>
                  <a:schemeClr val="bg1"/>
                </a:solidFill>
              </a:defRPr>
            </a:lvl1pPr>
          </a:lstStyle>
          <a:p>
            <a:r>
              <a:rPr lang="en-CA"/>
              <a:t>Drag picture here</a:t>
            </a:r>
          </a:p>
        </p:txBody>
      </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34" name="Text Placeholder 33">
            <a:extLst>
              <a:ext uri="{FF2B5EF4-FFF2-40B4-BE49-F238E27FC236}">
                <a16:creationId xmlns:a16="http://schemas.microsoft.com/office/drawing/2014/main" id="{8E9EBD9D-1985-2B44-97F1-DF9B9176AD3E}"/>
              </a:ext>
            </a:extLst>
          </p:cNvPr>
          <p:cNvSpPr>
            <a:spLocks noGrp="1"/>
          </p:cNvSpPr>
          <p:nvPr>
            <p:ph type="body" sz="quarter" idx="12" hasCustomPrompt="1"/>
          </p:nvPr>
        </p:nvSpPr>
        <p:spPr>
          <a:xfrm>
            <a:off x="267142" y="4284971"/>
            <a:ext cx="1729392" cy="187813"/>
          </a:xfrm>
        </p:spPr>
        <p:txBody>
          <a:bodyPr wrap="none">
            <a:noAutofit/>
          </a:bodyPr>
          <a:lstStyle>
            <a:lvl1pPr marL="0" indent="0" algn="ctr">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51" name="Text Placeholder 33">
            <a:extLst>
              <a:ext uri="{FF2B5EF4-FFF2-40B4-BE49-F238E27FC236}">
                <a16:creationId xmlns:a16="http://schemas.microsoft.com/office/drawing/2014/main" id="{AE6ED5DD-7B00-9246-8D2E-E5C76C26EC2D}"/>
              </a:ext>
            </a:extLst>
          </p:cNvPr>
          <p:cNvSpPr>
            <a:spLocks noGrp="1"/>
          </p:cNvSpPr>
          <p:nvPr>
            <p:ph type="body" sz="quarter" idx="26" hasCustomPrompt="1"/>
          </p:nvPr>
        </p:nvSpPr>
        <p:spPr>
          <a:xfrm>
            <a:off x="267142" y="4494720"/>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pic>
        <p:nvPicPr>
          <p:cNvPr id="58" name="Graphic 57">
            <a:extLst>
              <a:ext uri="{FF2B5EF4-FFF2-40B4-BE49-F238E27FC236}">
                <a16:creationId xmlns:a16="http://schemas.microsoft.com/office/drawing/2014/main" id="{05A66BE5-2793-B441-B3C3-6FA7A98D49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4" name="Title 1">
            <a:extLst>
              <a:ext uri="{FF2B5EF4-FFF2-40B4-BE49-F238E27FC236}">
                <a16:creationId xmlns:a16="http://schemas.microsoft.com/office/drawing/2014/main" id="{0B66B85A-5976-6B4E-9B8B-2749D732A0C0}"/>
              </a:ext>
            </a:extLst>
          </p:cNvPr>
          <p:cNvSpPr>
            <a:spLocks noGrp="1"/>
          </p:cNvSpPr>
          <p:nvPr>
            <p:ph type="title" hasCustomPrompt="1"/>
          </p:nvPr>
        </p:nvSpPr>
        <p:spPr>
          <a:xfrm>
            <a:off x="467422" y="816110"/>
            <a:ext cx="4645256" cy="530090"/>
          </a:xfrm>
        </p:spPr>
        <p:txBody>
          <a:bodyPr anchor="t">
            <a:noAutofit/>
          </a:bodyPr>
          <a:lstStyle>
            <a:lvl1pPr>
              <a:defRPr>
                <a:solidFill>
                  <a:srgbClr val="333333"/>
                </a:solidFill>
              </a:defRPr>
            </a:lvl1pPr>
          </a:lstStyle>
          <a:p>
            <a:r>
              <a:rPr lang="en-US"/>
              <a:t>Team name</a:t>
            </a:r>
          </a:p>
        </p:txBody>
      </p:sp>
      <p:sp>
        <p:nvSpPr>
          <p:cNvPr id="101" name="Text Placeholder 4">
            <a:extLst>
              <a:ext uri="{FF2B5EF4-FFF2-40B4-BE49-F238E27FC236}">
                <a16:creationId xmlns:a16="http://schemas.microsoft.com/office/drawing/2014/main" id="{4F085EBA-CD5E-0A48-83D8-360EB5E2F5F6}"/>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45" name="Text Placeholder 10">
            <a:extLst>
              <a:ext uri="{FF2B5EF4-FFF2-40B4-BE49-F238E27FC236}">
                <a16:creationId xmlns:a16="http://schemas.microsoft.com/office/drawing/2014/main" id="{DED3B15E-C32F-0443-9D70-0F806576728F}"/>
              </a:ext>
            </a:extLst>
          </p:cNvPr>
          <p:cNvSpPr>
            <a:spLocks noGrp="1"/>
          </p:cNvSpPr>
          <p:nvPr>
            <p:ph type="body" sz="quarter" idx="27" hasCustomPrompt="1"/>
          </p:nvPr>
        </p:nvSpPr>
        <p:spPr>
          <a:xfrm>
            <a:off x="467422" y="1618965"/>
            <a:ext cx="4645256" cy="850270"/>
          </a:xfrm>
        </p:spPr>
        <p:txBody>
          <a:bodyPr wrap="square">
            <a:noAutofit/>
          </a:bodyPr>
          <a:lstStyle>
            <a:lvl1pPr marL="0" indent="0">
              <a:lnSpc>
                <a:spcPct val="110000"/>
              </a:lnSpc>
              <a:buNone/>
              <a:defRPr sz="12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eam description. </a:t>
            </a:r>
            <a:r>
              <a:rPr lang="en-US" err="1"/>
              <a:t>Aliquet</a:t>
            </a:r>
            <a:r>
              <a:rPr lang="en-US"/>
              <a:t> </a:t>
            </a:r>
            <a:r>
              <a:rPr lang="en-US" err="1"/>
              <a:t>sagittis</a:t>
            </a:r>
            <a:r>
              <a:rPr lang="en-US"/>
              <a:t> id </a:t>
            </a:r>
            <a:r>
              <a:rPr lang="en-US" err="1"/>
              <a:t>consectetur</a:t>
            </a:r>
            <a:r>
              <a:rPr lang="en-US"/>
              <a:t> purus. Pellentesque id nibh tortor id aliquet lectus proin nibh nisl. Dolor sed viverra ipsum nunc aliquet bibendum enim facilisis. Feugiat in ante metus dictum. </a:t>
            </a:r>
          </a:p>
        </p:txBody>
      </p:sp>
      <p:sp>
        <p:nvSpPr>
          <p:cNvPr id="46" name="Picture Placeholder 37">
            <a:extLst>
              <a:ext uri="{FF2B5EF4-FFF2-40B4-BE49-F238E27FC236}">
                <a16:creationId xmlns:a16="http://schemas.microsoft.com/office/drawing/2014/main" id="{5E79D555-1F57-5F46-BA13-16A080808836}"/>
              </a:ext>
            </a:extLst>
          </p:cNvPr>
          <p:cNvSpPr>
            <a:spLocks noGrp="1"/>
          </p:cNvSpPr>
          <p:nvPr>
            <p:ph type="pic" sz="quarter" idx="28" hasCustomPrompt="1"/>
          </p:nvPr>
        </p:nvSpPr>
        <p:spPr>
          <a:xfrm>
            <a:off x="3540141" y="3047791"/>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47" name="Text Placeholder 33">
            <a:extLst>
              <a:ext uri="{FF2B5EF4-FFF2-40B4-BE49-F238E27FC236}">
                <a16:creationId xmlns:a16="http://schemas.microsoft.com/office/drawing/2014/main" id="{28562D87-F1C3-1046-96E6-01A3D9993683}"/>
              </a:ext>
            </a:extLst>
          </p:cNvPr>
          <p:cNvSpPr>
            <a:spLocks noGrp="1"/>
          </p:cNvSpPr>
          <p:nvPr>
            <p:ph type="body" sz="quarter" idx="29" hasCustomPrompt="1"/>
          </p:nvPr>
        </p:nvSpPr>
        <p:spPr>
          <a:xfrm>
            <a:off x="3125445" y="4284971"/>
            <a:ext cx="1729392" cy="187813"/>
          </a:xfrm>
        </p:spPr>
        <p:txBody>
          <a:bodyPr wrap="none">
            <a:noAutofit/>
          </a:bodyPr>
          <a:lstStyle>
            <a:lvl1pPr marL="0" indent="0" algn="ctr">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48" name="Text Placeholder 33">
            <a:extLst>
              <a:ext uri="{FF2B5EF4-FFF2-40B4-BE49-F238E27FC236}">
                <a16:creationId xmlns:a16="http://schemas.microsoft.com/office/drawing/2014/main" id="{808D6ADF-20F3-4242-8C36-DED73BDC3264}"/>
              </a:ext>
            </a:extLst>
          </p:cNvPr>
          <p:cNvSpPr>
            <a:spLocks noGrp="1"/>
          </p:cNvSpPr>
          <p:nvPr>
            <p:ph type="body" sz="quarter" idx="30" hasCustomPrompt="1"/>
          </p:nvPr>
        </p:nvSpPr>
        <p:spPr>
          <a:xfrm>
            <a:off x="3125445" y="4494720"/>
            <a:ext cx="1729392" cy="187813"/>
          </a:xfrm>
        </p:spPr>
        <p:txBody>
          <a:bodyPr wrap="none">
            <a:noAutofit/>
          </a:bodyPr>
          <a:lstStyle>
            <a:lvl1pPr marL="0" indent="0" algn="ctr">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55" name="Picture Placeholder 37">
            <a:extLst>
              <a:ext uri="{FF2B5EF4-FFF2-40B4-BE49-F238E27FC236}">
                <a16:creationId xmlns:a16="http://schemas.microsoft.com/office/drawing/2014/main" id="{550C8838-C327-D74E-8B99-C2DB291EFE57}"/>
              </a:ext>
            </a:extLst>
          </p:cNvPr>
          <p:cNvSpPr>
            <a:spLocks noGrp="1"/>
          </p:cNvSpPr>
          <p:nvPr>
            <p:ph type="pic" sz="quarter" idx="31" hasCustomPrompt="1"/>
          </p:nvPr>
        </p:nvSpPr>
        <p:spPr>
          <a:xfrm>
            <a:off x="6366469" y="803354"/>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56" name="Picture Placeholder 37">
            <a:extLst>
              <a:ext uri="{FF2B5EF4-FFF2-40B4-BE49-F238E27FC236}">
                <a16:creationId xmlns:a16="http://schemas.microsoft.com/office/drawing/2014/main" id="{CFDFB450-7014-AD42-8997-09393C199771}"/>
              </a:ext>
            </a:extLst>
          </p:cNvPr>
          <p:cNvSpPr>
            <a:spLocks noGrp="1"/>
          </p:cNvSpPr>
          <p:nvPr>
            <p:ph type="pic" sz="quarter" idx="32" hasCustomPrompt="1"/>
          </p:nvPr>
        </p:nvSpPr>
        <p:spPr>
          <a:xfrm>
            <a:off x="6366469" y="1919634"/>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57" name="Picture Placeholder 37">
            <a:extLst>
              <a:ext uri="{FF2B5EF4-FFF2-40B4-BE49-F238E27FC236}">
                <a16:creationId xmlns:a16="http://schemas.microsoft.com/office/drawing/2014/main" id="{664607EC-8F74-CF4F-ADDC-42C9EB0168E9}"/>
              </a:ext>
            </a:extLst>
          </p:cNvPr>
          <p:cNvSpPr>
            <a:spLocks noGrp="1"/>
          </p:cNvSpPr>
          <p:nvPr>
            <p:ph type="pic" sz="quarter" idx="33" hasCustomPrompt="1"/>
          </p:nvPr>
        </p:nvSpPr>
        <p:spPr>
          <a:xfrm>
            <a:off x="6366469" y="3059665"/>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59" name="Picture Placeholder 37">
            <a:extLst>
              <a:ext uri="{FF2B5EF4-FFF2-40B4-BE49-F238E27FC236}">
                <a16:creationId xmlns:a16="http://schemas.microsoft.com/office/drawing/2014/main" id="{47ABB8E4-BB95-364A-9DD6-82506BE76DDD}"/>
              </a:ext>
            </a:extLst>
          </p:cNvPr>
          <p:cNvSpPr>
            <a:spLocks noGrp="1"/>
          </p:cNvSpPr>
          <p:nvPr>
            <p:ph type="pic" sz="quarter" idx="34" hasCustomPrompt="1"/>
          </p:nvPr>
        </p:nvSpPr>
        <p:spPr>
          <a:xfrm>
            <a:off x="6366469" y="4187820"/>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60" name="Picture Placeholder 37">
            <a:extLst>
              <a:ext uri="{FF2B5EF4-FFF2-40B4-BE49-F238E27FC236}">
                <a16:creationId xmlns:a16="http://schemas.microsoft.com/office/drawing/2014/main" id="{DEA11CD6-2DE4-C64B-96F4-0638B7F969B8}"/>
              </a:ext>
            </a:extLst>
          </p:cNvPr>
          <p:cNvSpPr>
            <a:spLocks noGrp="1"/>
          </p:cNvSpPr>
          <p:nvPr>
            <p:ph type="pic" sz="quarter" idx="35" hasCustomPrompt="1"/>
          </p:nvPr>
        </p:nvSpPr>
        <p:spPr>
          <a:xfrm>
            <a:off x="6366469" y="5315976"/>
            <a:ext cx="900000" cy="900000"/>
          </a:xfrm>
          <a:custGeom>
            <a:avLst/>
            <a:gdLst>
              <a:gd name="connsiteX0" fmla="*/ 617307 w 1237758"/>
              <a:gd name="connsiteY0" fmla="*/ 0 h 1238232"/>
              <a:gd name="connsiteX1" fmla="*/ 621117 w 1237758"/>
              <a:gd name="connsiteY1" fmla="*/ 0 h 1238232"/>
              <a:gd name="connsiteX2" fmla="*/ 744005 w 1237758"/>
              <a:gd name="connsiteY2" fmla="*/ 12388 h 1238232"/>
              <a:gd name="connsiteX3" fmla="*/ 1225844 w 1237758"/>
              <a:gd name="connsiteY3" fmla="*/ 494227 h 1238232"/>
              <a:gd name="connsiteX4" fmla="*/ 1237758 w 1237758"/>
              <a:gd name="connsiteY4" fmla="*/ 612414 h 1238232"/>
              <a:gd name="connsiteX5" fmla="*/ 1237758 w 1237758"/>
              <a:gd name="connsiteY5" fmla="*/ 625627 h 1238232"/>
              <a:gd name="connsiteX6" fmla="*/ 1225844 w 1237758"/>
              <a:gd name="connsiteY6" fmla="*/ 743813 h 1238232"/>
              <a:gd name="connsiteX7" fmla="*/ 619212 w 1237758"/>
              <a:gd name="connsiteY7" fmla="*/ 1238232 h 1238232"/>
              <a:gd name="connsiteX8" fmla="*/ 0 w 1237758"/>
              <a:gd name="connsiteY8" fmla="*/ 619020 h 1238232"/>
              <a:gd name="connsiteX9" fmla="*/ 494419 w 1237758"/>
              <a:gd name="connsiteY9" fmla="*/ 12388 h 123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758" h="1238232">
                <a:moveTo>
                  <a:pt x="617307" y="0"/>
                </a:moveTo>
                <a:lnTo>
                  <a:pt x="621117" y="0"/>
                </a:lnTo>
                <a:lnTo>
                  <a:pt x="744005" y="12388"/>
                </a:lnTo>
                <a:cubicBezTo>
                  <a:pt x="985860" y="61879"/>
                  <a:pt x="1176353" y="252372"/>
                  <a:pt x="1225844" y="494227"/>
                </a:cubicBezTo>
                <a:lnTo>
                  <a:pt x="1237758" y="612414"/>
                </a:lnTo>
                <a:lnTo>
                  <a:pt x="1237758" y="625627"/>
                </a:lnTo>
                <a:lnTo>
                  <a:pt x="1225844" y="743813"/>
                </a:lnTo>
                <a:cubicBezTo>
                  <a:pt x="1168105" y="1025977"/>
                  <a:pt x="918445" y="1238232"/>
                  <a:pt x="619212" y="1238232"/>
                </a:cubicBezTo>
                <a:cubicBezTo>
                  <a:pt x="277231" y="1238232"/>
                  <a:pt x="0" y="961001"/>
                  <a:pt x="0" y="619020"/>
                </a:cubicBezTo>
                <a:cubicBezTo>
                  <a:pt x="0" y="319787"/>
                  <a:pt x="212255" y="70128"/>
                  <a:pt x="494419" y="12388"/>
                </a:cubicBezTo>
                <a:close/>
              </a:path>
            </a:pathLst>
          </a:custGeom>
          <a:solidFill>
            <a:srgbClr val="949494"/>
          </a:solidFill>
          <a:ln w="6350">
            <a:solidFill>
              <a:srgbClr val="999999"/>
            </a:solidFill>
          </a:ln>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1">
                <a:solidFill>
                  <a:schemeClr val="bg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a:t>Drag picture here</a:t>
            </a:r>
          </a:p>
        </p:txBody>
      </p:sp>
      <p:sp>
        <p:nvSpPr>
          <p:cNvPr id="61" name="Text Placeholder 33">
            <a:extLst>
              <a:ext uri="{FF2B5EF4-FFF2-40B4-BE49-F238E27FC236}">
                <a16:creationId xmlns:a16="http://schemas.microsoft.com/office/drawing/2014/main" id="{D2F0FE01-E764-FF41-80BD-1739E8BBEBD5}"/>
              </a:ext>
            </a:extLst>
          </p:cNvPr>
          <p:cNvSpPr>
            <a:spLocks noGrp="1"/>
          </p:cNvSpPr>
          <p:nvPr>
            <p:ph type="body" sz="quarter" idx="36" hasCustomPrompt="1"/>
          </p:nvPr>
        </p:nvSpPr>
        <p:spPr>
          <a:xfrm>
            <a:off x="7526590" y="1066502"/>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2" name="Text Placeholder 33">
            <a:extLst>
              <a:ext uri="{FF2B5EF4-FFF2-40B4-BE49-F238E27FC236}">
                <a16:creationId xmlns:a16="http://schemas.microsoft.com/office/drawing/2014/main" id="{79957A8F-AA2E-E848-ABA7-B9A4C0E1E33C}"/>
              </a:ext>
            </a:extLst>
          </p:cNvPr>
          <p:cNvSpPr>
            <a:spLocks noGrp="1"/>
          </p:cNvSpPr>
          <p:nvPr>
            <p:ph type="body" sz="quarter" idx="37" hasCustomPrompt="1"/>
          </p:nvPr>
        </p:nvSpPr>
        <p:spPr>
          <a:xfrm>
            <a:off x="7526590" y="1276251"/>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3" name="Text Placeholder 33">
            <a:extLst>
              <a:ext uri="{FF2B5EF4-FFF2-40B4-BE49-F238E27FC236}">
                <a16:creationId xmlns:a16="http://schemas.microsoft.com/office/drawing/2014/main" id="{703DF5EC-96B2-2940-92A4-C2C5B1A8EDC4}"/>
              </a:ext>
            </a:extLst>
          </p:cNvPr>
          <p:cNvSpPr>
            <a:spLocks noGrp="1"/>
          </p:cNvSpPr>
          <p:nvPr>
            <p:ph type="body" sz="quarter" idx="38" hasCustomPrompt="1"/>
          </p:nvPr>
        </p:nvSpPr>
        <p:spPr>
          <a:xfrm>
            <a:off x="7526590" y="2182782"/>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4" name="Text Placeholder 33">
            <a:extLst>
              <a:ext uri="{FF2B5EF4-FFF2-40B4-BE49-F238E27FC236}">
                <a16:creationId xmlns:a16="http://schemas.microsoft.com/office/drawing/2014/main" id="{F3337EA9-1287-BF48-8C64-C6EE2B9DEBBF}"/>
              </a:ext>
            </a:extLst>
          </p:cNvPr>
          <p:cNvSpPr>
            <a:spLocks noGrp="1"/>
          </p:cNvSpPr>
          <p:nvPr>
            <p:ph type="body" sz="quarter" idx="39" hasCustomPrompt="1"/>
          </p:nvPr>
        </p:nvSpPr>
        <p:spPr>
          <a:xfrm>
            <a:off x="7526590" y="2392531"/>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5" name="Text Placeholder 33">
            <a:extLst>
              <a:ext uri="{FF2B5EF4-FFF2-40B4-BE49-F238E27FC236}">
                <a16:creationId xmlns:a16="http://schemas.microsoft.com/office/drawing/2014/main" id="{401E7D6B-DF4A-5345-8FFA-9B9C293D9777}"/>
              </a:ext>
            </a:extLst>
          </p:cNvPr>
          <p:cNvSpPr>
            <a:spLocks noGrp="1"/>
          </p:cNvSpPr>
          <p:nvPr>
            <p:ph type="body" sz="quarter" idx="40" hasCustomPrompt="1"/>
          </p:nvPr>
        </p:nvSpPr>
        <p:spPr>
          <a:xfrm>
            <a:off x="7526590" y="3299063"/>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6" name="Text Placeholder 33">
            <a:extLst>
              <a:ext uri="{FF2B5EF4-FFF2-40B4-BE49-F238E27FC236}">
                <a16:creationId xmlns:a16="http://schemas.microsoft.com/office/drawing/2014/main" id="{011CBD36-1567-1A4C-93A6-625F060039AA}"/>
              </a:ext>
            </a:extLst>
          </p:cNvPr>
          <p:cNvSpPr>
            <a:spLocks noGrp="1"/>
          </p:cNvSpPr>
          <p:nvPr>
            <p:ph type="body" sz="quarter" idx="41" hasCustomPrompt="1"/>
          </p:nvPr>
        </p:nvSpPr>
        <p:spPr>
          <a:xfrm>
            <a:off x="7526590" y="3508812"/>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7" name="Text Placeholder 33">
            <a:extLst>
              <a:ext uri="{FF2B5EF4-FFF2-40B4-BE49-F238E27FC236}">
                <a16:creationId xmlns:a16="http://schemas.microsoft.com/office/drawing/2014/main" id="{C0D6D72E-D748-DA42-A7E8-73E291792DA5}"/>
              </a:ext>
            </a:extLst>
          </p:cNvPr>
          <p:cNvSpPr>
            <a:spLocks noGrp="1"/>
          </p:cNvSpPr>
          <p:nvPr>
            <p:ph type="body" sz="quarter" idx="42" hasCustomPrompt="1"/>
          </p:nvPr>
        </p:nvSpPr>
        <p:spPr>
          <a:xfrm>
            <a:off x="7526590" y="4450970"/>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68" name="Text Placeholder 33">
            <a:extLst>
              <a:ext uri="{FF2B5EF4-FFF2-40B4-BE49-F238E27FC236}">
                <a16:creationId xmlns:a16="http://schemas.microsoft.com/office/drawing/2014/main" id="{8B71C35F-76C8-ED4A-897A-ED8F0FDD0943}"/>
              </a:ext>
            </a:extLst>
          </p:cNvPr>
          <p:cNvSpPr>
            <a:spLocks noGrp="1"/>
          </p:cNvSpPr>
          <p:nvPr>
            <p:ph type="body" sz="quarter" idx="43" hasCustomPrompt="1"/>
          </p:nvPr>
        </p:nvSpPr>
        <p:spPr>
          <a:xfrm>
            <a:off x="7526590" y="4660719"/>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
        <p:nvSpPr>
          <p:cNvPr id="69" name="Text Placeholder 33">
            <a:extLst>
              <a:ext uri="{FF2B5EF4-FFF2-40B4-BE49-F238E27FC236}">
                <a16:creationId xmlns:a16="http://schemas.microsoft.com/office/drawing/2014/main" id="{AFA7C71A-7090-C74A-8CFB-AD4D9DB3A05C}"/>
              </a:ext>
            </a:extLst>
          </p:cNvPr>
          <p:cNvSpPr>
            <a:spLocks noGrp="1"/>
          </p:cNvSpPr>
          <p:nvPr>
            <p:ph type="body" sz="quarter" idx="44" hasCustomPrompt="1"/>
          </p:nvPr>
        </p:nvSpPr>
        <p:spPr>
          <a:xfrm>
            <a:off x="7526590" y="5567250"/>
            <a:ext cx="3517462" cy="219150"/>
          </a:xfrm>
        </p:spPr>
        <p:txBody>
          <a:bodyPr wrap="none">
            <a:noAutofit/>
          </a:bodyPr>
          <a:lstStyle>
            <a:lvl1pPr marL="0" indent="0" algn="l">
              <a:lnSpc>
                <a:spcPct val="100000"/>
              </a:lnSpc>
              <a:spcBef>
                <a:spcPts val="0"/>
              </a:spcBef>
              <a:buNone/>
              <a:defRPr sz="1200" b="1"/>
            </a:lvl1pPr>
            <a:lvl2pPr marL="457200" indent="0" algn="ctr">
              <a:lnSpc>
                <a:spcPct val="100000"/>
              </a:lnSpc>
              <a:buNone/>
              <a:defRPr sz="900" i="1"/>
            </a:lvl2pPr>
            <a:lvl3pPr>
              <a:defRPr sz="1000"/>
            </a:lvl3pPr>
            <a:lvl4pPr>
              <a:defRPr sz="1000"/>
            </a:lvl4pPr>
            <a:lvl5pPr>
              <a:defRPr sz="1000"/>
            </a:lvl5pPr>
          </a:lstStyle>
          <a:p>
            <a:pPr lvl="0"/>
            <a:r>
              <a:rPr lang="en-US"/>
              <a:t>First Last name</a:t>
            </a:r>
          </a:p>
        </p:txBody>
      </p:sp>
      <p:sp>
        <p:nvSpPr>
          <p:cNvPr id="70" name="Text Placeholder 33">
            <a:extLst>
              <a:ext uri="{FF2B5EF4-FFF2-40B4-BE49-F238E27FC236}">
                <a16:creationId xmlns:a16="http://schemas.microsoft.com/office/drawing/2014/main" id="{5B9F2254-D029-0C4D-BE7E-5C6419C1F916}"/>
              </a:ext>
            </a:extLst>
          </p:cNvPr>
          <p:cNvSpPr>
            <a:spLocks noGrp="1"/>
          </p:cNvSpPr>
          <p:nvPr>
            <p:ph type="body" sz="quarter" idx="45" hasCustomPrompt="1"/>
          </p:nvPr>
        </p:nvSpPr>
        <p:spPr>
          <a:xfrm>
            <a:off x="7526590" y="5776999"/>
            <a:ext cx="3517462" cy="219150"/>
          </a:xfrm>
        </p:spPr>
        <p:txBody>
          <a:bodyPr wrap="none">
            <a:noAutofit/>
          </a:bodyPr>
          <a:lstStyle>
            <a:lvl1pPr marL="0" indent="0" algn="l">
              <a:lnSpc>
                <a:spcPct val="100000"/>
              </a:lnSpc>
              <a:spcBef>
                <a:spcPts val="0"/>
              </a:spcBef>
              <a:buNone/>
              <a:defRPr sz="1200" b="0" i="0"/>
            </a:lvl1pPr>
            <a:lvl2pPr marL="457200" indent="0" algn="ctr">
              <a:lnSpc>
                <a:spcPct val="100000"/>
              </a:lnSpc>
              <a:buNone/>
              <a:defRPr sz="900" i="1"/>
            </a:lvl2pPr>
            <a:lvl3pPr>
              <a:defRPr sz="1000"/>
            </a:lvl3pPr>
            <a:lvl4pPr>
              <a:defRPr sz="1000"/>
            </a:lvl4pPr>
            <a:lvl5pPr>
              <a:defRPr sz="1000"/>
            </a:lvl5pPr>
          </a:lstStyle>
          <a:p>
            <a:pPr lvl="0"/>
            <a:r>
              <a:rPr lang="en-US"/>
              <a:t>Job title/role</a:t>
            </a:r>
          </a:p>
        </p:txBody>
      </p:sp>
    </p:spTree>
    <p:extLst>
      <p:ext uri="{BB962C8B-B14F-4D97-AF65-F5344CB8AC3E}">
        <p14:creationId xmlns:p14="http://schemas.microsoft.com/office/powerpoint/2010/main" val="25164291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Org chart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BAD3E5-0007-EA45-9351-EE736951D0F7}"/>
              </a:ext>
            </a:extLst>
          </p:cNvPr>
          <p:cNvSpPr>
            <a:spLocks noGrp="1"/>
          </p:cNvSpPr>
          <p:nvPr>
            <p:ph type="body" sz="quarter" idx="28" hasCustomPrompt="1"/>
          </p:nvPr>
        </p:nvSpPr>
        <p:spPr>
          <a:xfrm>
            <a:off x="7111831" y="1002271"/>
            <a:ext cx="1693150" cy="648956"/>
          </a:xfrm>
          <a:solidFill>
            <a:srgbClr val="333333"/>
          </a:solidFill>
        </p:spPr>
        <p:txBody>
          <a:bodyPr lIns="180000" tIns="180000" rIns="180000" bIns="144000" anchor="ctr">
            <a:noAutofit/>
          </a:bodyPr>
          <a:lstStyle>
            <a:lvl1pPr marL="0" indent="0" algn="ctr">
              <a:lnSpc>
                <a:spcPct val="100000"/>
              </a:lnSpc>
              <a:spcBef>
                <a:spcPts val="0"/>
              </a:spcBef>
              <a:buNone/>
              <a:defRPr sz="1050" b="1">
                <a:solidFill>
                  <a:schemeClr val="bg1"/>
                </a:solidFill>
              </a:defRPr>
            </a:lvl1pPr>
            <a:lvl2pPr marL="457200" indent="0" algn="ctr">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58" name="Graphic 57">
            <a:extLst>
              <a:ext uri="{FF2B5EF4-FFF2-40B4-BE49-F238E27FC236}">
                <a16:creationId xmlns:a16="http://schemas.microsoft.com/office/drawing/2014/main" id="{05A66BE5-2793-B441-B3C3-6FA7A98D49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44" name="Title 1">
            <a:extLst>
              <a:ext uri="{FF2B5EF4-FFF2-40B4-BE49-F238E27FC236}">
                <a16:creationId xmlns:a16="http://schemas.microsoft.com/office/drawing/2014/main" id="{0B66B85A-5976-6B4E-9B8B-2749D732A0C0}"/>
              </a:ext>
            </a:extLst>
          </p:cNvPr>
          <p:cNvSpPr>
            <a:spLocks noGrp="1"/>
          </p:cNvSpPr>
          <p:nvPr>
            <p:ph type="title" hasCustomPrompt="1"/>
          </p:nvPr>
        </p:nvSpPr>
        <p:spPr>
          <a:xfrm>
            <a:off x="467422" y="816109"/>
            <a:ext cx="3202535" cy="2109141"/>
          </a:xfrm>
        </p:spPr>
        <p:txBody>
          <a:bodyPr anchor="t">
            <a:noAutofit/>
          </a:bodyPr>
          <a:lstStyle>
            <a:lvl1pPr>
              <a:defRPr>
                <a:solidFill>
                  <a:srgbClr val="333333"/>
                </a:solidFill>
              </a:defRPr>
            </a:lvl1pPr>
          </a:lstStyle>
          <a:p>
            <a:r>
              <a:rPr lang="en-US"/>
              <a:t>More complicated team org charts</a:t>
            </a:r>
          </a:p>
        </p:txBody>
      </p:sp>
      <p:sp>
        <p:nvSpPr>
          <p:cNvPr id="101" name="Text Placeholder 4">
            <a:extLst>
              <a:ext uri="{FF2B5EF4-FFF2-40B4-BE49-F238E27FC236}">
                <a16:creationId xmlns:a16="http://schemas.microsoft.com/office/drawing/2014/main" id="{4F085EBA-CD5E-0A48-83D8-360EB5E2F5F6}"/>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45" name="Text Placeholder 10">
            <a:extLst>
              <a:ext uri="{FF2B5EF4-FFF2-40B4-BE49-F238E27FC236}">
                <a16:creationId xmlns:a16="http://schemas.microsoft.com/office/drawing/2014/main" id="{DED3B15E-C32F-0443-9D70-0F806576728F}"/>
              </a:ext>
            </a:extLst>
          </p:cNvPr>
          <p:cNvSpPr>
            <a:spLocks noGrp="1"/>
          </p:cNvSpPr>
          <p:nvPr>
            <p:ph type="body" sz="quarter" idx="27" hasCustomPrompt="1"/>
          </p:nvPr>
        </p:nvSpPr>
        <p:spPr>
          <a:xfrm>
            <a:off x="467422" y="3361937"/>
            <a:ext cx="3202528" cy="1019598"/>
          </a:xfrm>
        </p:spPr>
        <p:txBody>
          <a:bodyPr wrap="square">
            <a:noAutofit/>
          </a:bodyPr>
          <a:lstStyle>
            <a:lvl1pPr marL="0" indent="0">
              <a:lnSpc>
                <a:spcPct val="110000"/>
              </a:lnSpc>
              <a:buNone/>
              <a:defRPr sz="12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Team description. </a:t>
            </a:r>
            <a:r>
              <a:rPr lang="en-US" err="1"/>
              <a:t>Aliquet</a:t>
            </a:r>
            <a:r>
              <a:rPr lang="en-US"/>
              <a:t> </a:t>
            </a:r>
            <a:r>
              <a:rPr lang="en-US" err="1"/>
              <a:t>sagittis</a:t>
            </a:r>
            <a:r>
              <a:rPr lang="en-US"/>
              <a:t> id </a:t>
            </a:r>
            <a:r>
              <a:rPr lang="en-US" err="1"/>
              <a:t>consectetur</a:t>
            </a:r>
            <a:r>
              <a:rPr lang="en-US"/>
              <a:t> purus. Pellentesque id nibh tortor id aliquet lectus proin nibh nisl. Dolor sed viverra ipsum nunc aliquet bibendum enim facilisis. Feugiat in ante metus dictum. </a:t>
            </a:r>
          </a:p>
        </p:txBody>
      </p:sp>
      <p:sp>
        <p:nvSpPr>
          <p:cNvPr id="102" name="Text Placeholder 2">
            <a:extLst>
              <a:ext uri="{FF2B5EF4-FFF2-40B4-BE49-F238E27FC236}">
                <a16:creationId xmlns:a16="http://schemas.microsoft.com/office/drawing/2014/main" id="{2315EBA0-61DD-3D41-9B4F-61FF60F94069}"/>
              </a:ext>
            </a:extLst>
          </p:cNvPr>
          <p:cNvSpPr>
            <a:spLocks noGrp="1"/>
          </p:cNvSpPr>
          <p:nvPr>
            <p:ph type="body" sz="quarter" idx="29" hasCustomPrompt="1"/>
          </p:nvPr>
        </p:nvSpPr>
        <p:spPr>
          <a:xfrm>
            <a:off x="4319879" y="2064191"/>
            <a:ext cx="1600825" cy="660634"/>
          </a:xfrm>
          <a:solidFill>
            <a:srgbClr val="009DD6"/>
          </a:solidFill>
        </p:spPr>
        <p:txBody>
          <a:bodyPr lIns="180000" tIns="180000" rIns="180000" bIns="144000" anchor="ctr">
            <a:noAutofit/>
          </a:bodyPr>
          <a:lstStyle>
            <a:lvl1pPr marL="0" indent="0" algn="ctr" latinLnBrk="0" hangingPunct="0">
              <a:lnSpc>
                <a:spcPct val="100000"/>
              </a:lnSpc>
              <a:spcBef>
                <a:spcPts val="0"/>
              </a:spcBef>
              <a:buNone/>
              <a:defRPr sz="1050" b="1">
                <a:solidFill>
                  <a:schemeClr val="bg1"/>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3" name="Text Placeholder 2">
            <a:extLst>
              <a:ext uri="{FF2B5EF4-FFF2-40B4-BE49-F238E27FC236}">
                <a16:creationId xmlns:a16="http://schemas.microsoft.com/office/drawing/2014/main" id="{45F942C0-C4F6-0F4B-AFBE-6CDA10ABAB56}"/>
              </a:ext>
            </a:extLst>
          </p:cNvPr>
          <p:cNvSpPr>
            <a:spLocks noGrp="1"/>
          </p:cNvSpPr>
          <p:nvPr>
            <p:ph type="body" sz="quarter" idx="30" hasCustomPrompt="1"/>
          </p:nvPr>
        </p:nvSpPr>
        <p:spPr>
          <a:xfrm>
            <a:off x="6210463" y="2064191"/>
            <a:ext cx="1600825" cy="660634"/>
          </a:xfrm>
          <a:solidFill>
            <a:srgbClr val="009DD6"/>
          </a:solidFill>
        </p:spPr>
        <p:txBody>
          <a:bodyPr lIns="180000" tIns="180000" rIns="180000" bIns="144000" anchor="ctr">
            <a:noAutofit/>
          </a:bodyPr>
          <a:lstStyle>
            <a:lvl1pPr marL="0" indent="0" algn="ctr" latinLnBrk="0" hangingPunct="0">
              <a:lnSpc>
                <a:spcPct val="100000"/>
              </a:lnSpc>
              <a:spcBef>
                <a:spcPts val="0"/>
              </a:spcBef>
              <a:buNone/>
              <a:defRPr sz="1050" b="1">
                <a:solidFill>
                  <a:schemeClr val="bg1"/>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4" name="Text Placeholder 2">
            <a:extLst>
              <a:ext uri="{FF2B5EF4-FFF2-40B4-BE49-F238E27FC236}">
                <a16:creationId xmlns:a16="http://schemas.microsoft.com/office/drawing/2014/main" id="{7A02330C-3D25-A34A-8411-8A046D3EC7EC}"/>
              </a:ext>
            </a:extLst>
          </p:cNvPr>
          <p:cNvSpPr>
            <a:spLocks noGrp="1"/>
          </p:cNvSpPr>
          <p:nvPr>
            <p:ph type="body" sz="quarter" idx="31" hasCustomPrompt="1"/>
          </p:nvPr>
        </p:nvSpPr>
        <p:spPr>
          <a:xfrm>
            <a:off x="8101047" y="2064191"/>
            <a:ext cx="1600825" cy="660634"/>
          </a:xfrm>
          <a:solidFill>
            <a:srgbClr val="009DD6"/>
          </a:solidFill>
        </p:spPr>
        <p:txBody>
          <a:bodyPr lIns="180000" tIns="180000" rIns="180000" bIns="144000" anchor="ctr">
            <a:noAutofit/>
          </a:bodyPr>
          <a:lstStyle>
            <a:lvl1pPr marL="0" indent="0" algn="ctr" latinLnBrk="0" hangingPunct="0">
              <a:lnSpc>
                <a:spcPct val="100000"/>
              </a:lnSpc>
              <a:spcBef>
                <a:spcPts val="0"/>
              </a:spcBef>
              <a:buNone/>
              <a:defRPr sz="1050" b="1">
                <a:solidFill>
                  <a:schemeClr val="bg1"/>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6" name="Text Placeholder 2">
            <a:extLst>
              <a:ext uri="{FF2B5EF4-FFF2-40B4-BE49-F238E27FC236}">
                <a16:creationId xmlns:a16="http://schemas.microsoft.com/office/drawing/2014/main" id="{DD42C35B-20B7-184A-B1AC-CF4F107DEE07}"/>
              </a:ext>
            </a:extLst>
          </p:cNvPr>
          <p:cNvSpPr>
            <a:spLocks noGrp="1"/>
          </p:cNvSpPr>
          <p:nvPr>
            <p:ph type="body" sz="quarter" idx="32" hasCustomPrompt="1"/>
          </p:nvPr>
        </p:nvSpPr>
        <p:spPr>
          <a:xfrm>
            <a:off x="9991631" y="2064191"/>
            <a:ext cx="1600825" cy="660634"/>
          </a:xfrm>
          <a:solidFill>
            <a:srgbClr val="009DD6"/>
          </a:solidFill>
        </p:spPr>
        <p:txBody>
          <a:bodyPr lIns="180000" tIns="180000" rIns="180000" bIns="144000" anchor="ctr">
            <a:noAutofit/>
          </a:bodyPr>
          <a:lstStyle>
            <a:lvl1pPr marL="0" indent="0" algn="ctr" latinLnBrk="0" hangingPunct="0">
              <a:lnSpc>
                <a:spcPct val="100000"/>
              </a:lnSpc>
              <a:spcBef>
                <a:spcPts val="0"/>
              </a:spcBef>
              <a:buNone/>
              <a:defRPr sz="1050" b="1">
                <a:solidFill>
                  <a:schemeClr val="bg1"/>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7" name="Text Placeholder 2">
            <a:extLst>
              <a:ext uri="{FF2B5EF4-FFF2-40B4-BE49-F238E27FC236}">
                <a16:creationId xmlns:a16="http://schemas.microsoft.com/office/drawing/2014/main" id="{BEACD39C-899A-BA48-B387-02809D30FEC6}"/>
              </a:ext>
            </a:extLst>
          </p:cNvPr>
          <p:cNvSpPr>
            <a:spLocks noGrp="1"/>
          </p:cNvSpPr>
          <p:nvPr>
            <p:ph type="body" sz="quarter" idx="33" hasCustomPrompt="1"/>
          </p:nvPr>
        </p:nvSpPr>
        <p:spPr>
          <a:xfrm>
            <a:off x="4620145" y="292525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8" name="Text Placeholder 2">
            <a:extLst>
              <a:ext uri="{FF2B5EF4-FFF2-40B4-BE49-F238E27FC236}">
                <a16:creationId xmlns:a16="http://schemas.microsoft.com/office/drawing/2014/main" id="{8B907B34-6C4A-844D-B15D-70D4E457D05F}"/>
              </a:ext>
            </a:extLst>
          </p:cNvPr>
          <p:cNvSpPr>
            <a:spLocks noGrp="1"/>
          </p:cNvSpPr>
          <p:nvPr>
            <p:ph type="body" sz="quarter" idx="34" hasCustomPrompt="1"/>
          </p:nvPr>
        </p:nvSpPr>
        <p:spPr>
          <a:xfrm>
            <a:off x="4620145" y="372090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09" name="Text Placeholder 2">
            <a:extLst>
              <a:ext uri="{FF2B5EF4-FFF2-40B4-BE49-F238E27FC236}">
                <a16:creationId xmlns:a16="http://schemas.microsoft.com/office/drawing/2014/main" id="{DB54B0FA-2730-9A4F-8F5B-22F75E2BAF50}"/>
              </a:ext>
            </a:extLst>
          </p:cNvPr>
          <p:cNvSpPr>
            <a:spLocks noGrp="1"/>
          </p:cNvSpPr>
          <p:nvPr>
            <p:ph type="body" sz="quarter" idx="35" hasCustomPrompt="1"/>
          </p:nvPr>
        </p:nvSpPr>
        <p:spPr>
          <a:xfrm>
            <a:off x="4620145" y="4534457"/>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0" name="Text Placeholder 2">
            <a:extLst>
              <a:ext uri="{FF2B5EF4-FFF2-40B4-BE49-F238E27FC236}">
                <a16:creationId xmlns:a16="http://schemas.microsoft.com/office/drawing/2014/main" id="{392F129E-45BF-D547-AD8D-BCF497A4E87D}"/>
              </a:ext>
            </a:extLst>
          </p:cNvPr>
          <p:cNvSpPr>
            <a:spLocks noGrp="1"/>
          </p:cNvSpPr>
          <p:nvPr>
            <p:ph type="body" sz="quarter" idx="36" hasCustomPrompt="1"/>
          </p:nvPr>
        </p:nvSpPr>
        <p:spPr>
          <a:xfrm>
            <a:off x="4620145" y="5347820"/>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1" name="Text Placeholder 2">
            <a:extLst>
              <a:ext uri="{FF2B5EF4-FFF2-40B4-BE49-F238E27FC236}">
                <a16:creationId xmlns:a16="http://schemas.microsoft.com/office/drawing/2014/main" id="{7E0E9171-F679-604B-B1CA-F88E0ADBF0DE}"/>
              </a:ext>
            </a:extLst>
          </p:cNvPr>
          <p:cNvSpPr>
            <a:spLocks noGrp="1"/>
          </p:cNvSpPr>
          <p:nvPr>
            <p:ph type="body" sz="quarter" idx="37" hasCustomPrompt="1"/>
          </p:nvPr>
        </p:nvSpPr>
        <p:spPr>
          <a:xfrm>
            <a:off x="6532501" y="292525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2" name="Text Placeholder 2">
            <a:extLst>
              <a:ext uri="{FF2B5EF4-FFF2-40B4-BE49-F238E27FC236}">
                <a16:creationId xmlns:a16="http://schemas.microsoft.com/office/drawing/2014/main" id="{11AA6FB4-7BF4-9A44-9A0E-142D1D471C6C}"/>
              </a:ext>
            </a:extLst>
          </p:cNvPr>
          <p:cNvSpPr>
            <a:spLocks noGrp="1"/>
          </p:cNvSpPr>
          <p:nvPr>
            <p:ph type="body" sz="quarter" idx="38" hasCustomPrompt="1"/>
          </p:nvPr>
        </p:nvSpPr>
        <p:spPr>
          <a:xfrm>
            <a:off x="6532501" y="372090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3" name="Text Placeholder 2">
            <a:extLst>
              <a:ext uri="{FF2B5EF4-FFF2-40B4-BE49-F238E27FC236}">
                <a16:creationId xmlns:a16="http://schemas.microsoft.com/office/drawing/2014/main" id="{3103D730-8882-AB4F-90E2-BE95A2AE5F41}"/>
              </a:ext>
            </a:extLst>
          </p:cNvPr>
          <p:cNvSpPr>
            <a:spLocks noGrp="1"/>
          </p:cNvSpPr>
          <p:nvPr>
            <p:ph type="body" sz="quarter" idx="39" hasCustomPrompt="1"/>
          </p:nvPr>
        </p:nvSpPr>
        <p:spPr>
          <a:xfrm>
            <a:off x="6532501" y="4534457"/>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4" name="Text Placeholder 2">
            <a:extLst>
              <a:ext uri="{FF2B5EF4-FFF2-40B4-BE49-F238E27FC236}">
                <a16:creationId xmlns:a16="http://schemas.microsoft.com/office/drawing/2014/main" id="{79B0F0B7-DB29-3042-BEDD-417FB835967C}"/>
              </a:ext>
            </a:extLst>
          </p:cNvPr>
          <p:cNvSpPr>
            <a:spLocks noGrp="1"/>
          </p:cNvSpPr>
          <p:nvPr>
            <p:ph type="body" sz="quarter" idx="40" hasCustomPrompt="1"/>
          </p:nvPr>
        </p:nvSpPr>
        <p:spPr>
          <a:xfrm>
            <a:off x="6532501" y="5347820"/>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5" name="Text Placeholder 2">
            <a:extLst>
              <a:ext uri="{FF2B5EF4-FFF2-40B4-BE49-F238E27FC236}">
                <a16:creationId xmlns:a16="http://schemas.microsoft.com/office/drawing/2014/main" id="{6A5DB724-D7D5-BB4C-81F8-3275E8459568}"/>
              </a:ext>
            </a:extLst>
          </p:cNvPr>
          <p:cNvSpPr>
            <a:spLocks noGrp="1"/>
          </p:cNvSpPr>
          <p:nvPr>
            <p:ph type="body" sz="quarter" idx="41" hasCustomPrompt="1"/>
          </p:nvPr>
        </p:nvSpPr>
        <p:spPr>
          <a:xfrm>
            <a:off x="8417057" y="292525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6" name="Text Placeholder 2">
            <a:extLst>
              <a:ext uri="{FF2B5EF4-FFF2-40B4-BE49-F238E27FC236}">
                <a16:creationId xmlns:a16="http://schemas.microsoft.com/office/drawing/2014/main" id="{20895255-FB58-2C49-895E-3EE56194D488}"/>
              </a:ext>
            </a:extLst>
          </p:cNvPr>
          <p:cNvSpPr>
            <a:spLocks noGrp="1"/>
          </p:cNvSpPr>
          <p:nvPr>
            <p:ph type="body" sz="quarter" idx="42" hasCustomPrompt="1"/>
          </p:nvPr>
        </p:nvSpPr>
        <p:spPr>
          <a:xfrm>
            <a:off x="8417057" y="372090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7" name="Text Placeholder 2">
            <a:extLst>
              <a:ext uri="{FF2B5EF4-FFF2-40B4-BE49-F238E27FC236}">
                <a16:creationId xmlns:a16="http://schemas.microsoft.com/office/drawing/2014/main" id="{01A26D29-51D9-3347-A665-416B838FC6D0}"/>
              </a:ext>
            </a:extLst>
          </p:cNvPr>
          <p:cNvSpPr>
            <a:spLocks noGrp="1"/>
          </p:cNvSpPr>
          <p:nvPr>
            <p:ph type="body" sz="quarter" idx="43" hasCustomPrompt="1"/>
          </p:nvPr>
        </p:nvSpPr>
        <p:spPr>
          <a:xfrm>
            <a:off x="8417057" y="4534457"/>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8" name="Text Placeholder 2">
            <a:extLst>
              <a:ext uri="{FF2B5EF4-FFF2-40B4-BE49-F238E27FC236}">
                <a16:creationId xmlns:a16="http://schemas.microsoft.com/office/drawing/2014/main" id="{8C5C194E-81DF-AE40-A4AB-A767B02AEE8B}"/>
              </a:ext>
            </a:extLst>
          </p:cNvPr>
          <p:cNvSpPr>
            <a:spLocks noGrp="1"/>
          </p:cNvSpPr>
          <p:nvPr>
            <p:ph type="body" sz="quarter" idx="44" hasCustomPrompt="1"/>
          </p:nvPr>
        </p:nvSpPr>
        <p:spPr>
          <a:xfrm>
            <a:off x="8417057" y="5347820"/>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19" name="Text Placeholder 2">
            <a:extLst>
              <a:ext uri="{FF2B5EF4-FFF2-40B4-BE49-F238E27FC236}">
                <a16:creationId xmlns:a16="http://schemas.microsoft.com/office/drawing/2014/main" id="{DDEA1F9A-A314-3246-8C0B-17EC7CCD19F8}"/>
              </a:ext>
            </a:extLst>
          </p:cNvPr>
          <p:cNvSpPr>
            <a:spLocks noGrp="1"/>
          </p:cNvSpPr>
          <p:nvPr>
            <p:ph type="body" sz="quarter" idx="45" hasCustomPrompt="1"/>
          </p:nvPr>
        </p:nvSpPr>
        <p:spPr>
          <a:xfrm>
            <a:off x="10291897" y="292525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20" name="Text Placeholder 2">
            <a:extLst>
              <a:ext uri="{FF2B5EF4-FFF2-40B4-BE49-F238E27FC236}">
                <a16:creationId xmlns:a16="http://schemas.microsoft.com/office/drawing/2014/main" id="{A83C201C-955E-8D40-A7BE-62AB28B48AFE}"/>
              </a:ext>
            </a:extLst>
          </p:cNvPr>
          <p:cNvSpPr>
            <a:spLocks noGrp="1"/>
          </p:cNvSpPr>
          <p:nvPr>
            <p:ph type="body" sz="quarter" idx="46" hasCustomPrompt="1"/>
          </p:nvPr>
        </p:nvSpPr>
        <p:spPr>
          <a:xfrm>
            <a:off x="10291897" y="3720901"/>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21" name="Text Placeholder 2">
            <a:extLst>
              <a:ext uri="{FF2B5EF4-FFF2-40B4-BE49-F238E27FC236}">
                <a16:creationId xmlns:a16="http://schemas.microsoft.com/office/drawing/2014/main" id="{158878BE-E5F7-294E-9548-DC260E57962B}"/>
              </a:ext>
            </a:extLst>
          </p:cNvPr>
          <p:cNvSpPr>
            <a:spLocks noGrp="1"/>
          </p:cNvSpPr>
          <p:nvPr>
            <p:ph type="body" sz="quarter" idx="47" hasCustomPrompt="1"/>
          </p:nvPr>
        </p:nvSpPr>
        <p:spPr>
          <a:xfrm>
            <a:off x="10291897" y="4534457"/>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
        <p:nvSpPr>
          <p:cNvPr id="122" name="Text Placeholder 2">
            <a:extLst>
              <a:ext uri="{FF2B5EF4-FFF2-40B4-BE49-F238E27FC236}">
                <a16:creationId xmlns:a16="http://schemas.microsoft.com/office/drawing/2014/main" id="{461E86C5-5C2C-CA44-A122-758DCE05092A}"/>
              </a:ext>
            </a:extLst>
          </p:cNvPr>
          <p:cNvSpPr>
            <a:spLocks noGrp="1"/>
          </p:cNvSpPr>
          <p:nvPr>
            <p:ph type="body" sz="quarter" idx="48" hasCustomPrompt="1"/>
          </p:nvPr>
        </p:nvSpPr>
        <p:spPr>
          <a:xfrm>
            <a:off x="10291897" y="5347820"/>
            <a:ext cx="1300559" cy="660634"/>
          </a:xfrm>
          <a:noFill/>
          <a:ln>
            <a:solidFill>
              <a:srgbClr val="009DD6"/>
            </a:solidFill>
          </a:ln>
        </p:spPr>
        <p:txBody>
          <a:bodyPr lIns="180000" tIns="180000" rIns="180000" bIns="144000" anchor="ctr">
            <a:noAutofit/>
          </a:bodyPr>
          <a:lstStyle>
            <a:lvl1pPr marL="0" indent="0" algn="ctr" latinLnBrk="0" hangingPunct="0">
              <a:lnSpc>
                <a:spcPct val="100000"/>
              </a:lnSpc>
              <a:spcBef>
                <a:spcPts val="0"/>
              </a:spcBef>
              <a:buNone/>
              <a:defRPr sz="1050" b="1">
                <a:solidFill>
                  <a:srgbClr val="009DD6"/>
                </a:solidFill>
              </a:defRPr>
            </a:lvl1pPr>
            <a:lvl2pPr marL="457200" indent="0" algn="ctr" latinLnBrk="0" hangingPunct="0">
              <a:lnSpc>
                <a:spcPct val="100000"/>
              </a:lnSpc>
              <a:buNone/>
              <a:defRPr sz="1050">
                <a:solidFill>
                  <a:schemeClr val="bg1"/>
                </a:solidFill>
              </a:defRPr>
            </a:lvl2pPr>
            <a:lvl3pPr marL="914400" indent="0">
              <a:buNone/>
              <a:defRPr sz="1050"/>
            </a:lvl3pPr>
            <a:lvl4pPr marL="1371600" indent="0">
              <a:buNone/>
              <a:defRPr sz="1000"/>
            </a:lvl4pPr>
            <a:lvl5pPr marL="1828800" indent="0">
              <a:buNone/>
              <a:defRPr sz="1000"/>
            </a:lvl5pPr>
          </a:lstStyle>
          <a:p>
            <a:pPr lvl="0"/>
            <a:r>
              <a:rPr lang="en-US"/>
              <a:t>First Last name</a:t>
            </a:r>
          </a:p>
          <a:p>
            <a:pPr lvl="0"/>
            <a:r>
              <a:rPr lang="en-US"/>
              <a:t>Job role/title</a:t>
            </a:r>
            <a:endParaRPr lang="en-CA"/>
          </a:p>
        </p:txBody>
      </p:sp>
    </p:spTree>
    <p:extLst>
      <p:ext uri="{BB962C8B-B14F-4D97-AF65-F5344CB8AC3E}">
        <p14:creationId xmlns:p14="http://schemas.microsoft.com/office/powerpoint/2010/main" val="25831146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Full colour background">
    <p:bg>
      <p:bgPr>
        <a:solidFill>
          <a:schemeClr val="tx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8CD8353-339B-A949-9962-88420B3D581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10" name="TextBox 7">
            <a:extLst>
              <a:ext uri="{FF2B5EF4-FFF2-40B4-BE49-F238E27FC236}">
                <a16:creationId xmlns:a16="http://schemas.microsoft.com/office/drawing/2014/main" id="{60AD4FC9-0E4A-BB47-90EB-8736D75D9CDA}"/>
              </a:ext>
            </a:extLst>
          </p:cNvPr>
          <p:cNvSpPr txBox="1">
            <a:spLocks/>
          </p:cNvSpPr>
          <p:nvPr userDrawn="1"/>
        </p:nvSpPr>
        <p:spPr>
          <a:xfrm>
            <a:off x="11575702" y="332306"/>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pic>
        <p:nvPicPr>
          <p:cNvPr id="6" name="Graphic 5">
            <a:extLst>
              <a:ext uri="{FF2B5EF4-FFF2-40B4-BE49-F238E27FC236}">
                <a16:creationId xmlns:a16="http://schemas.microsoft.com/office/drawing/2014/main" id="{3D141645-632F-D444-8E55-1B43B800F2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13CCE40F-3266-7940-BDD5-D5F11DC499E7}"/>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28543298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34C0E13-41DE-514C-A581-46C747B855C7}"/>
              </a:ext>
            </a:extLst>
          </p:cNvPr>
          <p:cNvSpPr>
            <a:spLocks noGrp="1"/>
          </p:cNvSpPr>
          <p:nvPr>
            <p:ph type="pic" sz="quarter" idx="10" hasCustomPrompt="1"/>
          </p:nvPr>
        </p:nvSpPr>
        <p:spPr>
          <a:xfrm>
            <a:off x="6105524" y="0"/>
            <a:ext cx="6086476" cy="6858000"/>
          </a:xfrm>
          <a:solidFill>
            <a:srgbClr val="949494"/>
          </a:solidFill>
        </p:spPr>
        <p:txBody>
          <a:bodyPr anchor="ctr"/>
          <a:lstStyle>
            <a:lvl1pPr marL="0" indent="0" algn="ctr">
              <a:buNone/>
              <a:defRPr>
                <a:solidFill>
                  <a:schemeClr val="bg1"/>
                </a:solidFill>
                <a:latin typeface="Scotia" panose="020B0503020203020204" pitchFamily="34" charset="0"/>
              </a:defRPr>
            </a:lvl1pPr>
          </a:lstStyle>
          <a:p>
            <a:r>
              <a:rPr lang="en-US"/>
              <a:t>Picture</a:t>
            </a:r>
          </a:p>
        </p:txBody>
      </p:sp>
      <p:sp>
        <p:nvSpPr>
          <p:cNvPr id="11" name="TextBox 10">
            <a:extLst>
              <a:ext uri="{FF2B5EF4-FFF2-40B4-BE49-F238E27FC236}">
                <a16:creationId xmlns:a16="http://schemas.microsoft.com/office/drawing/2014/main" id="{6FA279E0-8913-3144-BC8B-BFDCE0C603FB}"/>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12" name="TextBox 7">
            <a:extLst>
              <a:ext uri="{FF2B5EF4-FFF2-40B4-BE49-F238E27FC236}">
                <a16:creationId xmlns:a16="http://schemas.microsoft.com/office/drawing/2014/main" id="{D3388904-2010-4F49-A524-F04BF80010B7}"/>
              </a:ext>
            </a:extLst>
          </p:cNvPr>
          <p:cNvSpPr txBox="1">
            <a:spLocks/>
          </p:cNvSpPr>
          <p:nvPr userDrawn="1"/>
        </p:nvSpPr>
        <p:spPr>
          <a:xfrm>
            <a:off x="11575702" y="332306"/>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pic>
        <p:nvPicPr>
          <p:cNvPr id="13" name="Graphic 12">
            <a:extLst>
              <a:ext uri="{FF2B5EF4-FFF2-40B4-BE49-F238E27FC236}">
                <a16:creationId xmlns:a16="http://schemas.microsoft.com/office/drawing/2014/main" id="{A8D9F05B-33C2-2C4B-ADE5-4D6E410E1B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4" name="Text Placeholder 4">
            <a:extLst>
              <a:ext uri="{FF2B5EF4-FFF2-40B4-BE49-F238E27FC236}">
                <a16:creationId xmlns:a16="http://schemas.microsoft.com/office/drawing/2014/main" id="{2422CBD0-9B17-BD4A-881C-FB2A98BD99E5}"/>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chemeClr val="bg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6" name="Text Placeholder 10">
            <a:extLst>
              <a:ext uri="{FF2B5EF4-FFF2-40B4-BE49-F238E27FC236}">
                <a16:creationId xmlns:a16="http://schemas.microsoft.com/office/drawing/2014/main" id="{0AE24CB2-9DB6-2A49-A71E-190DB4D5FC90}"/>
              </a:ext>
            </a:extLst>
          </p:cNvPr>
          <p:cNvSpPr>
            <a:spLocks noGrp="1"/>
          </p:cNvSpPr>
          <p:nvPr>
            <p:ph type="body" sz="quarter" idx="13" hasCustomPrompt="1"/>
          </p:nvPr>
        </p:nvSpPr>
        <p:spPr>
          <a:xfrm>
            <a:off x="800504" y="1586781"/>
            <a:ext cx="4443907" cy="3713881"/>
          </a:xfrm>
        </p:spPr>
        <p:txBody>
          <a:bodyPr wrap="square">
            <a:noAutofit/>
          </a:bodyPr>
          <a:lstStyle>
            <a:lvl1pPr marL="0" indent="0">
              <a:lnSpc>
                <a:spcPct val="110000"/>
              </a:lnSpc>
              <a:spcBef>
                <a:spcPts val="0"/>
              </a:spcBef>
              <a:spcAft>
                <a:spcPts val="1800"/>
              </a:spcAft>
              <a:buNone/>
              <a:defRPr sz="18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Molestie</a:t>
            </a:r>
            <a:r>
              <a:rPr lang="en-US"/>
              <a:t> </a:t>
            </a:r>
            <a:r>
              <a:rPr lang="en-US" err="1"/>
              <a:t>nunc</a:t>
            </a:r>
            <a:r>
              <a:rPr lang="en-US"/>
              <a:t> non </a:t>
            </a:r>
            <a:r>
              <a:rPr lang="en-US" err="1"/>
              <a:t>blandit</a:t>
            </a:r>
            <a:r>
              <a:rPr lang="en-US"/>
              <a:t> </a:t>
            </a:r>
            <a:r>
              <a:rPr lang="en-US" err="1"/>
              <a:t>massa</a:t>
            </a:r>
            <a:r>
              <a:rPr lang="en-US"/>
              <a:t> </a:t>
            </a:r>
            <a:r>
              <a:rPr lang="en-US" err="1"/>
              <a:t>enim</a:t>
            </a:r>
            <a:r>
              <a:rPr lang="en-US"/>
              <a:t> </a:t>
            </a:r>
            <a:r>
              <a:rPr lang="en-US" err="1"/>
              <a:t>nec</a:t>
            </a:r>
            <a:r>
              <a:rPr lang="en-US"/>
              <a:t> dui </a:t>
            </a:r>
            <a:r>
              <a:rPr lang="en-US" err="1"/>
              <a:t>nunc</a:t>
            </a:r>
            <a:r>
              <a:rPr lang="en-US"/>
              <a:t> </a:t>
            </a:r>
            <a:r>
              <a:rPr lang="en-US" err="1"/>
              <a:t>mattis</a:t>
            </a:r>
            <a:r>
              <a:rPr lang="en-US"/>
              <a:t>. Felis </a:t>
            </a:r>
            <a:r>
              <a:rPr lang="en-US" err="1"/>
              <a:t>bibendum</a:t>
            </a:r>
            <a:r>
              <a:rPr lang="en-US"/>
              <a:t> </a:t>
            </a:r>
            <a:r>
              <a:rPr lang="en-US" err="1"/>
              <a:t>ut</a:t>
            </a:r>
            <a:r>
              <a:rPr lang="en-US"/>
              <a:t> </a:t>
            </a:r>
            <a:r>
              <a:rPr lang="en-US" err="1"/>
              <a:t>tristique</a:t>
            </a:r>
            <a:r>
              <a:rPr lang="en-US"/>
              <a:t> et </a:t>
            </a:r>
            <a:r>
              <a:rPr lang="en-US" err="1"/>
              <a:t>egestas</a:t>
            </a:r>
            <a:r>
              <a:rPr lang="en-US"/>
              <a:t> </a:t>
            </a:r>
            <a:r>
              <a:rPr lang="en-US" err="1"/>
              <a:t>quis</a:t>
            </a:r>
            <a:r>
              <a:rPr lang="en-US"/>
              <a:t> ipsum </a:t>
            </a:r>
            <a:r>
              <a:rPr lang="en-US" err="1"/>
              <a:t>suspendisse</a:t>
            </a:r>
            <a:r>
              <a:rPr lang="en-US"/>
              <a:t>. Sed </a:t>
            </a:r>
            <a:r>
              <a:rPr lang="en-US" err="1"/>
              <a:t>blandit</a:t>
            </a:r>
            <a:r>
              <a:rPr lang="en-US"/>
              <a:t> libero </a:t>
            </a:r>
            <a:r>
              <a:rPr lang="en-US" err="1"/>
              <a:t>volutpat</a:t>
            </a:r>
            <a:r>
              <a:rPr lang="en-US"/>
              <a:t> sed. </a:t>
            </a:r>
            <a:r>
              <a:rPr lang="en-US" err="1"/>
              <a:t>Sodales</a:t>
            </a:r>
            <a:r>
              <a:rPr lang="en-US"/>
              <a:t> </a:t>
            </a:r>
            <a:r>
              <a:rPr lang="en-US" err="1"/>
              <a:t>neque</a:t>
            </a:r>
            <a:r>
              <a:rPr lang="en-US"/>
              <a:t> </a:t>
            </a:r>
            <a:r>
              <a:rPr lang="en-US" err="1"/>
              <a:t>sodales</a:t>
            </a:r>
            <a:r>
              <a:rPr lang="en-US"/>
              <a:t> </a:t>
            </a:r>
            <a:r>
              <a:rPr lang="en-US" err="1"/>
              <a:t>ut</a:t>
            </a:r>
            <a:r>
              <a:rPr lang="en-US"/>
              <a:t> </a:t>
            </a:r>
            <a:r>
              <a:rPr lang="en-US" err="1"/>
              <a:t>etiam</a:t>
            </a:r>
            <a:r>
              <a:rPr lang="en-US"/>
              <a:t> sit </a:t>
            </a:r>
            <a:r>
              <a:rPr lang="en-US" err="1"/>
              <a:t>amet</a:t>
            </a:r>
            <a:r>
              <a:rPr lang="en-US"/>
              <a:t>. </a:t>
            </a:r>
            <a:r>
              <a:rPr lang="en-US" err="1"/>
              <a:t>Turpis</a:t>
            </a:r>
            <a:r>
              <a:rPr lang="en-US"/>
              <a:t> </a:t>
            </a:r>
            <a:r>
              <a:rPr lang="en-US" err="1"/>
              <a:t>tincidunt</a:t>
            </a:r>
            <a:r>
              <a:rPr lang="en-US"/>
              <a:t> id </a:t>
            </a:r>
            <a:r>
              <a:rPr lang="en-US" err="1"/>
              <a:t>aliquet</a:t>
            </a:r>
            <a:r>
              <a:rPr lang="en-US"/>
              <a:t> </a:t>
            </a:r>
            <a:r>
              <a:rPr lang="en-US" err="1"/>
              <a:t>risus</a:t>
            </a:r>
            <a:r>
              <a:rPr lang="en-US"/>
              <a:t>. Morbi </a:t>
            </a:r>
            <a:r>
              <a:rPr lang="en-US" err="1"/>
              <a:t>tristique</a:t>
            </a:r>
            <a:r>
              <a:rPr lang="en-US"/>
              <a:t> </a:t>
            </a:r>
            <a:r>
              <a:rPr lang="en-US" err="1"/>
              <a:t>senectus</a:t>
            </a:r>
            <a:r>
              <a:rPr lang="en-US"/>
              <a:t> et </a:t>
            </a:r>
            <a:r>
              <a:rPr lang="en-US" err="1"/>
              <a:t>netus</a:t>
            </a:r>
            <a:r>
              <a:rPr lang="en-US"/>
              <a:t> et </a:t>
            </a:r>
            <a:r>
              <a:rPr lang="en-US" err="1"/>
              <a:t>malesuada</a:t>
            </a:r>
            <a:r>
              <a:rPr lang="en-US"/>
              <a:t>. </a:t>
            </a:r>
          </a:p>
          <a:p>
            <a:pPr lvl="0"/>
            <a:r>
              <a:rPr lang="en-US" err="1"/>
              <a:t>Accumsan</a:t>
            </a:r>
            <a:r>
              <a:rPr lang="en-US"/>
              <a:t> </a:t>
            </a:r>
            <a:r>
              <a:rPr lang="en-US" err="1"/>
              <a:t>lacus</a:t>
            </a:r>
            <a:r>
              <a:rPr lang="en-US"/>
              <a:t> vel </a:t>
            </a:r>
            <a:r>
              <a:rPr lang="en-US" err="1"/>
              <a:t>facilisis</a:t>
            </a:r>
            <a:r>
              <a:rPr lang="en-US"/>
              <a:t> </a:t>
            </a:r>
            <a:r>
              <a:rPr lang="en-US" err="1"/>
              <a:t>volutpat</a:t>
            </a:r>
            <a:r>
              <a:rPr lang="en-US"/>
              <a:t> </a:t>
            </a:r>
            <a:r>
              <a:rPr lang="en-US" err="1"/>
              <a:t>est</a:t>
            </a:r>
            <a:r>
              <a:rPr lang="en-US"/>
              <a:t> </a:t>
            </a:r>
            <a:r>
              <a:rPr lang="en-US" err="1"/>
              <a:t>velit</a:t>
            </a:r>
            <a:r>
              <a:rPr lang="en-US"/>
              <a:t> </a:t>
            </a:r>
            <a:r>
              <a:rPr lang="en-US" err="1"/>
              <a:t>egestas</a:t>
            </a:r>
            <a:r>
              <a:rPr lang="en-US"/>
              <a:t> dui. </a:t>
            </a:r>
            <a:r>
              <a:rPr lang="en-US" err="1"/>
              <a:t>Elementum</a:t>
            </a:r>
            <a:r>
              <a:rPr lang="en-US"/>
              <a:t> tempus </a:t>
            </a:r>
            <a:r>
              <a:rPr lang="en-US" err="1"/>
              <a:t>egestas</a:t>
            </a:r>
            <a:r>
              <a:rPr lang="en-US"/>
              <a:t> sed sed </a:t>
            </a:r>
            <a:r>
              <a:rPr lang="en-US" err="1"/>
              <a:t>risus</a:t>
            </a:r>
            <a:r>
              <a:rPr lang="en-US"/>
              <a:t>. Tellus </a:t>
            </a:r>
            <a:r>
              <a:rPr lang="en-US" err="1"/>
              <a:t>elementum</a:t>
            </a:r>
            <a:r>
              <a:rPr lang="en-US"/>
              <a:t> </a:t>
            </a:r>
            <a:r>
              <a:rPr lang="en-US" err="1"/>
              <a:t>sagittis</a:t>
            </a:r>
            <a:r>
              <a:rPr lang="en-US"/>
              <a:t> vitae et </a:t>
            </a:r>
            <a:r>
              <a:rPr lang="en-US" err="1"/>
              <a:t>leo</a:t>
            </a:r>
            <a:r>
              <a:rPr lang="en-US"/>
              <a:t> </a:t>
            </a:r>
            <a:r>
              <a:rPr lang="en-US" err="1"/>
              <a:t>duis</a:t>
            </a:r>
            <a:r>
              <a:rPr lang="en-US"/>
              <a:t> </a:t>
            </a:r>
            <a:r>
              <a:rPr lang="en-US" err="1"/>
              <a:t>ut.</a:t>
            </a:r>
            <a:r>
              <a:rPr lang="en-US"/>
              <a:t> </a:t>
            </a:r>
          </a:p>
          <a:p>
            <a:pPr lvl="0"/>
            <a:endParaRPr lang="en-US"/>
          </a:p>
        </p:txBody>
      </p:sp>
    </p:spTree>
    <p:extLst>
      <p:ext uri="{BB962C8B-B14F-4D97-AF65-F5344CB8AC3E}">
        <p14:creationId xmlns:p14="http://schemas.microsoft.com/office/powerpoint/2010/main" val="1048642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hapter Title - Colour">
    <p:bg>
      <p:bgPr>
        <a:solidFill>
          <a:srgbClr val="7849B8"/>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55E712C-73F7-894E-A37D-02C55456A67D}"/>
              </a:ext>
            </a:extLst>
          </p:cNvPr>
          <p:cNvSpPr>
            <a:spLocks noGrp="1"/>
          </p:cNvSpPr>
          <p:nvPr>
            <p:ph type="body" sz="quarter" idx="10" hasCustomPrompt="1"/>
          </p:nvPr>
        </p:nvSpPr>
        <p:spPr>
          <a:xfrm>
            <a:off x="5499100" y="2170339"/>
            <a:ext cx="1193800" cy="455509"/>
          </a:xfrm>
          <a:ln w="12700">
            <a:miter lim="400000"/>
          </a:ln>
        </p:spPr>
        <p:txBody>
          <a:bodyPr wrap="square" lIns="0" tIns="0" rIns="0" bIns="0">
            <a:noAutofit/>
          </a:bodyPr>
          <a:lstStyle>
            <a:lvl1pPr marL="0" indent="0" algn="ctr">
              <a:buNone/>
              <a:defRPr lang="en-US" sz="4000" b="1" smtClean="0">
                <a:solidFill>
                  <a:srgbClr val="FFFFFF"/>
                </a:solidFill>
                <a:latin typeface="+mj-lt"/>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01</a:t>
            </a: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2447798" y="2965269"/>
            <a:ext cx="7296404" cy="2074222"/>
          </a:xfrm>
        </p:spPr>
        <p:txBody>
          <a:bodyPr anchor="t">
            <a:noAutofit/>
          </a:bodyPr>
          <a:lstStyle>
            <a:lvl1pPr algn="ctr">
              <a:defRPr lang="es-ES_tradnl" sz="6000" b="1" kern="1200" dirty="0">
                <a:solidFill>
                  <a:srgbClr val="FFFFFF"/>
                </a:solidFill>
                <a:latin typeface="Scotia Headline"/>
                <a:ea typeface="Gilroy ExtraBold Italic"/>
                <a:cs typeface="Gilroy ExtraBold Italic"/>
              </a:defRPr>
            </a:lvl1pPr>
          </a:lstStyle>
          <a:p>
            <a:r>
              <a:rPr lang="en-US"/>
              <a:t>Section title </a:t>
            </a:r>
            <a:br>
              <a:rPr lang="en-US"/>
            </a:br>
            <a:r>
              <a:rPr lang="en-US"/>
              <a:t>on two lines</a:t>
            </a:r>
            <a:endParaRPr lang="es-ES_tradnl"/>
          </a:p>
        </p:txBody>
      </p:sp>
    </p:spTree>
    <p:extLst>
      <p:ext uri="{BB962C8B-B14F-4D97-AF65-F5344CB8AC3E}">
        <p14:creationId xmlns:p14="http://schemas.microsoft.com/office/powerpoint/2010/main" val="37424655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eft s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AD19874-2631-7C4E-AE93-DBC6EFAD604A}"/>
              </a:ext>
            </a:extLst>
          </p:cNvPr>
          <p:cNvSpPr>
            <a:spLocks noGrp="1"/>
          </p:cNvSpPr>
          <p:nvPr>
            <p:ph type="pic" sz="quarter" idx="10" hasCustomPrompt="1"/>
          </p:nvPr>
        </p:nvSpPr>
        <p:spPr>
          <a:xfrm>
            <a:off x="1" y="0"/>
            <a:ext cx="6096000" cy="6858000"/>
          </a:xfrm>
          <a:solidFill>
            <a:srgbClr val="999999"/>
          </a:solidFill>
        </p:spPr>
        <p:txBody>
          <a:bodyPr anchor="ctr"/>
          <a:lstStyle>
            <a:lvl1pPr marL="0" indent="0" algn="ctr">
              <a:buNone/>
              <a:defRPr b="0" i="0">
                <a:solidFill>
                  <a:schemeClr val="bg1"/>
                </a:solidFill>
                <a:latin typeface="Scotia" panose="020B0503020203020204" pitchFamily="34" charset="0"/>
              </a:defRPr>
            </a:lvl1pPr>
          </a:lstStyle>
          <a:p>
            <a:r>
              <a:rPr lang="en-US"/>
              <a:t>Picture</a:t>
            </a:r>
          </a:p>
        </p:txBody>
      </p:sp>
      <p:sp>
        <p:nvSpPr>
          <p:cNvPr id="8" name="TextBox 7">
            <a:extLst>
              <a:ext uri="{FF2B5EF4-FFF2-40B4-BE49-F238E27FC236}">
                <a16:creationId xmlns:a16="http://schemas.microsoft.com/office/drawing/2014/main" id="{74C848D3-509E-104E-BA0C-A711590EBCF3}"/>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9" name="TextBox 7">
            <a:extLst>
              <a:ext uri="{FF2B5EF4-FFF2-40B4-BE49-F238E27FC236}">
                <a16:creationId xmlns:a16="http://schemas.microsoft.com/office/drawing/2014/main" id="{0D9DC20F-8A5E-554B-AA85-F60ADC81DBCF}"/>
              </a:ext>
            </a:extLst>
          </p:cNvPr>
          <p:cNvSpPr txBox="1">
            <a:spLocks/>
          </p:cNvSpPr>
          <p:nvPr userDrawn="1"/>
        </p:nvSpPr>
        <p:spPr>
          <a:xfrm>
            <a:off x="11575702" y="332306"/>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2" name="Graphic 11">
            <a:extLst>
              <a:ext uri="{FF2B5EF4-FFF2-40B4-BE49-F238E27FC236}">
                <a16:creationId xmlns:a16="http://schemas.microsoft.com/office/drawing/2014/main" id="{B5CCBD5A-F4F0-F642-8843-7D21BC7848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3" name="Text Placeholder 4">
            <a:extLst>
              <a:ext uri="{FF2B5EF4-FFF2-40B4-BE49-F238E27FC236}">
                <a16:creationId xmlns:a16="http://schemas.microsoft.com/office/drawing/2014/main" id="{A85ABEDE-128F-F94C-BE21-0F2CE9628A5F}"/>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6" name="Text Placeholder 10">
            <a:extLst>
              <a:ext uri="{FF2B5EF4-FFF2-40B4-BE49-F238E27FC236}">
                <a16:creationId xmlns:a16="http://schemas.microsoft.com/office/drawing/2014/main" id="{695323A9-ABB2-574E-AD53-79C3E142485C}"/>
              </a:ext>
            </a:extLst>
          </p:cNvPr>
          <p:cNvSpPr>
            <a:spLocks noGrp="1"/>
          </p:cNvSpPr>
          <p:nvPr>
            <p:ph type="body" sz="quarter" idx="13" hasCustomPrompt="1"/>
          </p:nvPr>
        </p:nvSpPr>
        <p:spPr>
          <a:xfrm>
            <a:off x="6732530" y="3308333"/>
            <a:ext cx="4843172" cy="1949468"/>
          </a:xfrm>
        </p:spPr>
        <p:txBody>
          <a:bodyPr wrap="square">
            <a:noAutofit/>
          </a:bodyPr>
          <a:lstStyle>
            <a:lvl1pPr marL="0" indent="0">
              <a:lnSpc>
                <a:spcPct val="110000"/>
              </a:lnSpc>
              <a:spcBef>
                <a:spcPts val="0"/>
              </a:spcBef>
              <a:spcAft>
                <a:spcPts val="1800"/>
              </a:spcAft>
              <a:buNone/>
              <a:defRPr sz="16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a:t>
            </a:r>
          </a:p>
        </p:txBody>
      </p:sp>
      <p:sp>
        <p:nvSpPr>
          <p:cNvPr id="17" name="Title 1">
            <a:extLst>
              <a:ext uri="{FF2B5EF4-FFF2-40B4-BE49-F238E27FC236}">
                <a16:creationId xmlns:a16="http://schemas.microsoft.com/office/drawing/2014/main" id="{C35EA8C6-0A7F-E144-B0EB-E6D4875C352F}"/>
              </a:ext>
            </a:extLst>
          </p:cNvPr>
          <p:cNvSpPr>
            <a:spLocks noGrp="1"/>
          </p:cNvSpPr>
          <p:nvPr>
            <p:ph type="title" hasCustomPrompt="1"/>
          </p:nvPr>
        </p:nvSpPr>
        <p:spPr>
          <a:xfrm>
            <a:off x="6732530" y="2017029"/>
            <a:ext cx="4843172" cy="1126222"/>
          </a:xfrm>
        </p:spPr>
        <p:txBody>
          <a:bodyPr anchor="t">
            <a:noAutofit/>
          </a:bodyPr>
          <a:lstStyle>
            <a:lvl1pPr>
              <a:defRPr sz="4000">
                <a:solidFill>
                  <a:srgbClr val="333333"/>
                </a:solidFill>
              </a:defRPr>
            </a:lvl1pPr>
          </a:lstStyle>
          <a:p>
            <a:r>
              <a:rPr lang="en-US"/>
              <a:t>Slide title on two lines goes here</a:t>
            </a:r>
          </a:p>
        </p:txBody>
      </p:sp>
    </p:spTree>
    <p:extLst>
      <p:ext uri="{BB962C8B-B14F-4D97-AF65-F5344CB8AC3E}">
        <p14:creationId xmlns:p14="http://schemas.microsoft.com/office/powerpoint/2010/main" val="2296827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left side) - text on right">
    <p:bg>
      <p:bgPr>
        <a:solidFill>
          <a:srgbClr val="F6F6F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AD19874-2631-7C4E-AE93-DBC6EFAD604A}"/>
              </a:ext>
            </a:extLst>
          </p:cNvPr>
          <p:cNvSpPr>
            <a:spLocks noGrp="1"/>
          </p:cNvSpPr>
          <p:nvPr>
            <p:ph type="pic" sz="quarter" idx="10" hasCustomPrompt="1"/>
          </p:nvPr>
        </p:nvSpPr>
        <p:spPr>
          <a:xfrm>
            <a:off x="1" y="0"/>
            <a:ext cx="6096000" cy="6858000"/>
          </a:xfrm>
          <a:solidFill>
            <a:schemeClr val="bg1"/>
          </a:solidFill>
        </p:spPr>
        <p:txBody>
          <a:bodyPr anchor="ctr"/>
          <a:lstStyle>
            <a:lvl1pPr marL="0" indent="0" algn="ctr">
              <a:buNone/>
              <a:defRPr b="0" i="0">
                <a:solidFill>
                  <a:schemeClr val="tx1"/>
                </a:solidFill>
                <a:latin typeface="Scotia" panose="020B0503020203020204" pitchFamily="34" charset="0"/>
              </a:defRPr>
            </a:lvl1pPr>
          </a:lstStyle>
          <a:p>
            <a:r>
              <a:rPr lang="en-US"/>
              <a:t>Picture</a:t>
            </a:r>
          </a:p>
        </p:txBody>
      </p:sp>
      <p:sp>
        <p:nvSpPr>
          <p:cNvPr id="8" name="TextBox 7">
            <a:extLst>
              <a:ext uri="{FF2B5EF4-FFF2-40B4-BE49-F238E27FC236}">
                <a16:creationId xmlns:a16="http://schemas.microsoft.com/office/drawing/2014/main" id="{74C848D3-509E-104E-BA0C-A711590EBCF3}"/>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9" name="TextBox 7">
            <a:extLst>
              <a:ext uri="{FF2B5EF4-FFF2-40B4-BE49-F238E27FC236}">
                <a16:creationId xmlns:a16="http://schemas.microsoft.com/office/drawing/2014/main" id="{0D9DC20F-8A5E-554B-AA85-F60ADC81DBCF}"/>
              </a:ext>
            </a:extLst>
          </p:cNvPr>
          <p:cNvSpPr txBox="1">
            <a:spLocks/>
          </p:cNvSpPr>
          <p:nvPr userDrawn="1"/>
        </p:nvSpPr>
        <p:spPr>
          <a:xfrm>
            <a:off x="11575702" y="332306"/>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2" name="Graphic 11">
            <a:extLst>
              <a:ext uri="{FF2B5EF4-FFF2-40B4-BE49-F238E27FC236}">
                <a16:creationId xmlns:a16="http://schemas.microsoft.com/office/drawing/2014/main" id="{B5CCBD5A-F4F0-F642-8843-7D21BC7848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3" name="Text Placeholder 4">
            <a:extLst>
              <a:ext uri="{FF2B5EF4-FFF2-40B4-BE49-F238E27FC236}">
                <a16:creationId xmlns:a16="http://schemas.microsoft.com/office/drawing/2014/main" id="{A85ABEDE-128F-F94C-BE21-0F2CE9628A5F}"/>
              </a:ext>
            </a:extLst>
          </p:cNvPr>
          <p:cNvSpPr>
            <a:spLocks noGrp="1"/>
          </p:cNvSpPr>
          <p:nvPr>
            <p:ph type="body" sz="quarter" idx="14"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10" name="Text Placeholder 10">
            <a:extLst>
              <a:ext uri="{FF2B5EF4-FFF2-40B4-BE49-F238E27FC236}">
                <a16:creationId xmlns:a16="http://schemas.microsoft.com/office/drawing/2014/main" id="{7869FCB6-C853-7C4D-A446-525B1618A311}"/>
              </a:ext>
            </a:extLst>
          </p:cNvPr>
          <p:cNvSpPr>
            <a:spLocks noGrp="1"/>
          </p:cNvSpPr>
          <p:nvPr>
            <p:ph type="body" sz="quarter" idx="13" hasCustomPrompt="1"/>
          </p:nvPr>
        </p:nvSpPr>
        <p:spPr>
          <a:xfrm>
            <a:off x="6732530" y="1928196"/>
            <a:ext cx="4843172" cy="4015403"/>
          </a:xfrm>
        </p:spPr>
        <p:txBody>
          <a:bodyPr wrap="square">
            <a:noAutofit/>
          </a:bodyPr>
          <a:lstStyle>
            <a:lvl1pPr marL="285750" indent="-285750">
              <a:lnSpc>
                <a:spcPct val="110000"/>
              </a:lnSpc>
              <a:spcBef>
                <a:spcPts val="0"/>
              </a:spcBef>
              <a:spcAft>
                <a:spcPts val="1800"/>
              </a:spcAft>
              <a:buFont typeface="Arial" panose="020B0604020202020204" pitchFamily="34" charset="0"/>
              <a:buChar char="•"/>
              <a:defRPr sz="1600" b="0" i="0">
                <a:latin typeface="Scotia" panose="020B0503020203020204" pitchFamily="34" charset="0"/>
                <a:ea typeface="Scotia" panose="020B05030202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err="1"/>
              <a:t>Egestas</a:t>
            </a:r>
            <a:r>
              <a:rPr lang="en-US"/>
              <a:t> diam in </a:t>
            </a:r>
            <a:r>
              <a:rPr lang="en-US" err="1"/>
              <a:t>arcu</a:t>
            </a:r>
            <a:r>
              <a:rPr lang="en-US"/>
              <a:t> cursus </a:t>
            </a:r>
            <a:r>
              <a:rPr lang="en-US" err="1"/>
              <a:t>euismod</a:t>
            </a:r>
            <a:r>
              <a:rPr lang="en-US"/>
              <a:t> </a:t>
            </a:r>
            <a:r>
              <a:rPr lang="en-US" err="1"/>
              <a:t>quis</a:t>
            </a:r>
            <a:r>
              <a:rPr lang="en-US"/>
              <a:t>. </a:t>
            </a:r>
          </a:p>
          <a:p>
            <a:pPr lvl="0"/>
            <a:r>
              <a:rPr lang="en-US" err="1"/>
              <a:t>Tortor</a:t>
            </a:r>
            <a:r>
              <a:rPr lang="en-US"/>
              <a:t> </a:t>
            </a:r>
            <a:r>
              <a:rPr lang="en-US" err="1"/>
              <a:t>aliquam</a:t>
            </a:r>
            <a:r>
              <a:rPr lang="en-US"/>
              <a:t> </a:t>
            </a:r>
            <a:r>
              <a:rPr lang="en-US" err="1"/>
              <a:t>nulla</a:t>
            </a:r>
            <a:r>
              <a:rPr lang="en-US"/>
              <a:t> </a:t>
            </a:r>
            <a:r>
              <a:rPr lang="en-US" err="1"/>
              <a:t>facilisi</a:t>
            </a:r>
            <a:r>
              <a:rPr lang="en-US"/>
              <a:t> </a:t>
            </a:r>
            <a:r>
              <a:rPr lang="en-US" err="1"/>
              <a:t>cras</a:t>
            </a:r>
            <a:r>
              <a:rPr lang="en-US"/>
              <a:t>. </a:t>
            </a:r>
            <a:r>
              <a:rPr lang="en-US" err="1"/>
              <a:t>Elementum</a:t>
            </a:r>
            <a:r>
              <a:rPr lang="en-US"/>
              <a:t> </a:t>
            </a:r>
            <a:r>
              <a:rPr lang="en-US" err="1"/>
              <a:t>nibh</a:t>
            </a:r>
            <a:r>
              <a:rPr lang="en-US"/>
              <a:t> </a:t>
            </a:r>
            <a:r>
              <a:rPr lang="en-US" err="1"/>
              <a:t>tellus</a:t>
            </a:r>
            <a:r>
              <a:rPr lang="en-US"/>
              <a:t> </a:t>
            </a:r>
            <a:r>
              <a:rPr lang="en-US" err="1"/>
              <a:t>molestie</a:t>
            </a:r>
            <a:r>
              <a:rPr lang="en-US"/>
              <a:t> </a:t>
            </a:r>
            <a:r>
              <a:rPr lang="en-US" err="1"/>
              <a:t>nunc</a:t>
            </a:r>
            <a:r>
              <a:rPr lang="en-US"/>
              <a:t>. </a:t>
            </a:r>
          </a:p>
          <a:p>
            <a:pPr lvl="0"/>
            <a:r>
              <a:rPr lang="en-US"/>
              <a:t>Eros in cursus </a:t>
            </a:r>
            <a:r>
              <a:rPr lang="en-US" err="1"/>
              <a:t>turpis</a:t>
            </a:r>
            <a:r>
              <a:rPr lang="en-US"/>
              <a:t> </a:t>
            </a:r>
            <a:r>
              <a:rPr lang="en-US" err="1"/>
              <a:t>massa</a:t>
            </a:r>
            <a:r>
              <a:rPr lang="en-US"/>
              <a:t> </a:t>
            </a:r>
            <a:r>
              <a:rPr lang="en-US" err="1"/>
              <a:t>tincidunt</a:t>
            </a:r>
            <a:r>
              <a:rPr lang="en-US"/>
              <a:t> dui </a:t>
            </a:r>
            <a:r>
              <a:rPr lang="en-US" err="1"/>
              <a:t>ut</a:t>
            </a:r>
            <a:r>
              <a:rPr lang="en-US"/>
              <a:t> </a:t>
            </a:r>
            <a:r>
              <a:rPr lang="en-US" err="1"/>
              <a:t>ornare</a:t>
            </a:r>
            <a:r>
              <a:rPr lang="en-US"/>
              <a:t>. Sit </a:t>
            </a:r>
            <a:r>
              <a:rPr lang="en-US" err="1"/>
              <a:t>amet</a:t>
            </a:r>
            <a:r>
              <a:rPr lang="en-US"/>
              <a:t> </a:t>
            </a:r>
            <a:r>
              <a:rPr lang="en-US" err="1"/>
              <a:t>aliquam</a:t>
            </a:r>
            <a:r>
              <a:rPr lang="en-US"/>
              <a:t> id diam </a:t>
            </a:r>
            <a:r>
              <a:rPr lang="en-US" err="1"/>
              <a:t>maecenas</a:t>
            </a:r>
            <a:r>
              <a:rPr lang="en-US"/>
              <a:t>. </a:t>
            </a:r>
            <a:r>
              <a:rPr lang="en-US" err="1"/>
              <a:t>Scelerisque</a:t>
            </a:r>
            <a:r>
              <a:rPr lang="en-US"/>
              <a:t> fermentum dui </a:t>
            </a:r>
            <a:r>
              <a:rPr lang="en-US" err="1"/>
              <a:t>faucibus</a:t>
            </a:r>
            <a:r>
              <a:rPr lang="en-US"/>
              <a:t> in </a:t>
            </a:r>
            <a:r>
              <a:rPr lang="en-US" err="1"/>
              <a:t>ornare</a:t>
            </a:r>
            <a:r>
              <a:rPr lang="en-US"/>
              <a:t>. </a:t>
            </a:r>
          </a:p>
          <a:p>
            <a:pPr lvl="0"/>
            <a:r>
              <a:rPr lang="en-US" err="1"/>
              <a:t>Ornare</a:t>
            </a:r>
            <a:r>
              <a:rPr lang="en-US"/>
              <a:t> </a:t>
            </a:r>
            <a:r>
              <a:rPr lang="en-US" err="1"/>
              <a:t>massa</a:t>
            </a:r>
            <a:r>
              <a:rPr lang="en-US"/>
              <a:t> </a:t>
            </a:r>
            <a:r>
              <a:rPr lang="en-US" err="1"/>
              <a:t>eget</a:t>
            </a:r>
            <a:r>
              <a:rPr lang="en-US"/>
              <a:t> </a:t>
            </a:r>
            <a:r>
              <a:rPr lang="en-US" err="1"/>
              <a:t>egestas</a:t>
            </a:r>
            <a:r>
              <a:rPr lang="en-US"/>
              <a:t> </a:t>
            </a:r>
            <a:r>
              <a:rPr lang="en-US" err="1"/>
              <a:t>purus</a:t>
            </a:r>
            <a:r>
              <a:rPr lang="en-US"/>
              <a:t> </a:t>
            </a:r>
            <a:r>
              <a:rPr lang="en-US" err="1"/>
              <a:t>viverra</a:t>
            </a:r>
            <a:r>
              <a:rPr lang="en-US"/>
              <a:t>. </a:t>
            </a:r>
            <a:r>
              <a:rPr lang="en-US" err="1"/>
              <a:t>Aliquam</a:t>
            </a:r>
            <a:r>
              <a:rPr lang="en-US"/>
              <a:t> id diam </a:t>
            </a:r>
            <a:r>
              <a:rPr lang="en-US" err="1"/>
              <a:t>maecenas</a:t>
            </a:r>
            <a:r>
              <a:rPr lang="en-US"/>
              <a:t> </a:t>
            </a:r>
            <a:r>
              <a:rPr lang="en-US" err="1"/>
              <a:t>ultricies</a:t>
            </a:r>
            <a:r>
              <a:rPr lang="en-US"/>
              <a:t> mi </a:t>
            </a:r>
            <a:r>
              <a:rPr lang="en-US" err="1"/>
              <a:t>eget</a:t>
            </a:r>
            <a:r>
              <a:rPr lang="en-US"/>
              <a:t> </a:t>
            </a:r>
            <a:r>
              <a:rPr lang="en-US" err="1"/>
              <a:t>mauris</a:t>
            </a:r>
            <a:r>
              <a:rPr lang="en-US"/>
              <a:t> </a:t>
            </a:r>
          </a:p>
          <a:p>
            <a:pPr lvl="0"/>
            <a:r>
              <a:rPr lang="en-US" err="1"/>
              <a:t>Turpis</a:t>
            </a:r>
            <a:r>
              <a:rPr lang="en-US"/>
              <a:t> </a:t>
            </a:r>
            <a:r>
              <a:rPr lang="en-US" err="1"/>
              <a:t>massa</a:t>
            </a:r>
            <a:r>
              <a:rPr lang="en-US"/>
              <a:t> </a:t>
            </a:r>
            <a:r>
              <a:rPr lang="en-US" err="1"/>
              <a:t>tincidunt</a:t>
            </a:r>
            <a:r>
              <a:rPr lang="en-US"/>
              <a:t> dui </a:t>
            </a:r>
            <a:r>
              <a:rPr lang="en-US" err="1"/>
              <a:t>ut</a:t>
            </a:r>
            <a:r>
              <a:rPr lang="en-US"/>
              <a:t> </a:t>
            </a:r>
            <a:r>
              <a:rPr lang="en-US" err="1"/>
              <a:t>ornare</a:t>
            </a:r>
            <a:r>
              <a:rPr lang="en-US"/>
              <a:t> </a:t>
            </a:r>
            <a:r>
              <a:rPr lang="en-US" err="1"/>
              <a:t>lectus</a:t>
            </a:r>
            <a:r>
              <a:rPr lang="en-US"/>
              <a:t>. Massa id </a:t>
            </a:r>
            <a:r>
              <a:rPr lang="en-US" err="1"/>
              <a:t>neque</a:t>
            </a:r>
            <a:r>
              <a:rPr lang="en-US"/>
              <a:t> </a:t>
            </a:r>
            <a:r>
              <a:rPr lang="en-US" err="1"/>
              <a:t>aliquam</a:t>
            </a:r>
            <a:r>
              <a:rPr lang="en-US"/>
              <a:t> vestibulum. Maecenas </a:t>
            </a:r>
            <a:r>
              <a:rPr lang="en-US" err="1"/>
              <a:t>accumsan</a:t>
            </a:r>
            <a:r>
              <a:rPr lang="en-US"/>
              <a:t> </a:t>
            </a:r>
            <a:r>
              <a:rPr lang="en-US" err="1"/>
              <a:t>lacus</a:t>
            </a:r>
            <a:r>
              <a:rPr lang="en-US"/>
              <a:t> vel </a:t>
            </a:r>
            <a:r>
              <a:rPr lang="en-US" err="1"/>
              <a:t>facilisis</a:t>
            </a:r>
            <a:r>
              <a:rPr lang="en-US"/>
              <a:t> </a:t>
            </a:r>
            <a:r>
              <a:rPr lang="en-US" err="1"/>
              <a:t>volutpat</a:t>
            </a:r>
            <a:r>
              <a:rPr lang="en-US"/>
              <a:t>. </a:t>
            </a:r>
          </a:p>
          <a:p>
            <a:pPr lvl="0"/>
            <a:endParaRPr lang="en-US"/>
          </a:p>
        </p:txBody>
      </p:sp>
      <p:sp>
        <p:nvSpPr>
          <p:cNvPr id="11" name="Title 1">
            <a:extLst>
              <a:ext uri="{FF2B5EF4-FFF2-40B4-BE49-F238E27FC236}">
                <a16:creationId xmlns:a16="http://schemas.microsoft.com/office/drawing/2014/main" id="{48BEB58F-D24F-CB40-A2FF-6EA4CC34378B}"/>
              </a:ext>
            </a:extLst>
          </p:cNvPr>
          <p:cNvSpPr>
            <a:spLocks noGrp="1"/>
          </p:cNvSpPr>
          <p:nvPr>
            <p:ph type="title" hasCustomPrompt="1"/>
          </p:nvPr>
        </p:nvSpPr>
        <p:spPr>
          <a:xfrm>
            <a:off x="6732530" y="1063750"/>
            <a:ext cx="4843172" cy="650750"/>
          </a:xfrm>
        </p:spPr>
        <p:txBody>
          <a:bodyPr anchor="t">
            <a:noAutofit/>
          </a:bodyPr>
          <a:lstStyle>
            <a:lvl1pPr>
              <a:lnSpc>
                <a:spcPct val="100000"/>
              </a:lnSpc>
              <a:defRPr sz="2000" b="1">
                <a:solidFill>
                  <a:srgbClr val="333333"/>
                </a:solidFill>
                <a:latin typeface="+mn-lt"/>
              </a:defRPr>
            </a:lvl1pPr>
          </a:lstStyle>
          <a:p>
            <a:r>
              <a:rPr lang="en-US"/>
              <a:t>A half half layout that has a long subhead to introduce the points below:</a:t>
            </a:r>
            <a:br>
              <a:rPr lang="en-US"/>
            </a:br>
            <a:endParaRPr lang="en-US"/>
          </a:p>
        </p:txBody>
      </p:sp>
    </p:spTree>
    <p:extLst>
      <p:ext uri="{BB962C8B-B14F-4D97-AF65-F5344CB8AC3E}">
        <p14:creationId xmlns:p14="http://schemas.microsoft.com/office/powerpoint/2010/main" val="7046141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Bold header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5D9691C-8F92-1A48-B888-625B874E7C2E}"/>
              </a:ext>
            </a:extLst>
          </p:cNvPr>
          <p:cNvGrpSpPr/>
          <p:nvPr/>
        </p:nvGrpSpPr>
        <p:grpSpPr>
          <a:xfrm>
            <a:off x="11800685" y="6466711"/>
            <a:ext cx="391316" cy="391291"/>
            <a:chOff x="23599832" y="12933419"/>
            <a:chExt cx="782581" cy="782581"/>
          </a:xfrm>
        </p:grpSpPr>
        <p:sp>
          <p:nvSpPr>
            <p:cNvPr id="2" name="Rectangle 1">
              <a:extLst>
                <a:ext uri="{FF2B5EF4-FFF2-40B4-BE49-F238E27FC236}">
                  <a16:creationId xmlns:a16="http://schemas.microsoft.com/office/drawing/2014/main" id="{02C1215E-ACFF-E643-A41C-8B8E4269EDAD}"/>
                </a:ext>
              </a:extLst>
            </p:cNvPr>
            <p:cNvSpPr/>
            <p:nvPr/>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7" name="Picture 6">
              <a:extLst>
                <a:ext uri="{FF2B5EF4-FFF2-40B4-BE49-F238E27FC236}">
                  <a16:creationId xmlns:a16="http://schemas.microsoft.com/office/drawing/2014/main" id="{839C6856-2C69-354E-9E2D-4255A7942768}"/>
                </a:ext>
              </a:extLst>
            </p:cNvPr>
            <p:cNvPicPr>
              <a:picLocks noChangeAspect="1"/>
            </p:cNvPicPr>
            <p:nvPr/>
          </p:nvPicPr>
          <p:blipFill>
            <a:blip r:embed="rId2"/>
            <a:stretch>
              <a:fillRect/>
            </a:stretch>
          </p:blipFill>
          <p:spPr>
            <a:xfrm>
              <a:off x="23829051" y="13147223"/>
              <a:ext cx="324143" cy="356158"/>
            </a:xfrm>
            <a:prstGeom prst="rect">
              <a:avLst/>
            </a:prstGeom>
          </p:spPr>
        </p:pic>
      </p:grpSp>
      <p:sp>
        <p:nvSpPr>
          <p:cNvPr id="8" name="TextBox 7">
            <a:extLst>
              <a:ext uri="{FF2B5EF4-FFF2-40B4-BE49-F238E27FC236}">
                <a16:creationId xmlns:a16="http://schemas.microsoft.com/office/drawing/2014/main" id="{7E69DB7C-5DCC-634C-B2F2-71D23971A166}"/>
              </a:ext>
            </a:extLst>
          </p:cNvPr>
          <p:cNvSpPr txBox="1">
            <a:spLocks/>
          </p:cNvSpPr>
          <p:nvPr/>
        </p:nvSpPr>
        <p:spPr>
          <a:xfrm>
            <a:off x="11575704" y="332531"/>
            <a:ext cx="233505"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tx1"/>
                </a:solidFill>
                <a:latin typeface="Scotia" panose="020B0503020203020204" pitchFamily="34" charset="0"/>
              </a:rPr>
              <a:pPr algn="r"/>
              <a:t>‹#›</a:t>
            </a:fld>
            <a:endParaRPr lang="en-CA" sz="600">
              <a:solidFill>
                <a:schemeClr val="tx1"/>
              </a:solidFill>
              <a:latin typeface="Scotia" panose="020B0503020203020204" pitchFamily="34" charset="0"/>
            </a:endParaRPr>
          </a:p>
        </p:txBody>
      </p:sp>
    </p:spTree>
    <p:extLst>
      <p:ext uri="{BB962C8B-B14F-4D97-AF65-F5344CB8AC3E}">
        <p14:creationId xmlns:p14="http://schemas.microsoft.com/office/powerpoint/2010/main" val="1196865365"/>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070216B7-311A-D342-9582-8BA735A42307}"/>
              </a:ext>
            </a:extLst>
          </p:cNvPr>
          <p:cNvSpPr txBox="1"/>
          <p:nvPr userDrawn="1"/>
        </p:nvSpPr>
        <p:spPr>
          <a:xfrm>
            <a:off x="5698435" y="1338470"/>
            <a:ext cx="65"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algn="l"/>
            <a:endParaRPr lang="en-US" sz="3600">
              <a:latin typeface="Gilroy" pitchFamily="2" charset="77"/>
            </a:endParaRPr>
          </a:p>
        </p:txBody>
      </p:sp>
      <p:sp>
        <p:nvSpPr>
          <p:cNvPr id="3" name="Rectangle 2">
            <a:extLst>
              <a:ext uri="{FF2B5EF4-FFF2-40B4-BE49-F238E27FC236}">
                <a16:creationId xmlns:a16="http://schemas.microsoft.com/office/drawing/2014/main" id="{45E61B8B-765C-7948-8F5A-58D1FC191D97}"/>
              </a:ext>
            </a:extLst>
          </p:cNvPr>
          <p:cNvSpPr/>
          <p:nvPr userDrawn="1"/>
        </p:nvSpPr>
        <p:spPr>
          <a:xfrm>
            <a:off x="10084905" y="6387173"/>
            <a:ext cx="2107094" cy="230824"/>
          </a:xfrm>
          <a:prstGeom prst="rect">
            <a:avLst/>
          </a:pr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spAutoFit/>
          </a:bodyPr>
          <a:lstStyle/>
          <a:p>
            <a:pPr hangingPunct="0"/>
            <a:endParaRPr lang="en-US" sz="900">
              <a:solidFill>
                <a:srgbClr val="323232"/>
              </a:solidFill>
              <a:latin typeface="Gotham"/>
              <a:ea typeface="Gotham"/>
              <a:cs typeface="Gotham"/>
              <a:sym typeface="Gotham"/>
            </a:endParaRPr>
          </a:p>
        </p:txBody>
      </p:sp>
      <p:sp>
        <p:nvSpPr>
          <p:cNvPr id="4" name="Rectangle 3">
            <a:extLst>
              <a:ext uri="{FF2B5EF4-FFF2-40B4-BE49-F238E27FC236}">
                <a16:creationId xmlns:a16="http://schemas.microsoft.com/office/drawing/2014/main" id="{03685748-094C-8744-807A-D8ECD517BBDE}"/>
              </a:ext>
            </a:extLst>
          </p:cNvPr>
          <p:cNvSpPr/>
          <p:nvPr userDrawn="1"/>
        </p:nvSpPr>
        <p:spPr>
          <a:xfrm>
            <a:off x="10059055" y="6156960"/>
            <a:ext cx="2132945" cy="701040"/>
          </a:xfrm>
          <a:prstGeom prst="rect">
            <a:avLst/>
          </a:pr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hangingPunct="0"/>
            <a:endParaRPr lang="en-US" sz="900">
              <a:solidFill>
                <a:srgbClr val="323232"/>
              </a:solidFill>
              <a:latin typeface="Gotham"/>
              <a:ea typeface="Gotham"/>
              <a:cs typeface="Gotham"/>
              <a:sym typeface="Gotham"/>
            </a:endParaRPr>
          </a:p>
        </p:txBody>
      </p:sp>
      <p:pic>
        <p:nvPicPr>
          <p:cNvPr id="5" name="Picture 4">
            <a:extLst>
              <a:ext uri="{FF2B5EF4-FFF2-40B4-BE49-F238E27FC236}">
                <a16:creationId xmlns:a16="http://schemas.microsoft.com/office/drawing/2014/main" id="{D4D71426-98BF-C048-B65E-7A60DA4C701B}"/>
              </a:ext>
            </a:extLst>
          </p:cNvPr>
          <p:cNvPicPr>
            <a:picLocks noChangeAspect="1"/>
          </p:cNvPicPr>
          <p:nvPr userDrawn="1"/>
        </p:nvPicPr>
        <p:blipFill>
          <a:blip r:embed="rId2"/>
          <a:stretch>
            <a:fillRect/>
          </a:stretch>
        </p:blipFill>
        <p:spPr>
          <a:xfrm>
            <a:off x="10313129" y="6371955"/>
            <a:ext cx="1671568" cy="238781"/>
          </a:xfrm>
          <a:prstGeom prst="rect">
            <a:avLst/>
          </a:prstGeom>
        </p:spPr>
      </p:pic>
    </p:spTree>
    <p:extLst>
      <p:ext uri="{BB962C8B-B14F-4D97-AF65-F5344CB8AC3E}">
        <p14:creationId xmlns:p14="http://schemas.microsoft.com/office/powerpoint/2010/main" val="35435562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ld header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5D9691C-8F92-1A48-B888-625B874E7C2E}"/>
              </a:ext>
            </a:extLst>
          </p:cNvPr>
          <p:cNvGrpSpPr/>
          <p:nvPr userDrawn="1"/>
        </p:nvGrpSpPr>
        <p:grpSpPr>
          <a:xfrm>
            <a:off x="11800684" y="6466710"/>
            <a:ext cx="391316" cy="391291"/>
            <a:chOff x="23599832" y="12933419"/>
            <a:chExt cx="782581" cy="782581"/>
          </a:xfrm>
        </p:grpSpPr>
        <p:sp>
          <p:nvSpPr>
            <p:cNvPr id="2" name="Rectangle 1">
              <a:extLst>
                <a:ext uri="{FF2B5EF4-FFF2-40B4-BE49-F238E27FC236}">
                  <a16:creationId xmlns:a16="http://schemas.microsoft.com/office/drawing/2014/main" id="{02C1215E-ACFF-E643-A41C-8B8E4269EDAD}"/>
                </a:ext>
              </a:extLst>
            </p:cNvPr>
            <p:cNvSpPr/>
            <p:nvPr userDrawn="1"/>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7" name="Picture 6">
              <a:extLst>
                <a:ext uri="{FF2B5EF4-FFF2-40B4-BE49-F238E27FC236}">
                  <a16:creationId xmlns:a16="http://schemas.microsoft.com/office/drawing/2014/main" id="{839C6856-2C69-354E-9E2D-4255A7942768}"/>
                </a:ext>
              </a:extLst>
            </p:cNvPr>
            <p:cNvPicPr>
              <a:picLocks noChangeAspect="1"/>
            </p:cNvPicPr>
            <p:nvPr userDrawn="1"/>
          </p:nvPicPr>
          <p:blipFill>
            <a:blip r:embed="rId2"/>
            <a:stretch>
              <a:fillRect/>
            </a:stretch>
          </p:blipFill>
          <p:spPr>
            <a:xfrm>
              <a:off x="23829051" y="13147223"/>
              <a:ext cx="324143" cy="356158"/>
            </a:xfrm>
            <a:prstGeom prst="rect">
              <a:avLst/>
            </a:prstGeom>
          </p:spPr>
        </p:pic>
      </p:grpSp>
      <p:sp>
        <p:nvSpPr>
          <p:cNvPr id="8" name="TextBox 7">
            <a:extLst>
              <a:ext uri="{FF2B5EF4-FFF2-40B4-BE49-F238E27FC236}">
                <a16:creationId xmlns:a16="http://schemas.microsoft.com/office/drawing/2014/main" id="{7E69DB7C-5DCC-634C-B2F2-71D23971A166}"/>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Tree>
    <p:extLst>
      <p:ext uri="{BB962C8B-B14F-4D97-AF65-F5344CB8AC3E}">
        <p14:creationId xmlns:p14="http://schemas.microsoft.com/office/powerpoint/2010/main" val="33154353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ld header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4C1B97-608E-A04B-8C79-E4DFAD7D3E07}"/>
              </a:ext>
            </a:extLst>
          </p:cNvPr>
          <p:cNvSpPr/>
          <p:nvPr userDrawn="1"/>
        </p:nvSpPr>
        <p:spPr>
          <a:xfrm>
            <a:off x="11800685" y="6539541"/>
            <a:ext cx="391316" cy="246221"/>
          </a:xfrm>
          <a:prstGeom prst="rect">
            <a:avLst/>
          </a:prstGeom>
          <a:solidFill>
            <a:srgbClr val="EC111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Scotia Regular" panose="020B0503020203020204" pitchFamily="34" charset="0"/>
              <a:ea typeface="+mn-ea"/>
              <a:cs typeface="+mn-cs"/>
              <a:sym typeface="Gilroy Medium"/>
            </a:endParaRPr>
          </a:p>
        </p:txBody>
      </p:sp>
      <p:pic>
        <p:nvPicPr>
          <p:cNvPr id="6" name="Picture 5">
            <a:extLst>
              <a:ext uri="{FF2B5EF4-FFF2-40B4-BE49-F238E27FC236}">
                <a16:creationId xmlns:a16="http://schemas.microsoft.com/office/drawing/2014/main" id="{1DDA113F-E5F7-AF49-8EAD-F6D4FAC479B0}"/>
              </a:ext>
            </a:extLst>
          </p:cNvPr>
          <p:cNvPicPr>
            <a:picLocks noChangeAspect="1"/>
          </p:cNvPicPr>
          <p:nvPr userDrawn="1"/>
        </p:nvPicPr>
        <p:blipFill>
          <a:blip r:embed="rId2"/>
          <a:stretch>
            <a:fillRect/>
          </a:stretch>
        </p:blipFill>
        <p:spPr>
          <a:xfrm>
            <a:off x="11915301" y="6573612"/>
            <a:ext cx="162082" cy="178079"/>
          </a:xfrm>
          <a:prstGeom prst="rect">
            <a:avLst/>
          </a:prstGeom>
        </p:spPr>
      </p:pic>
      <p:sp>
        <p:nvSpPr>
          <p:cNvPr id="9" name="Rectangle 8">
            <a:extLst>
              <a:ext uri="{FF2B5EF4-FFF2-40B4-BE49-F238E27FC236}">
                <a16:creationId xmlns:a16="http://schemas.microsoft.com/office/drawing/2014/main" id="{F68C378E-2939-D84A-B928-5CF4279A29ED}"/>
              </a:ext>
            </a:extLst>
          </p:cNvPr>
          <p:cNvSpPr/>
          <p:nvPr userDrawn="1"/>
        </p:nvSpPr>
        <p:spPr>
          <a:xfrm flipV="1">
            <a:off x="0" y="4277483"/>
            <a:ext cx="12192000" cy="230824"/>
          </a:xfrm>
          <a:prstGeom prst="rect">
            <a:avLst/>
          </a:prstGeom>
          <a:solidFill>
            <a:schemeClr val="bg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spAutoFit/>
          </a:bodyPr>
          <a:lstStyle/>
          <a:p>
            <a:pPr hangingPunct="0"/>
            <a:endParaRPr lang="en-US" sz="900">
              <a:solidFill>
                <a:srgbClr val="323232"/>
              </a:solidFill>
              <a:latin typeface="Gotham"/>
              <a:ea typeface="Gotham"/>
              <a:cs typeface="Gotham"/>
              <a:sym typeface="Gotham"/>
            </a:endParaRPr>
          </a:p>
        </p:txBody>
      </p:sp>
      <p:sp>
        <p:nvSpPr>
          <p:cNvPr id="12" name="TextBox 7">
            <a:extLst>
              <a:ext uri="{FF2B5EF4-FFF2-40B4-BE49-F238E27FC236}">
                <a16:creationId xmlns:a16="http://schemas.microsoft.com/office/drawing/2014/main" id="{6FA012D3-DE11-0147-B233-34C0D6AA1145}"/>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grpSp>
        <p:nvGrpSpPr>
          <p:cNvPr id="8" name="Group 7">
            <a:extLst>
              <a:ext uri="{FF2B5EF4-FFF2-40B4-BE49-F238E27FC236}">
                <a16:creationId xmlns:a16="http://schemas.microsoft.com/office/drawing/2014/main" id="{15E69EB4-1904-EA4F-B0BF-3C2F55DEA030}"/>
              </a:ext>
            </a:extLst>
          </p:cNvPr>
          <p:cNvGrpSpPr/>
          <p:nvPr userDrawn="1"/>
        </p:nvGrpSpPr>
        <p:grpSpPr>
          <a:xfrm>
            <a:off x="11800684" y="6466710"/>
            <a:ext cx="391316" cy="391291"/>
            <a:chOff x="23599832" y="12933419"/>
            <a:chExt cx="782581" cy="782581"/>
          </a:xfrm>
        </p:grpSpPr>
        <p:sp>
          <p:nvSpPr>
            <p:cNvPr id="13" name="Rectangle 12">
              <a:extLst>
                <a:ext uri="{FF2B5EF4-FFF2-40B4-BE49-F238E27FC236}">
                  <a16:creationId xmlns:a16="http://schemas.microsoft.com/office/drawing/2014/main" id="{B7A3A10C-AEA3-1943-B5FD-065CEED4092B}"/>
                </a:ext>
              </a:extLst>
            </p:cNvPr>
            <p:cNvSpPr/>
            <p:nvPr userDrawn="1"/>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4" name="Picture 13">
              <a:extLst>
                <a:ext uri="{FF2B5EF4-FFF2-40B4-BE49-F238E27FC236}">
                  <a16:creationId xmlns:a16="http://schemas.microsoft.com/office/drawing/2014/main" id="{9708AE9E-C1FD-3C4F-9D51-4F4E83287A2F}"/>
                </a:ext>
              </a:extLst>
            </p:cNvPr>
            <p:cNvPicPr>
              <a:picLocks noChangeAspect="1"/>
            </p:cNvPicPr>
            <p:nvPr userDrawn="1"/>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2457698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old header 2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4C1B97-608E-A04B-8C79-E4DFAD7D3E07}"/>
              </a:ext>
            </a:extLst>
          </p:cNvPr>
          <p:cNvSpPr/>
          <p:nvPr userDrawn="1"/>
        </p:nvSpPr>
        <p:spPr>
          <a:xfrm>
            <a:off x="11800685" y="6539541"/>
            <a:ext cx="391316" cy="246221"/>
          </a:xfrm>
          <a:prstGeom prst="rect">
            <a:avLst/>
          </a:prstGeom>
          <a:solidFill>
            <a:srgbClr val="EC111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Scotia Regular" panose="020B0503020203020204" pitchFamily="34" charset="0"/>
              <a:ea typeface="+mn-ea"/>
              <a:cs typeface="+mn-cs"/>
              <a:sym typeface="Gilroy Medium"/>
            </a:endParaRPr>
          </a:p>
        </p:txBody>
      </p:sp>
      <p:pic>
        <p:nvPicPr>
          <p:cNvPr id="6" name="Picture 5">
            <a:extLst>
              <a:ext uri="{FF2B5EF4-FFF2-40B4-BE49-F238E27FC236}">
                <a16:creationId xmlns:a16="http://schemas.microsoft.com/office/drawing/2014/main" id="{1DDA113F-E5F7-AF49-8EAD-F6D4FAC479B0}"/>
              </a:ext>
            </a:extLst>
          </p:cNvPr>
          <p:cNvPicPr>
            <a:picLocks noChangeAspect="1"/>
          </p:cNvPicPr>
          <p:nvPr userDrawn="1"/>
        </p:nvPicPr>
        <p:blipFill>
          <a:blip r:embed="rId2"/>
          <a:stretch>
            <a:fillRect/>
          </a:stretch>
        </p:blipFill>
        <p:spPr>
          <a:xfrm>
            <a:off x="11915301" y="6573612"/>
            <a:ext cx="162082" cy="178079"/>
          </a:xfrm>
          <a:prstGeom prst="rect">
            <a:avLst/>
          </a:prstGeom>
        </p:spPr>
      </p:pic>
      <p:sp>
        <p:nvSpPr>
          <p:cNvPr id="12" name="TextBox 7">
            <a:extLst>
              <a:ext uri="{FF2B5EF4-FFF2-40B4-BE49-F238E27FC236}">
                <a16:creationId xmlns:a16="http://schemas.microsoft.com/office/drawing/2014/main" id="{6FA012D3-DE11-0147-B233-34C0D6AA1145}"/>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grpSp>
        <p:nvGrpSpPr>
          <p:cNvPr id="8" name="Group 7">
            <a:extLst>
              <a:ext uri="{FF2B5EF4-FFF2-40B4-BE49-F238E27FC236}">
                <a16:creationId xmlns:a16="http://schemas.microsoft.com/office/drawing/2014/main" id="{15E69EB4-1904-EA4F-B0BF-3C2F55DEA030}"/>
              </a:ext>
            </a:extLst>
          </p:cNvPr>
          <p:cNvGrpSpPr/>
          <p:nvPr userDrawn="1"/>
        </p:nvGrpSpPr>
        <p:grpSpPr>
          <a:xfrm>
            <a:off x="11800684" y="6466710"/>
            <a:ext cx="391316" cy="391291"/>
            <a:chOff x="23599832" y="12933419"/>
            <a:chExt cx="782581" cy="782581"/>
          </a:xfrm>
        </p:grpSpPr>
        <p:sp>
          <p:nvSpPr>
            <p:cNvPr id="13" name="Rectangle 12">
              <a:extLst>
                <a:ext uri="{FF2B5EF4-FFF2-40B4-BE49-F238E27FC236}">
                  <a16:creationId xmlns:a16="http://schemas.microsoft.com/office/drawing/2014/main" id="{B7A3A10C-AEA3-1943-B5FD-065CEED4092B}"/>
                </a:ext>
              </a:extLst>
            </p:cNvPr>
            <p:cNvSpPr/>
            <p:nvPr userDrawn="1"/>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4" name="Picture 13">
              <a:extLst>
                <a:ext uri="{FF2B5EF4-FFF2-40B4-BE49-F238E27FC236}">
                  <a16:creationId xmlns:a16="http://schemas.microsoft.com/office/drawing/2014/main" id="{9708AE9E-C1FD-3C4F-9D51-4F4E83287A2F}"/>
                </a:ext>
              </a:extLst>
            </p:cNvPr>
            <p:cNvPicPr>
              <a:picLocks noChangeAspect="1"/>
            </p:cNvPicPr>
            <p:nvPr userDrawn="1"/>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41058135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ld header (righ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8CD8353-339B-A949-9962-88420B3D581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5" name="Rectangle 4">
            <a:extLst>
              <a:ext uri="{FF2B5EF4-FFF2-40B4-BE49-F238E27FC236}">
                <a16:creationId xmlns:a16="http://schemas.microsoft.com/office/drawing/2014/main" id="{9972DADE-B3C1-3A4D-83EA-42D8E45D236B}"/>
              </a:ext>
            </a:extLst>
          </p:cNvPr>
          <p:cNvSpPr/>
          <p:nvPr userDrawn="1"/>
        </p:nvSpPr>
        <p:spPr>
          <a:xfrm flipH="1">
            <a:off x="0" y="0"/>
            <a:ext cx="6083058" cy="6857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0" i="0">
              <a:latin typeface="Scotia Regular" panose="020B0503020203020204" pitchFamily="34" charset="0"/>
            </a:endParaRPr>
          </a:p>
        </p:txBody>
      </p:sp>
      <p:sp>
        <p:nvSpPr>
          <p:cNvPr id="10" name="TextBox 7">
            <a:extLst>
              <a:ext uri="{FF2B5EF4-FFF2-40B4-BE49-F238E27FC236}">
                <a16:creationId xmlns:a16="http://schemas.microsoft.com/office/drawing/2014/main" id="{60AD4FC9-0E4A-BB47-90EB-8736D75D9CDA}"/>
              </a:ext>
            </a:extLst>
          </p:cNvPr>
          <p:cNvSpPr txBox="1">
            <a:spLocks/>
          </p:cNvSpPr>
          <p:nvPr userDrawn="1"/>
        </p:nvSpPr>
        <p:spPr>
          <a:xfrm>
            <a:off x="11575702" y="332306"/>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grpSp>
        <p:nvGrpSpPr>
          <p:cNvPr id="7" name="Group 6">
            <a:extLst>
              <a:ext uri="{FF2B5EF4-FFF2-40B4-BE49-F238E27FC236}">
                <a16:creationId xmlns:a16="http://schemas.microsoft.com/office/drawing/2014/main" id="{08BEE7A1-B9D0-974C-86DD-E374DC48CA87}"/>
              </a:ext>
            </a:extLst>
          </p:cNvPr>
          <p:cNvGrpSpPr/>
          <p:nvPr userDrawn="1"/>
        </p:nvGrpSpPr>
        <p:grpSpPr>
          <a:xfrm>
            <a:off x="11800684" y="6466710"/>
            <a:ext cx="391316" cy="391291"/>
            <a:chOff x="23599832" y="12933419"/>
            <a:chExt cx="782581" cy="782581"/>
          </a:xfrm>
        </p:grpSpPr>
        <p:sp>
          <p:nvSpPr>
            <p:cNvPr id="9" name="Rectangle 8">
              <a:extLst>
                <a:ext uri="{FF2B5EF4-FFF2-40B4-BE49-F238E27FC236}">
                  <a16:creationId xmlns:a16="http://schemas.microsoft.com/office/drawing/2014/main" id="{0312EA81-4C94-D343-916C-682AB1E00F22}"/>
                </a:ext>
              </a:extLst>
            </p:cNvPr>
            <p:cNvSpPr/>
            <p:nvPr userDrawn="1"/>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1" name="Picture 10">
              <a:extLst>
                <a:ext uri="{FF2B5EF4-FFF2-40B4-BE49-F238E27FC236}">
                  <a16:creationId xmlns:a16="http://schemas.microsoft.com/office/drawing/2014/main" id="{E14291DC-1173-B140-883A-8B64D70FB78D}"/>
                </a:ext>
              </a:extLst>
            </p:cNvPr>
            <p:cNvPicPr>
              <a:picLocks noChangeAspect="1"/>
            </p:cNvPicPr>
            <p:nvPr userDrawn="1"/>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24657152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ull colour backgroun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8CD8353-339B-A949-9962-88420B3D581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sp>
        <p:nvSpPr>
          <p:cNvPr id="10" name="TextBox 7">
            <a:extLst>
              <a:ext uri="{FF2B5EF4-FFF2-40B4-BE49-F238E27FC236}">
                <a16:creationId xmlns:a16="http://schemas.microsoft.com/office/drawing/2014/main" id="{60AD4FC9-0E4A-BB47-90EB-8736D75D9CDA}"/>
              </a:ext>
            </a:extLst>
          </p:cNvPr>
          <p:cNvSpPr txBox="1">
            <a:spLocks/>
          </p:cNvSpPr>
          <p:nvPr userDrawn="1"/>
        </p:nvSpPr>
        <p:spPr>
          <a:xfrm>
            <a:off x="11575702" y="332306"/>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grpSp>
        <p:nvGrpSpPr>
          <p:cNvPr id="7" name="Group 6">
            <a:extLst>
              <a:ext uri="{FF2B5EF4-FFF2-40B4-BE49-F238E27FC236}">
                <a16:creationId xmlns:a16="http://schemas.microsoft.com/office/drawing/2014/main" id="{B000A1F6-DE07-6149-BE17-6DA2C7D5BFFB}"/>
              </a:ext>
            </a:extLst>
          </p:cNvPr>
          <p:cNvGrpSpPr/>
          <p:nvPr userDrawn="1"/>
        </p:nvGrpSpPr>
        <p:grpSpPr>
          <a:xfrm>
            <a:off x="11800684" y="6466710"/>
            <a:ext cx="391316" cy="391291"/>
            <a:chOff x="23599832" y="12933419"/>
            <a:chExt cx="782581" cy="782581"/>
          </a:xfrm>
        </p:grpSpPr>
        <p:sp>
          <p:nvSpPr>
            <p:cNvPr id="9" name="Rectangle 8">
              <a:extLst>
                <a:ext uri="{FF2B5EF4-FFF2-40B4-BE49-F238E27FC236}">
                  <a16:creationId xmlns:a16="http://schemas.microsoft.com/office/drawing/2014/main" id="{3C3B9BCE-8FA0-4749-809B-426CF819D5F8}"/>
                </a:ext>
              </a:extLst>
            </p:cNvPr>
            <p:cNvSpPr/>
            <p:nvPr userDrawn="1"/>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1" name="Picture 10">
              <a:extLst>
                <a:ext uri="{FF2B5EF4-FFF2-40B4-BE49-F238E27FC236}">
                  <a16:creationId xmlns:a16="http://schemas.microsoft.com/office/drawing/2014/main" id="{26FD635D-FCD5-F340-A9C1-013EBBE18734}"/>
                </a:ext>
              </a:extLst>
            </p:cNvPr>
            <p:cNvPicPr>
              <a:picLocks noChangeAspect="1"/>
            </p:cNvPicPr>
            <p:nvPr userDrawn="1"/>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316137369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34C0E13-41DE-514C-A581-46C747B855C7}"/>
              </a:ext>
            </a:extLst>
          </p:cNvPr>
          <p:cNvSpPr>
            <a:spLocks noGrp="1"/>
          </p:cNvSpPr>
          <p:nvPr>
            <p:ph type="pic" sz="quarter" idx="10" hasCustomPrompt="1"/>
          </p:nvPr>
        </p:nvSpPr>
        <p:spPr>
          <a:xfrm>
            <a:off x="6105524" y="0"/>
            <a:ext cx="6086476" cy="6858000"/>
          </a:xfrm>
        </p:spPr>
        <p:txBody>
          <a:bodyPr anchor="ctr"/>
          <a:lstStyle>
            <a:lvl1pPr marL="0" indent="0" algn="ctr">
              <a:buNone/>
              <a:defRPr>
                <a:solidFill>
                  <a:schemeClr val="bg1"/>
                </a:solidFill>
                <a:latin typeface="Scotia" panose="020B0503020203020204" pitchFamily="34" charset="0"/>
              </a:defRPr>
            </a:lvl1pPr>
          </a:lstStyle>
          <a:p>
            <a:r>
              <a:rPr lang="en-US"/>
              <a:t>Picture</a:t>
            </a:r>
          </a:p>
        </p:txBody>
      </p:sp>
      <p:sp>
        <p:nvSpPr>
          <p:cNvPr id="7" name="TextBox 6">
            <a:extLst>
              <a:ext uri="{FF2B5EF4-FFF2-40B4-BE49-F238E27FC236}">
                <a16:creationId xmlns:a16="http://schemas.microsoft.com/office/drawing/2014/main" id="{EED3C31C-4F98-D546-947E-85D8BD2F514C}"/>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grpSp>
        <p:nvGrpSpPr>
          <p:cNvPr id="8" name="Group 7">
            <a:extLst>
              <a:ext uri="{FF2B5EF4-FFF2-40B4-BE49-F238E27FC236}">
                <a16:creationId xmlns:a16="http://schemas.microsoft.com/office/drawing/2014/main" id="{3B07CB02-02C1-F249-B155-E8D44F435DA5}"/>
              </a:ext>
            </a:extLst>
          </p:cNvPr>
          <p:cNvGrpSpPr/>
          <p:nvPr userDrawn="1"/>
        </p:nvGrpSpPr>
        <p:grpSpPr>
          <a:xfrm>
            <a:off x="11800684" y="6466710"/>
            <a:ext cx="391316" cy="391291"/>
            <a:chOff x="23599832" y="12933419"/>
            <a:chExt cx="782581" cy="782581"/>
          </a:xfrm>
        </p:grpSpPr>
        <p:sp>
          <p:nvSpPr>
            <p:cNvPr id="9" name="Rectangle 8">
              <a:extLst>
                <a:ext uri="{FF2B5EF4-FFF2-40B4-BE49-F238E27FC236}">
                  <a16:creationId xmlns:a16="http://schemas.microsoft.com/office/drawing/2014/main" id="{5A73F056-CBD8-214E-A20B-8EA0932103A7}"/>
                </a:ext>
              </a:extLst>
            </p:cNvPr>
            <p:cNvSpPr/>
            <p:nvPr userDrawn="1"/>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0" name="Picture 9">
              <a:extLst>
                <a:ext uri="{FF2B5EF4-FFF2-40B4-BE49-F238E27FC236}">
                  <a16:creationId xmlns:a16="http://schemas.microsoft.com/office/drawing/2014/main" id="{35E0E881-511D-CC49-AD27-3D1C85F9F4FB}"/>
                </a:ext>
              </a:extLst>
            </p:cNvPr>
            <p:cNvPicPr>
              <a:picLocks noChangeAspect="1"/>
            </p:cNvPicPr>
            <p:nvPr userDrawn="1"/>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26865365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070216B7-311A-D342-9582-8BA735A42307}"/>
              </a:ext>
            </a:extLst>
          </p:cNvPr>
          <p:cNvSpPr txBox="1"/>
          <p:nvPr/>
        </p:nvSpPr>
        <p:spPr>
          <a:xfrm>
            <a:off x="5698437" y="1338470"/>
            <a:ext cx="65" cy="4154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algn="l"/>
            <a:endParaRPr lang="en-US" sz="2700">
              <a:latin typeface="Gilroy" pitchFamily="2" charset="77"/>
            </a:endParaRPr>
          </a:p>
        </p:txBody>
      </p:sp>
      <p:sp>
        <p:nvSpPr>
          <p:cNvPr id="3" name="Rectangle 2">
            <a:extLst>
              <a:ext uri="{FF2B5EF4-FFF2-40B4-BE49-F238E27FC236}">
                <a16:creationId xmlns:a16="http://schemas.microsoft.com/office/drawing/2014/main" id="{45E61B8B-765C-7948-8F5A-58D1FC191D97}"/>
              </a:ext>
            </a:extLst>
          </p:cNvPr>
          <p:cNvSpPr/>
          <p:nvPr/>
        </p:nvSpPr>
        <p:spPr>
          <a:xfrm>
            <a:off x="10084906" y="6421795"/>
            <a:ext cx="2107095" cy="161581"/>
          </a:xfrm>
          <a:prstGeom prst="rect">
            <a:avLst/>
          </a:pr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hangingPunct="0"/>
            <a:endParaRPr lang="en-US" sz="600">
              <a:solidFill>
                <a:srgbClr val="323232"/>
              </a:solidFill>
              <a:latin typeface="Gotham"/>
              <a:ea typeface="Gotham"/>
              <a:cs typeface="Gotham"/>
              <a:sym typeface="Gotham"/>
            </a:endParaRPr>
          </a:p>
        </p:txBody>
      </p:sp>
      <p:sp>
        <p:nvSpPr>
          <p:cNvPr id="4" name="Rectangle 3">
            <a:extLst>
              <a:ext uri="{FF2B5EF4-FFF2-40B4-BE49-F238E27FC236}">
                <a16:creationId xmlns:a16="http://schemas.microsoft.com/office/drawing/2014/main" id="{03685748-094C-8744-807A-D8ECD517BBDE}"/>
              </a:ext>
            </a:extLst>
          </p:cNvPr>
          <p:cNvSpPr/>
          <p:nvPr/>
        </p:nvSpPr>
        <p:spPr>
          <a:xfrm>
            <a:off x="10059056" y="6156960"/>
            <a:ext cx="2132945" cy="701040"/>
          </a:xfrm>
          <a:prstGeom prst="rect">
            <a:avLst/>
          </a:pr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noAutofit/>
          </a:bodyPr>
          <a:lstStyle/>
          <a:p>
            <a:pPr hangingPunct="0"/>
            <a:endParaRPr lang="en-US" sz="600">
              <a:solidFill>
                <a:srgbClr val="323232"/>
              </a:solidFill>
              <a:latin typeface="Gotham"/>
              <a:ea typeface="Gotham"/>
              <a:cs typeface="Gotham"/>
              <a:sym typeface="Gotham"/>
            </a:endParaRPr>
          </a:p>
        </p:txBody>
      </p:sp>
      <p:pic>
        <p:nvPicPr>
          <p:cNvPr id="5" name="Picture 4">
            <a:extLst>
              <a:ext uri="{FF2B5EF4-FFF2-40B4-BE49-F238E27FC236}">
                <a16:creationId xmlns:a16="http://schemas.microsoft.com/office/drawing/2014/main" id="{D4D71426-98BF-C048-B65E-7A60DA4C701B}"/>
              </a:ext>
            </a:extLst>
          </p:cNvPr>
          <p:cNvPicPr>
            <a:picLocks noChangeAspect="1"/>
          </p:cNvPicPr>
          <p:nvPr/>
        </p:nvPicPr>
        <p:blipFill>
          <a:blip r:embed="rId2"/>
          <a:stretch>
            <a:fillRect/>
          </a:stretch>
        </p:blipFill>
        <p:spPr>
          <a:xfrm>
            <a:off x="10313128" y="6371956"/>
            <a:ext cx="1671568" cy="238781"/>
          </a:xfrm>
          <a:prstGeom prst="rect">
            <a:avLst/>
          </a:prstGeom>
        </p:spPr>
      </p:pic>
    </p:spTree>
    <p:extLst>
      <p:ext uri="{BB962C8B-B14F-4D97-AF65-F5344CB8AC3E}">
        <p14:creationId xmlns:p14="http://schemas.microsoft.com/office/powerpoint/2010/main" val="1302642479"/>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icture (left s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AD19874-2631-7C4E-AE93-DBC6EFAD604A}"/>
              </a:ext>
            </a:extLst>
          </p:cNvPr>
          <p:cNvSpPr>
            <a:spLocks noGrp="1"/>
          </p:cNvSpPr>
          <p:nvPr>
            <p:ph type="pic" sz="quarter" idx="10" hasCustomPrompt="1"/>
          </p:nvPr>
        </p:nvSpPr>
        <p:spPr>
          <a:xfrm>
            <a:off x="0" y="0"/>
            <a:ext cx="8124825" cy="6858000"/>
          </a:xfrm>
        </p:spPr>
        <p:txBody>
          <a:bodyPr anchor="ctr"/>
          <a:lstStyle>
            <a:lvl1pPr marL="0" indent="0" algn="ctr">
              <a:buNone/>
              <a:defRPr b="0" i="0">
                <a:solidFill>
                  <a:schemeClr val="bg1"/>
                </a:solidFill>
                <a:latin typeface="Scotia" panose="020B0503020203020204" pitchFamily="34" charset="0"/>
              </a:defRPr>
            </a:lvl1pPr>
          </a:lstStyle>
          <a:p>
            <a:r>
              <a:rPr lang="en-US"/>
              <a:t>Picture</a:t>
            </a:r>
          </a:p>
        </p:txBody>
      </p:sp>
      <p:sp>
        <p:nvSpPr>
          <p:cNvPr id="11" name="TextBox 10">
            <a:extLst>
              <a:ext uri="{FF2B5EF4-FFF2-40B4-BE49-F238E27FC236}">
                <a16:creationId xmlns:a16="http://schemas.microsoft.com/office/drawing/2014/main" id="{127B14F5-9E30-9445-BF70-0021B623880B}"/>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smtClean="0">
                <a:solidFill>
                  <a:schemeClr val="bg1"/>
                </a:solidFill>
                <a:latin typeface="Scotia" panose="020B0503020203020204" pitchFamily="34" charset="0"/>
              </a:rPr>
              <a:pPr algn="r"/>
              <a:t>‹#›</a:t>
            </a:fld>
            <a:endParaRPr lang="en-CA" sz="800">
              <a:solidFill>
                <a:schemeClr val="bg1"/>
              </a:solidFill>
              <a:latin typeface="Scotia" panose="020B0503020203020204" pitchFamily="34" charset="0"/>
            </a:endParaRPr>
          </a:p>
        </p:txBody>
      </p:sp>
      <p:grpSp>
        <p:nvGrpSpPr>
          <p:cNvPr id="6" name="Group 5">
            <a:extLst>
              <a:ext uri="{FF2B5EF4-FFF2-40B4-BE49-F238E27FC236}">
                <a16:creationId xmlns:a16="http://schemas.microsoft.com/office/drawing/2014/main" id="{6713853F-7E64-E44E-A3B3-397F8C9B926B}"/>
              </a:ext>
            </a:extLst>
          </p:cNvPr>
          <p:cNvGrpSpPr/>
          <p:nvPr userDrawn="1"/>
        </p:nvGrpSpPr>
        <p:grpSpPr>
          <a:xfrm>
            <a:off x="11800684" y="6466710"/>
            <a:ext cx="391316" cy="391291"/>
            <a:chOff x="23599832" y="12933419"/>
            <a:chExt cx="782581" cy="782581"/>
          </a:xfrm>
        </p:grpSpPr>
        <p:sp>
          <p:nvSpPr>
            <p:cNvPr id="7" name="Rectangle 6">
              <a:extLst>
                <a:ext uri="{FF2B5EF4-FFF2-40B4-BE49-F238E27FC236}">
                  <a16:creationId xmlns:a16="http://schemas.microsoft.com/office/drawing/2014/main" id="{810049DD-E501-1744-8BDF-8C704540B0B1}"/>
                </a:ext>
              </a:extLst>
            </p:cNvPr>
            <p:cNvSpPr/>
            <p:nvPr userDrawn="1"/>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0" name="Picture 9">
              <a:extLst>
                <a:ext uri="{FF2B5EF4-FFF2-40B4-BE49-F238E27FC236}">
                  <a16:creationId xmlns:a16="http://schemas.microsoft.com/office/drawing/2014/main" id="{5D74A7FA-02BA-834E-ADE4-FAE8DEC89BFC}"/>
                </a:ext>
              </a:extLst>
            </p:cNvPr>
            <p:cNvPicPr>
              <a:picLocks noChangeAspect="1"/>
            </p:cNvPicPr>
            <p:nvPr userDrawn="1"/>
          </p:nvPicPr>
          <p:blipFill>
            <a:blip r:embed="rId2"/>
            <a:stretch>
              <a:fillRect/>
            </a:stretch>
          </p:blipFill>
          <p:spPr>
            <a:xfrm>
              <a:off x="23829051" y="13147223"/>
              <a:ext cx="324143" cy="356158"/>
            </a:xfrm>
            <a:prstGeom prst="rect">
              <a:avLst/>
            </a:prstGeom>
          </p:spPr>
        </p:pic>
      </p:grpSp>
    </p:spTree>
    <p:extLst>
      <p:ext uri="{BB962C8B-B14F-4D97-AF65-F5344CB8AC3E}">
        <p14:creationId xmlns:p14="http://schemas.microsoft.com/office/powerpoint/2010/main" val="1189649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5623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Appendix">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1273" y="2130426"/>
            <a:ext cx="10529455" cy="1613647"/>
          </a:xfrm>
        </p:spPr>
        <p:txBody>
          <a:bodyPr/>
          <a:lstStyle>
            <a:lvl1pPr>
              <a:defRPr sz="4765">
                <a:solidFill>
                  <a:schemeClr val="bg1"/>
                </a:solidFill>
              </a:defRPr>
            </a:lvl1pPr>
          </a:lstStyle>
          <a:p>
            <a:r>
              <a:rPr lang="en-US"/>
              <a:t>Appendix</a:t>
            </a:r>
            <a:endParaRPr lang="en-CA"/>
          </a:p>
        </p:txBody>
      </p:sp>
      <p:sp>
        <p:nvSpPr>
          <p:cNvPr id="3" name="Subtitle 2"/>
          <p:cNvSpPr>
            <a:spLocks noGrp="1"/>
          </p:cNvSpPr>
          <p:nvPr>
            <p:ph type="subTitle" idx="1"/>
          </p:nvPr>
        </p:nvSpPr>
        <p:spPr>
          <a:xfrm>
            <a:off x="277092" y="3886200"/>
            <a:ext cx="11637818" cy="1613647"/>
          </a:xfrm>
        </p:spPr>
        <p:txBody>
          <a:bodyPr anchor="t">
            <a:normAutofit/>
          </a:bodyPr>
          <a:lstStyle>
            <a:lvl1pPr marL="204495" indent="-204495" algn="l">
              <a:spcBef>
                <a:spcPts val="0"/>
              </a:spcBef>
              <a:spcAft>
                <a:spcPts val="2118"/>
              </a:spcAft>
              <a:buFont typeface="Arial" panose="020B0604020202020204" pitchFamily="34" charset="0"/>
              <a:buChar char="•"/>
              <a:defRPr sz="2471">
                <a:solidFill>
                  <a:schemeClr val="tx1">
                    <a:tint val="75000"/>
                  </a:schemeClr>
                </a:solidFill>
              </a:defRPr>
            </a:lvl1pPr>
            <a:lvl2pPr marL="443727" indent="0" algn="ctr">
              <a:buNone/>
              <a:defRPr>
                <a:solidFill>
                  <a:schemeClr val="tx1">
                    <a:tint val="75000"/>
                  </a:schemeClr>
                </a:solidFill>
              </a:defRPr>
            </a:lvl2pPr>
            <a:lvl3pPr marL="887453" indent="0" algn="ctr">
              <a:buNone/>
              <a:defRPr>
                <a:solidFill>
                  <a:schemeClr val="tx1">
                    <a:tint val="75000"/>
                  </a:schemeClr>
                </a:solidFill>
              </a:defRPr>
            </a:lvl3pPr>
            <a:lvl4pPr marL="1331179" indent="0" algn="ctr">
              <a:buNone/>
              <a:defRPr>
                <a:solidFill>
                  <a:schemeClr val="tx1">
                    <a:tint val="75000"/>
                  </a:schemeClr>
                </a:solidFill>
              </a:defRPr>
            </a:lvl4pPr>
            <a:lvl5pPr marL="1774906" indent="0" algn="ctr">
              <a:buNone/>
              <a:defRPr>
                <a:solidFill>
                  <a:schemeClr val="tx1">
                    <a:tint val="75000"/>
                  </a:schemeClr>
                </a:solidFill>
              </a:defRPr>
            </a:lvl5pPr>
            <a:lvl6pPr marL="2218632" indent="0" algn="ctr">
              <a:buNone/>
              <a:defRPr>
                <a:solidFill>
                  <a:schemeClr val="tx1">
                    <a:tint val="75000"/>
                  </a:schemeClr>
                </a:solidFill>
              </a:defRPr>
            </a:lvl6pPr>
            <a:lvl7pPr marL="2662358" indent="0" algn="ctr">
              <a:buNone/>
              <a:defRPr>
                <a:solidFill>
                  <a:schemeClr val="tx1">
                    <a:tint val="75000"/>
                  </a:schemeClr>
                </a:solidFill>
              </a:defRPr>
            </a:lvl7pPr>
            <a:lvl8pPr marL="3106084" indent="0" algn="ctr">
              <a:buNone/>
              <a:defRPr>
                <a:solidFill>
                  <a:schemeClr val="tx1">
                    <a:tint val="75000"/>
                  </a:schemeClr>
                </a:solidFill>
              </a:defRPr>
            </a:lvl8pPr>
            <a:lvl9pPr marL="3549811" indent="0" algn="ctr">
              <a:buNone/>
              <a:defRPr>
                <a:solidFill>
                  <a:schemeClr val="tx1">
                    <a:tint val="75000"/>
                  </a:schemeClr>
                </a:solidFill>
              </a:defRPr>
            </a:lvl9pPr>
          </a:lstStyle>
          <a:p>
            <a:r>
              <a:rPr lang="en-US"/>
              <a:t>Click to edit Master subtitle style</a:t>
            </a:r>
            <a:endParaRPr lang="en-CA"/>
          </a:p>
        </p:txBody>
      </p:sp>
      <p:pic>
        <p:nvPicPr>
          <p:cNvPr id="4" name="Picture 3">
            <a:extLst>
              <a:ext uri="{FF2B5EF4-FFF2-40B4-BE49-F238E27FC236}">
                <a16:creationId xmlns:a16="http://schemas.microsoft.com/office/drawing/2014/main" id="{0C5D06A6-0A32-4A67-8EEE-57A7232A85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8305" y="6608268"/>
            <a:ext cx="1080841" cy="154496"/>
          </a:xfrm>
          <a:prstGeom prst="rect">
            <a:avLst/>
          </a:prstGeom>
        </p:spPr>
      </p:pic>
    </p:spTree>
    <p:extLst>
      <p:ext uri="{BB962C8B-B14F-4D97-AF65-F5344CB8AC3E}">
        <p14:creationId xmlns:p14="http://schemas.microsoft.com/office/powerpoint/2010/main" val="42661024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Agenda v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2611832-3C57-EF4D-853F-C55BF68E8DC6}"/>
              </a:ext>
            </a:extLst>
          </p:cNvPr>
          <p:cNvSpPr>
            <a:spLocks noGrp="1"/>
          </p:cNvSpPr>
          <p:nvPr>
            <p:ph type="title" hasCustomPrompt="1"/>
          </p:nvPr>
        </p:nvSpPr>
        <p:spPr>
          <a:xfrm>
            <a:off x="6898196" y="2219327"/>
            <a:ext cx="3400089" cy="795876"/>
          </a:xfrm>
        </p:spPr>
        <p:txBody>
          <a:bodyPr anchor="t">
            <a:noAutofit/>
          </a:bodyPr>
          <a:lstStyle>
            <a:lvl1pPr>
              <a:defRPr>
                <a:solidFill>
                  <a:schemeClr val="accent3"/>
                </a:solidFill>
              </a:defRPr>
            </a:lvl1pPr>
          </a:lstStyle>
          <a:p>
            <a:r>
              <a:rPr lang="en-US"/>
              <a:t>Agenda</a:t>
            </a:r>
          </a:p>
        </p:txBody>
      </p:sp>
      <p:sp>
        <p:nvSpPr>
          <p:cNvPr id="10" name="TextBox 9">
            <a:extLst>
              <a:ext uri="{FF2B5EF4-FFF2-40B4-BE49-F238E27FC236}">
                <a16:creationId xmlns:a16="http://schemas.microsoft.com/office/drawing/2014/main" id="{744C7778-6BD9-C94B-9E03-DAD41DF624C0}"/>
              </a:ext>
            </a:extLst>
          </p:cNvPr>
          <p:cNvSpPr txBox="1">
            <a:spLocks/>
          </p:cNvSpPr>
          <p:nvPr userDrawn="1"/>
        </p:nvSpPr>
        <p:spPr>
          <a:xfrm>
            <a:off x="11575702" y="332531"/>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1" name="Graphic 10">
            <a:extLst>
              <a:ext uri="{FF2B5EF4-FFF2-40B4-BE49-F238E27FC236}">
                <a16:creationId xmlns:a16="http://schemas.microsoft.com/office/drawing/2014/main" id="{E242851E-9708-BB4F-B672-1048A8549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9" y="6466686"/>
            <a:ext cx="391315" cy="391315"/>
          </a:xfrm>
          <a:prstGeom prst="rect">
            <a:avLst/>
          </a:prstGeom>
        </p:spPr>
      </p:pic>
      <p:sp>
        <p:nvSpPr>
          <p:cNvPr id="3" name="Picture Placeholder 2">
            <a:extLst>
              <a:ext uri="{FF2B5EF4-FFF2-40B4-BE49-F238E27FC236}">
                <a16:creationId xmlns:a16="http://schemas.microsoft.com/office/drawing/2014/main" id="{14FDC2E6-C3FE-D74A-B8E3-E786F6745CCD}"/>
              </a:ext>
            </a:extLst>
          </p:cNvPr>
          <p:cNvSpPr>
            <a:spLocks noGrp="1"/>
          </p:cNvSpPr>
          <p:nvPr>
            <p:ph type="pic" sz="quarter" idx="10"/>
          </p:nvPr>
        </p:nvSpPr>
        <p:spPr>
          <a:xfrm>
            <a:off x="0" y="0"/>
            <a:ext cx="6096000" cy="6858000"/>
          </a:xfrm>
          <a:solidFill>
            <a:schemeClr val="accent3"/>
          </a:solidFill>
        </p:spPr>
        <p:txBody>
          <a:bodyPr anchor="ctr"/>
          <a:lstStyle>
            <a:lvl1pPr marL="0" indent="0" algn="ctr">
              <a:buNone/>
              <a:defRPr/>
            </a:lvl1pPr>
          </a:lstStyle>
          <a:p>
            <a:endParaRPr lang="en-CA"/>
          </a:p>
        </p:txBody>
      </p:sp>
      <p:sp>
        <p:nvSpPr>
          <p:cNvPr id="16" name="Text Placeholder 15">
            <a:extLst>
              <a:ext uri="{FF2B5EF4-FFF2-40B4-BE49-F238E27FC236}">
                <a16:creationId xmlns:a16="http://schemas.microsoft.com/office/drawing/2014/main" id="{998DE3D3-0450-CC4D-8E72-4DDA498C019C}"/>
              </a:ext>
            </a:extLst>
          </p:cNvPr>
          <p:cNvSpPr>
            <a:spLocks noGrp="1"/>
          </p:cNvSpPr>
          <p:nvPr>
            <p:ph type="body" sz="quarter" idx="11" hasCustomPrompt="1"/>
          </p:nvPr>
        </p:nvSpPr>
        <p:spPr>
          <a:xfrm>
            <a:off x="6897688" y="3109087"/>
            <a:ext cx="4579102" cy="2589213"/>
          </a:xfrm>
        </p:spPr>
        <p:txBody>
          <a:bodyPr>
            <a:noAutofit/>
          </a:bodyPr>
          <a:lstStyle>
            <a:lvl1pPr marL="342883" indent="-342883">
              <a:lnSpc>
                <a:spcPct val="120000"/>
              </a:lnSpc>
              <a:spcBef>
                <a:spcPts val="0"/>
              </a:spcBef>
              <a:spcAft>
                <a:spcPts val="1600"/>
              </a:spcAft>
              <a:buFont typeface="+mj-lt"/>
              <a:buAutoNum type="arabicPeriod"/>
              <a:defRPr sz="1600"/>
            </a:lvl1pPr>
            <a:lvl5pPr marL="2171592" indent="-342883">
              <a:buFont typeface="+mj-lt"/>
              <a:buAutoNum type="arabicPeriod"/>
              <a:defRPr/>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endParaRPr lang="en-US"/>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a:p>
            <a:pPr lvl="0"/>
            <a:endParaRPr lang="en-US"/>
          </a:p>
          <a:p>
            <a:pPr lvl="4"/>
            <a:endParaRPr lang="en-CA"/>
          </a:p>
        </p:txBody>
      </p:sp>
    </p:spTree>
    <p:extLst>
      <p:ext uri="{BB962C8B-B14F-4D97-AF65-F5344CB8AC3E}">
        <p14:creationId xmlns:p14="http://schemas.microsoft.com/office/powerpoint/2010/main" val="33990904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 subheads - Neutral">
    <p:bg>
      <p:bgPr>
        <a:solidFill>
          <a:srgbClr val="F6F6F6"/>
        </a:solidFill>
        <a:effectLst/>
      </p:bgPr>
    </p:bg>
    <p:spTree>
      <p:nvGrpSpPr>
        <p:cNvPr id="1" name=""/>
        <p:cNvGrpSpPr/>
        <p:nvPr/>
      </p:nvGrpSpPr>
      <p:grpSpPr>
        <a:xfrm>
          <a:off x="0" y="0"/>
          <a:ext cx="0" cy="0"/>
          <a:chOff x="0" y="0"/>
          <a:chExt cx="0" cy="0"/>
        </a:xfrm>
      </p:grpSpPr>
      <p:sp>
        <p:nvSpPr>
          <p:cNvPr id="54" name="Text Placeholder 3">
            <a:extLst>
              <a:ext uri="{FF2B5EF4-FFF2-40B4-BE49-F238E27FC236}">
                <a16:creationId xmlns:a16="http://schemas.microsoft.com/office/drawing/2014/main" id="{DFC3CDE7-21EE-A541-96CE-FE89913E2B06}"/>
              </a:ext>
            </a:extLst>
          </p:cNvPr>
          <p:cNvSpPr>
            <a:spLocks noGrp="1"/>
          </p:cNvSpPr>
          <p:nvPr>
            <p:ph type="body" sz="quarter" idx="26" hasCustomPrompt="1"/>
          </p:nvPr>
        </p:nvSpPr>
        <p:spPr>
          <a:xfrm>
            <a:off x="6323718"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177" indent="0">
              <a:buNone/>
              <a:defRPr/>
            </a:lvl2pPr>
            <a:lvl3pPr marL="914355" indent="0">
              <a:buNone/>
              <a:defRPr/>
            </a:lvl3pPr>
            <a:lvl4pPr marL="1371532" indent="0">
              <a:buNone/>
              <a:defRPr/>
            </a:lvl4pPr>
            <a:lvl5pPr marL="1828709" indent="0">
              <a:buNone/>
              <a:defRPr/>
            </a:lvl5pPr>
          </a:lstStyle>
          <a:p>
            <a:pPr lvl="0"/>
            <a:r>
              <a:rPr lang="en-US"/>
              <a:t>Sub header</a:t>
            </a:r>
            <a:endParaRPr lang="en-CA"/>
          </a:p>
        </p:txBody>
      </p:sp>
      <p:sp>
        <p:nvSpPr>
          <p:cNvPr id="56" name="Text Placeholder 3">
            <a:extLst>
              <a:ext uri="{FF2B5EF4-FFF2-40B4-BE49-F238E27FC236}">
                <a16:creationId xmlns:a16="http://schemas.microsoft.com/office/drawing/2014/main" id="{DA1914B8-643E-2345-BBE9-C4F83934B1B4}"/>
              </a:ext>
            </a:extLst>
          </p:cNvPr>
          <p:cNvSpPr>
            <a:spLocks noGrp="1"/>
          </p:cNvSpPr>
          <p:nvPr>
            <p:ph type="body" sz="quarter" idx="28" hasCustomPrompt="1"/>
          </p:nvPr>
        </p:nvSpPr>
        <p:spPr>
          <a:xfrm>
            <a:off x="3415626"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177" indent="0">
              <a:buNone/>
              <a:defRPr/>
            </a:lvl2pPr>
            <a:lvl3pPr marL="914355" indent="0">
              <a:buNone/>
              <a:defRPr/>
            </a:lvl3pPr>
            <a:lvl4pPr marL="1371532" indent="0">
              <a:buNone/>
              <a:defRPr/>
            </a:lvl4pPr>
            <a:lvl5pPr marL="1828709" indent="0">
              <a:buNone/>
              <a:defRPr/>
            </a:lvl5pPr>
          </a:lstStyle>
          <a:p>
            <a:pPr lvl="0"/>
            <a:r>
              <a:rPr lang="en-US"/>
              <a:t>Sub header</a:t>
            </a:r>
            <a:endParaRPr lang="en-CA"/>
          </a:p>
        </p:txBody>
      </p:sp>
      <p:sp>
        <p:nvSpPr>
          <p:cNvPr id="58" name="Text Placeholder 3">
            <a:extLst>
              <a:ext uri="{FF2B5EF4-FFF2-40B4-BE49-F238E27FC236}">
                <a16:creationId xmlns:a16="http://schemas.microsoft.com/office/drawing/2014/main" id="{E4B8C640-9C51-674D-BABB-766E3130ADC6}"/>
              </a:ext>
            </a:extLst>
          </p:cNvPr>
          <p:cNvSpPr>
            <a:spLocks noGrp="1"/>
          </p:cNvSpPr>
          <p:nvPr>
            <p:ph type="body" sz="quarter" idx="30" hasCustomPrompt="1"/>
          </p:nvPr>
        </p:nvSpPr>
        <p:spPr>
          <a:xfrm>
            <a:off x="507534"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177" indent="0">
              <a:buNone/>
              <a:defRPr/>
            </a:lvl2pPr>
            <a:lvl3pPr marL="914355" indent="0">
              <a:buNone/>
              <a:defRPr/>
            </a:lvl3pPr>
            <a:lvl4pPr marL="1371532" indent="0">
              <a:buNone/>
              <a:defRPr/>
            </a:lvl4pPr>
            <a:lvl5pPr marL="1828709" indent="0">
              <a:buNone/>
              <a:defRPr/>
            </a:lvl5pPr>
          </a:lstStyle>
          <a:p>
            <a:pPr lvl="0"/>
            <a:r>
              <a:rPr lang="en-US"/>
              <a:t>Sub header</a:t>
            </a:r>
            <a:endParaRPr lang="en-CA"/>
          </a:p>
        </p:txBody>
      </p:sp>
      <p:sp>
        <p:nvSpPr>
          <p:cNvPr id="70" name="Text Placeholder 3">
            <a:extLst>
              <a:ext uri="{FF2B5EF4-FFF2-40B4-BE49-F238E27FC236}">
                <a16:creationId xmlns:a16="http://schemas.microsoft.com/office/drawing/2014/main" id="{8CF08C04-DAC1-4846-8251-D6F9574076FE}"/>
              </a:ext>
            </a:extLst>
          </p:cNvPr>
          <p:cNvSpPr>
            <a:spLocks noGrp="1"/>
          </p:cNvSpPr>
          <p:nvPr>
            <p:ph type="body" sz="quarter" idx="25" hasCustomPrompt="1"/>
          </p:nvPr>
        </p:nvSpPr>
        <p:spPr>
          <a:xfrm>
            <a:off x="9231810" y="2769917"/>
            <a:ext cx="2479554" cy="2941464"/>
          </a:xfrm>
          <a:prstGeom prst="roundRect">
            <a:avLst>
              <a:gd name="adj" fmla="val 7360"/>
            </a:avLst>
          </a:prstGeom>
          <a:solidFill>
            <a:srgbClr val="FFFFFF"/>
          </a:solidFill>
        </p:spPr>
        <p:txBody>
          <a:bodyPr lIns="144000" tIns="792000" rIns="144000" bIns="144000">
            <a:noAutofit/>
          </a:bodyPr>
          <a:lstStyle>
            <a:lvl1pPr marL="0" indent="0" algn="ctr">
              <a:spcBef>
                <a:spcPts val="0"/>
              </a:spcBef>
              <a:buNone/>
              <a:defRPr sz="1600" b="1" i="0">
                <a:solidFill>
                  <a:schemeClr val="tx1"/>
                </a:solidFill>
                <a:latin typeface="Scotia Headline" panose="020B0503020203020204" pitchFamily="34" charset="0"/>
                <a:ea typeface="Scotia Headline" panose="020B0503020203020204" pitchFamily="34" charset="0"/>
              </a:defRPr>
            </a:lvl1pPr>
            <a:lvl2pPr marL="457177" indent="0">
              <a:buNone/>
              <a:defRPr/>
            </a:lvl2pPr>
            <a:lvl3pPr marL="914355" indent="0">
              <a:buNone/>
              <a:defRPr/>
            </a:lvl3pPr>
            <a:lvl4pPr marL="1371532" indent="0">
              <a:buNone/>
              <a:defRPr/>
            </a:lvl4pPr>
            <a:lvl5pPr marL="1828709" indent="0">
              <a:buNone/>
              <a:defRPr/>
            </a:lvl5pPr>
          </a:lstStyle>
          <a:p>
            <a:pPr lvl="0"/>
            <a:r>
              <a:rPr lang="en-US"/>
              <a:t>Sub header</a:t>
            </a:r>
            <a:endParaRPr lang="en-CA"/>
          </a:p>
        </p:txBody>
      </p:sp>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1"/>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solidFill>
                  <a:schemeClr val="tx1"/>
                </a:solidFill>
                <a:latin typeface="+mn-lt"/>
              </a:defRPr>
            </a:lvl1pPr>
            <a:lvl2pPr marL="457177" indent="0" algn="r">
              <a:buNone/>
              <a:defRPr sz="1000"/>
            </a:lvl2pPr>
            <a:lvl3pPr marL="914355" indent="0" algn="r">
              <a:buNone/>
              <a:defRPr sz="1000"/>
            </a:lvl3pPr>
            <a:lvl4pPr marL="1371532" indent="0" algn="r">
              <a:buNone/>
              <a:defRPr sz="1000"/>
            </a:lvl4pPr>
            <a:lvl5pPr marL="1828709" indent="0" algn="r">
              <a:buNone/>
              <a:defRPr sz="1000"/>
            </a:lvl5pPr>
          </a:lstStyle>
          <a:p>
            <a:pPr lvl="0"/>
            <a:r>
              <a:rPr lang="en-US"/>
              <a:t>01 Section header</a:t>
            </a:r>
            <a:endParaRPr lang="en-CA"/>
          </a:p>
        </p:txBody>
      </p:sp>
      <p:sp>
        <p:nvSpPr>
          <p:cNvPr id="7" name="Title 1">
            <a:extLst>
              <a:ext uri="{FF2B5EF4-FFF2-40B4-BE49-F238E27FC236}">
                <a16:creationId xmlns:a16="http://schemas.microsoft.com/office/drawing/2014/main" id="{552C64E5-9C64-024E-9EA9-3FB7D489318C}"/>
              </a:ext>
            </a:extLst>
          </p:cNvPr>
          <p:cNvSpPr>
            <a:spLocks noGrp="1"/>
          </p:cNvSpPr>
          <p:nvPr>
            <p:ph type="title" hasCustomPrompt="1"/>
          </p:nvPr>
        </p:nvSpPr>
        <p:spPr>
          <a:xfrm>
            <a:off x="467422" y="816110"/>
            <a:ext cx="10937178" cy="530090"/>
          </a:xfrm>
        </p:spPr>
        <p:txBody>
          <a:bodyPr anchor="t">
            <a:noAutofit/>
          </a:bodyPr>
          <a:lstStyle>
            <a:lvl1pPr>
              <a:defRPr>
                <a:solidFill>
                  <a:schemeClr val="tx1"/>
                </a:solidFill>
              </a:defRPr>
            </a:lvl1pPr>
          </a:lstStyle>
          <a:p>
            <a:r>
              <a:rPr lang="en-US"/>
              <a:t>Slide title</a:t>
            </a:r>
          </a:p>
        </p:txBody>
      </p:sp>
      <p:pic>
        <p:nvPicPr>
          <p:cNvPr id="31" name="Graphic 30">
            <a:extLst>
              <a:ext uri="{FF2B5EF4-FFF2-40B4-BE49-F238E27FC236}">
                <a16:creationId xmlns:a16="http://schemas.microsoft.com/office/drawing/2014/main" id="{1906B5AF-D1E7-3549-83C5-F5D23E002B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9" y="6466686"/>
            <a:ext cx="391315" cy="391315"/>
          </a:xfrm>
          <a:prstGeom prst="rect">
            <a:avLst/>
          </a:prstGeom>
        </p:spPr>
      </p:pic>
      <p:sp>
        <p:nvSpPr>
          <p:cNvPr id="8" name="Text Placeholder 7">
            <a:extLst>
              <a:ext uri="{FF2B5EF4-FFF2-40B4-BE49-F238E27FC236}">
                <a16:creationId xmlns:a16="http://schemas.microsoft.com/office/drawing/2014/main" id="{545527A9-D7C2-824A-B89C-9708DAE24119}"/>
              </a:ext>
            </a:extLst>
          </p:cNvPr>
          <p:cNvSpPr>
            <a:spLocks noGrp="1"/>
          </p:cNvSpPr>
          <p:nvPr>
            <p:ph type="body" sz="quarter" idx="32" hasCustomPrompt="1"/>
          </p:nvPr>
        </p:nvSpPr>
        <p:spPr>
          <a:xfrm>
            <a:off x="682625" y="3942830"/>
            <a:ext cx="2128838" cy="1542142"/>
          </a:xfrm>
        </p:spPr>
        <p:txBody>
          <a:bodyPr>
            <a:noAutofit/>
          </a:bodyPr>
          <a:lstStyle>
            <a:lvl1pPr marL="0" indent="0">
              <a:lnSpc>
                <a:spcPct val="110000"/>
              </a:lnSpc>
              <a:buNone/>
              <a:defRPr sz="1200"/>
            </a:lvl1pPr>
            <a:lvl2pPr marL="457177" indent="0">
              <a:buNone/>
              <a:defRPr sz="1200"/>
            </a:lvl2pPr>
            <a:lvl3pPr marL="914355" indent="0">
              <a:buNone/>
              <a:defRPr sz="1200"/>
            </a:lvl3pPr>
            <a:lvl4pPr marL="1371532" indent="0">
              <a:buNone/>
              <a:defRPr sz="1200"/>
            </a:lvl4pPr>
            <a:lvl5pPr marL="1828709"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
        <p:nvSpPr>
          <p:cNvPr id="60" name="Text Placeholder 7">
            <a:extLst>
              <a:ext uri="{FF2B5EF4-FFF2-40B4-BE49-F238E27FC236}">
                <a16:creationId xmlns:a16="http://schemas.microsoft.com/office/drawing/2014/main" id="{1C255310-4273-234D-AFFD-8BFE56779DA3}"/>
              </a:ext>
            </a:extLst>
          </p:cNvPr>
          <p:cNvSpPr>
            <a:spLocks noGrp="1"/>
          </p:cNvSpPr>
          <p:nvPr>
            <p:ph type="body" sz="quarter" idx="33" hasCustomPrompt="1"/>
          </p:nvPr>
        </p:nvSpPr>
        <p:spPr>
          <a:xfrm>
            <a:off x="3590717" y="3973227"/>
            <a:ext cx="2128838" cy="1542142"/>
          </a:xfrm>
        </p:spPr>
        <p:txBody>
          <a:bodyPr>
            <a:noAutofit/>
          </a:bodyPr>
          <a:lstStyle>
            <a:lvl1pPr marL="0" indent="0">
              <a:lnSpc>
                <a:spcPct val="110000"/>
              </a:lnSpc>
              <a:buNone/>
              <a:defRPr sz="1200"/>
            </a:lvl1pPr>
            <a:lvl2pPr marL="457177" indent="0">
              <a:buNone/>
              <a:defRPr sz="1200"/>
            </a:lvl2pPr>
            <a:lvl3pPr marL="914355" indent="0">
              <a:buNone/>
              <a:defRPr sz="1200"/>
            </a:lvl3pPr>
            <a:lvl4pPr marL="1371532" indent="0">
              <a:buNone/>
              <a:defRPr sz="1200"/>
            </a:lvl4pPr>
            <a:lvl5pPr marL="1828709"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
        <p:nvSpPr>
          <p:cNvPr id="61" name="Text Placeholder 7">
            <a:extLst>
              <a:ext uri="{FF2B5EF4-FFF2-40B4-BE49-F238E27FC236}">
                <a16:creationId xmlns:a16="http://schemas.microsoft.com/office/drawing/2014/main" id="{6D9BEBBB-2849-D145-BCBA-BD13D004B183}"/>
              </a:ext>
            </a:extLst>
          </p:cNvPr>
          <p:cNvSpPr>
            <a:spLocks noGrp="1"/>
          </p:cNvSpPr>
          <p:nvPr>
            <p:ph type="body" sz="quarter" idx="34" hasCustomPrompt="1"/>
          </p:nvPr>
        </p:nvSpPr>
        <p:spPr>
          <a:xfrm>
            <a:off x="6499076" y="3973227"/>
            <a:ext cx="2128838" cy="1542142"/>
          </a:xfrm>
        </p:spPr>
        <p:txBody>
          <a:bodyPr>
            <a:noAutofit/>
          </a:bodyPr>
          <a:lstStyle>
            <a:lvl1pPr marL="0" indent="0">
              <a:lnSpc>
                <a:spcPct val="110000"/>
              </a:lnSpc>
              <a:buNone/>
              <a:defRPr sz="1200"/>
            </a:lvl1pPr>
            <a:lvl2pPr marL="457177" indent="0">
              <a:buNone/>
              <a:defRPr sz="1200"/>
            </a:lvl2pPr>
            <a:lvl3pPr marL="914355" indent="0">
              <a:buNone/>
              <a:defRPr sz="1200"/>
            </a:lvl3pPr>
            <a:lvl4pPr marL="1371532" indent="0">
              <a:buNone/>
              <a:defRPr sz="1200"/>
            </a:lvl4pPr>
            <a:lvl5pPr marL="1828709"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
        <p:nvSpPr>
          <p:cNvPr id="62" name="Text Placeholder 7">
            <a:extLst>
              <a:ext uri="{FF2B5EF4-FFF2-40B4-BE49-F238E27FC236}">
                <a16:creationId xmlns:a16="http://schemas.microsoft.com/office/drawing/2014/main" id="{F46A0D93-41DB-754F-AC1F-24960C31A3DE}"/>
              </a:ext>
            </a:extLst>
          </p:cNvPr>
          <p:cNvSpPr>
            <a:spLocks noGrp="1"/>
          </p:cNvSpPr>
          <p:nvPr>
            <p:ph type="body" sz="quarter" idx="35" hasCustomPrompt="1"/>
          </p:nvPr>
        </p:nvSpPr>
        <p:spPr>
          <a:xfrm>
            <a:off x="9407168" y="3973227"/>
            <a:ext cx="2128838" cy="1542142"/>
          </a:xfrm>
        </p:spPr>
        <p:txBody>
          <a:bodyPr>
            <a:noAutofit/>
          </a:bodyPr>
          <a:lstStyle>
            <a:lvl1pPr marL="0" indent="0">
              <a:lnSpc>
                <a:spcPct val="110000"/>
              </a:lnSpc>
              <a:buNone/>
              <a:defRPr sz="1200"/>
            </a:lvl1pPr>
            <a:lvl2pPr marL="457177" indent="0">
              <a:buNone/>
              <a:defRPr sz="1200"/>
            </a:lvl2pPr>
            <a:lvl3pPr marL="914355" indent="0">
              <a:buNone/>
              <a:defRPr sz="1200"/>
            </a:lvl3pPr>
            <a:lvl4pPr marL="1371532" indent="0">
              <a:buNone/>
              <a:defRPr sz="1200"/>
            </a:lvl4pPr>
            <a:lvl5pPr marL="1828709" indent="0">
              <a:buNone/>
              <a:defRPr sz="1200"/>
            </a:lvl5pPr>
          </a:lstStyle>
          <a:p>
            <a:pPr lvl="0"/>
            <a:r>
              <a:rPr lang="en-US"/>
              <a:t>Lorem ipsum dolor sit </a:t>
            </a:r>
            <a:r>
              <a:rPr lang="en-US" err="1"/>
              <a:t>amet</a:t>
            </a:r>
            <a:r>
              <a:rPr lang="en-US"/>
              <a:t>, </a:t>
            </a:r>
            <a:r>
              <a:rPr lang="en-US" err="1"/>
              <a:t>consectetur</a:t>
            </a:r>
            <a:r>
              <a:rPr lang="en-US"/>
              <a:t> adipiscing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la</a:t>
            </a:r>
            <a:endParaRPr lang="en-CA"/>
          </a:p>
        </p:txBody>
      </p:sp>
    </p:spTree>
    <p:extLst>
      <p:ext uri="{BB962C8B-B14F-4D97-AF65-F5344CB8AC3E}">
        <p14:creationId xmlns:p14="http://schemas.microsoft.com/office/powerpoint/2010/main" val="1841755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 Scotiabank brand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lvl1pPr>
          </a:lstStyle>
          <a:p>
            <a:r>
              <a:rPr lang="en-US"/>
              <a:t>Scotiabank PowerPoint Template 2021</a:t>
            </a:r>
          </a:p>
        </p:txBody>
      </p:sp>
      <p:pic>
        <p:nvPicPr>
          <p:cNvPr id="5" name="Graphic 4">
            <a:extLst>
              <a:ext uri="{FF2B5EF4-FFF2-40B4-BE49-F238E27FC236}">
                <a16:creationId xmlns:a16="http://schemas.microsoft.com/office/drawing/2014/main" id="{CB46275E-BF41-F14B-A483-F1833AA6C3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92144" y="6223557"/>
            <a:ext cx="2299855" cy="634443"/>
          </a:xfrm>
          <a:prstGeom prst="rect">
            <a:avLst/>
          </a:prstGeom>
        </p:spPr>
      </p:pic>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spTree>
    <p:extLst>
      <p:ext uri="{BB962C8B-B14F-4D97-AF65-F5344CB8AC3E}">
        <p14:creationId xmlns:p14="http://schemas.microsoft.com/office/powerpoint/2010/main" val="37351092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 Scotiabank (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grpSp>
        <p:nvGrpSpPr>
          <p:cNvPr id="6" name="Graphic 53">
            <a:extLst>
              <a:ext uri="{FF2B5EF4-FFF2-40B4-BE49-F238E27FC236}">
                <a16:creationId xmlns:a16="http://schemas.microsoft.com/office/drawing/2014/main" id="{A51117F3-AB95-6642-A690-E06C1D4A4D85}"/>
              </a:ext>
            </a:extLst>
          </p:cNvPr>
          <p:cNvGrpSpPr/>
          <p:nvPr userDrawn="1"/>
        </p:nvGrpSpPr>
        <p:grpSpPr>
          <a:xfrm>
            <a:off x="9904469" y="6237840"/>
            <a:ext cx="1931313" cy="273798"/>
            <a:chOff x="7058852" y="1116927"/>
            <a:chExt cx="2123747" cy="301079"/>
          </a:xfrm>
          <a:solidFill>
            <a:srgbClr val="EC111A"/>
          </a:solidFill>
        </p:grpSpPr>
        <p:sp>
          <p:nvSpPr>
            <p:cNvPr id="7" name="Freeform 6">
              <a:extLst>
                <a:ext uri="{FF2B5EF4-FFF2-40B4-BE49-F238E27FC236}">
                  <a16:creationId xmlns:a16="http://schemas.microsoft.com/office/drawing/2014/main" id="{982E0D0B-042A-D44C-809F-F3C5BD11C869}"/>
                </a:ext>
              </a:extLst>
            </p:cNvPr>
            <p:cNvSpPr/>
            <p:nvPr/>
          </p:nvSpPr>
          <p:spPr>
            <a:xfrm>
              <a:off x="7469793" y="1208562"/>
              <a:ext cx="210089" cy="209300"/>
            </a:xfrm>
            <a:custGeom>
              <a:avLst/>
              <a:gdLst>
                <a:gd name="connsiteX0" fmla="*/ 105045 w 210089"/>
                <a:gd name="connsiteY0" fmla="*/ 0 h 209300"/>
                <a:gd name="connsiteX1" fmla="*/ 0 w 210089"/>
                <a:gd name="connsiteY1" fmla="*/ 104650 h 209300"/>
                <a:gd name="connsiteX2" fmla="*/ 105045 w 210089"/>
                <a:gd name="connsiteY2" fmla="*/ 209301 h 209300"/>
                <a:gd name="connsiteX3" fmla="*/ 210089 w 210089"/>
                <a:gd name="connsiteY3" fmla="*/ 104650 h 209300"/>
                <a:gd name="connsiteX4" fmla="*/ 105045 w 210089"/>
                <a:gd name="connsiteY4" fmla="*/ 0 h 209300"/>
                <a:gd name="connsiteX5" fmla="*/ 105045 w 210089"/>
                <a:gd name="connsiteY5" fmla="*/ 150769 h 209300"/>
                <a:gd name="connsiteX6" fmla="*/ 58680 w 210089"/>
                <a:gd name="connsiteY6" fmla="*/ 104650 h 209300"/>
                <a:gd name="connsiteX7" fmla="*/ 104972 w 210089"/>
                <a:gd name="connsiteY7" fmla="*/ 58460 h 209300"/>
                <a:gd name="connsiteX8" fmla="*/ 151337 w 210089"/>
                <a:gd name="connsiteY8" fmla="*/ 104578 h 209300"/>
                <a:gd name="connsiteX9" fmla="*/ 151337 w 210089"/>
                <a:gd name="connsiteY9" fmla="*/ 104650 h 209300"/>
                <a:gd name="connsiteX10" fmla="*/ 105045 w 210089"/>
                <a:gd name="connsiteY10" fmla="*/ 150769 h 20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089" h="209300">
                  <a:moveTo>
                    <a:pt x="105045" y="0"/>
                  </a:moveTo>
                  <a:cubicBezTo>
                    <a:pt x="47031" y="0"/>
                    <a:pt x="0" y="46853"/>
                    <a:pt x="0" y="104650"/>
                  </a:cubicBezTo>
                  <a:cubicBezTo>
                    <a:pt x="0" y="162446"/>
                    <a:pt x="47031" y="209301"/>
                    <a:pt x="105045" y="209301"/>
                  </a:cubicBezTo>
                  <a:cubicBezTo>
                    <a:pt x="163058" y="209301"/>
                    <a:pt x="210089" y="162446"/>
                    <a:pt x="210089" y="104650"/>
                  </a:cubicBezTo>
                  <a:cubicBezTo>
                    <a:pt x="210089" y="46853"/>
                    <a:pt x="163058" y="0"/>
                    <a:pt x="105045" y="0"/>
                  </a:cubicBezTo>
                  <a:close/>
                  <a:moveTo>
                    <a:pt x="105045" y="150769"/>
                  </a:moveTo>
                  <a:cubicBezTo>
                    <a:pt x="79457" y="150791"/>
                    <a:pt x="58702" y="130142"/>
                    <a:pt x="58680" y="104650"/>
                  </a:cubicBezTo>
                  <a:cubicBezTo>
                    <a:pt x="58658" y="79159"/>
                    <a:pt x="79385" y="58480"/>
                    <a:pt x="104972" y="58460"/>
                  </a:cubicBezTo>
                  <a:cubicBezTo>
                    <a:pt x="130560" y="58440"/>
                    <a:pt x="151315" y="79087"/>
                    <a:pt x="151337" y="104578"/>
                  </a:cubicBezTo>
                  <a:cubicBezTo>
                    <a:pt x="151337" y="104604"/>
                    <a:pt x="151337" y="104625"/>
                    <a:pt x="151337" y="104650"/>
                  </a:cubicBezTo>
                  <a:cubicBezTo>
                    <a:pt x="151275" y="130095"/>
                    <a:pt x="130585" y="150711"/>
                    <a:pt x="105045" y="150769"/>
                  </a:cubicBezTo>
                  <a:close/>
                </a:path>
              </a:pathLst>
            </a:custGeom>
            <a:grpFill/>
            <a:ln w="3621"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AD50210-463F-D74D-9CED-C2684923EB86}"/>
                </a:ext>
              </a:extLst>
            </p:cNvPr>
            <p:cNvSpPr/>
            <p:nvPr/>
          </p:nvSpPr>
          <p:spPr>
            <a:xfrm>
              <a:off x="7693538" y="1151762"/>
              <a:ext cx="120113" cy="261084"/>
            </a:xfrm>
            <a:custGeom>
              <a:avLst/>
              <a:gdLst>
                <a:gd name="connsiteX0" fmla="*/ 120113 w 120113"/>
                <a:gd name="connsiteY0" fmla="*/ 61780 h 261084"/>
                <a:gd name="connsiteX1" fmla="*/ 91461 w 120113"/>
                <a:gd name="connsiteY1" fmla="*/ 61780 h 261084"/>
                <a:gd name="connsiteX2" fmla="*/ 91461 w 120113"/>
                <a:gd name="connsiteY2" fmla="*/ 0 h 261084"/>
                <a:gd name="connsiteX3" fmla="*/ 28652 w 120113"/>
                <a:gd name="connsiteY3" fmla="*/ 0 h 261084"/>
                <a:gd name="connsiteX4" fmla="*/ 28652 w 120113"/>
                <a:gd name="connsiteY4" fmla="*/ 61780 h 261084"/>
                <a:gd name="connsiteX5" fmla="*/ 0 w 120113"/>
                <a:gd name="connsiteY5" fmla="*/ 61780 h 261084"/>
                <a:gd name="connsiteX6" fmla="*/ 0 w 120113"/>
                <a:gd name="connsiteY6" fmla="*/ 118399 h 261084"/>
                <a:gd name="connsiteX7" fmla="*/ 28652 w 120113"/>
                <a:gd name="connsiteY7" fmla="*/ 118399 h 261084"/>
                <a:gd name="connsiteX8" fmla="*/ 28652 w 120113"/>
                <a:gd name="connsiteY8" fmla="*/ 261085 h 261084"/>
                <a:gd name="connsiteX9" fmla="*/ 91461 w 120113"/>
                <a:gd name="connsiteY9" fmla="*/ 261085 h 261084"/>
                <a:gd name="connsiteX10" fmla="*/ 91461 w 120113"/>
                <a:gd name="connsiteY10" fmla="*/ 118399 h 261084"/>
                <a:gd name="connsiteX11" fmla="*/ 120113 w 120113"/>
                <a:gd name="connsiteY11" fmla="*/ 118399 h 261084"/>
                <a:gd name="connsiteX12" fmla="*/ 120113 w 120113"/>
                <a:gd name="connsiteY12" fmla="*/ 61780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113" h="261084">
                  <a:moveTo>
                    <a:pt x="120113" y="61780"/>
                  </a:moveTo>
                  <a:lnTo>
                    <a:pt x="91461" y="61780"/>
                  </a:lnTo>
                  <a:lnTo>
                    <a:pt x="91461" y="0"/>
                  </a:lnTo>
                  <a:lnTo>
                    <a:pt x="28652" y="0"/>
                  </a:lnTo>
                  <a:lnTo>
                    <a:pt x="28652" y="61780"/>
                  </a:lnTo>
                  <a:lnTo>
                    <a:pt x="0" y="61780"/>
                  </a:lnTo>
                  <a:lnTo>
                    <a:pt x="0" y="118399"/>
                  </a:lnTo>
                  <a:lnTo>
                    <a:pt x="28652" y="118399"/>
                  </a:lnTo>
                  <a:lnTo>
                    <a:pt x="28652" y="261085"/>
                  </a:lnTo>
                  <a:lnTo>
                    <a:pt x="91461" y="261085"/>
                  </a:lnTo>
                  <a:lnTo>
                    <a:pt x="91461" y="118399"/>
                  </a:lnTo>
                  <a:lnTo>
                    <a:pt x="120113" y="118399"/>
                  </a:lnTo>
                  <a:lnTo>
                    <a:pt x="120113" y="61780"/>
                  </a:lnTo>
                  <a:close/>
                </a:path>
              </a:pathLst>
            </a:custGeom>
            <a:grpFill/>
            <a:ln w="3621"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25BE366-3379-8548-9173-81650A5BEA20}"/>
                </a:ext>
              </a:extLst>
            </p:cNvPr>
            <p:cNvSpPr/>
            <p:nvPr/>
          </p:nvSpPr>
          <p:spPr>
            <a:xfrm>
              <a:off x="7842484" y="1213542"/>
              <a:ext cx="62773" cy="199341"/>
            </a:xfrm>
            <a:custGeom>
              <a:avLst/>
              <a:gdLst>
                <a:gd name="connsiteX0" fmla="*/ 0 w 62773"/>
                <a:gd name="connsiteY0" fmla="*/ 0 h 199341"/>
                <a:gd name="connsiteX1" fmla="*/ 62773 w 62773"/>
                <a:gd name="connsiteY1" fmla="*/ 0 h 199341"/>
                <a:gd name="connsiteX2" fmla="*/ 62773 w 62773"/>
                <a:gd name="connsiteY2" fmla="*/ 199341 h 199341"/>
                <a:gd name="connsiteX3" fmla="*/ 0 w 62773"/>
                <a:gd name="connsiteY3" fmla="*/ 199341 h 199341"/>
              </a:gdLst>
              <a:ahLst/>
              <a:cxnLst>
                <a:cxn ang="0">
                  <a:pos x="connsiteX0" y="connsiteY0"/>
                </a:cxn>
                <a:cxn ang="0">
                  <a:pos x="connsiteX1" y="connsiteY1"/>
                </a:cxn>
                <a:cxn ang="0">
                  <a:pos x="connsiteX2" y="connsiteY2"/>
                </a:cxn>
                <a:cxn ang="0">
                  <a:pos x="connsiteX3" y="connsiteY3"/>
                </a:cxn>
              </a:cxnLst>
              <a:rect l="l" t="t" r="r" b="b"/>
              <a:pathLst>
                <a:path w="62773" h="199341">
                  <a:moveTo>
                    <a:pt x="0" y="0"/>
                  </a:moveTo>
                  <a:lnTo>
                    <a:pt x="62773" y="0"/>
                  </a:lnTo>
                  <a:lnTo>
                    <a:pt x="62773" y="199341"/>
                  </a:lnTo>
                  <a:lnTo>
                    <a:pt x="0" y="199341"/>
                  </a:lnTo>
                  <a:close/>
                </a:path>
              </a:pathLst>
            </a:custGeom>
            <a:grpFill/>
            <a:ln w="3621"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4D3041D5-BB78-6541-B834-F0E00CB49477}"/>
                </a:ext>
              </a:extLst>
            </p:cNvPr>
            <p:cNvSpPr/>
            <p:nvPr/>
          </p:nvSpPr>
          <p:spPr>
            <a:xfrm>
              <a:off x="7838862" y="1116939"/>
              <a:ext cx="69981" cy="69718"/>
            </a:xfrm>
            <a:custGeom>
              <a:avLst/>
              <a:gdLst>
                <a:gd name="connsiteX0" fmla="*/ 34991 w 69981"/>
                <a:gd name="connsiteY0" fmla="*/ 0 h 69718"/>
                <a:gd name="connsiteX1" fmla="*/ 0 w 69981"/>
                <a:gd name="connsiteY1" fmla="*/ 34859 h 69718"/>
                <a:gd name="connsiteX2" fmla="*/ 34991 w 69981"/>
                <a:gd name="connsiteY2" fmla="*/ 69719 h 69718"/>
                <a:gd name="connsiteX3" fmla="*/ 69981 w 69981"/>
                <a:gd name="connsiteY3" fmla="*/ 34859 h 69718"/>
                <a:gd name="connsiteX4" fmla="*/ 69981 w 69981"/>
                <a:gd name="connsiteY4" fmla="*/ 34823 h 69718"/>
                <a:gd name="connsiteX5" fmla="*/ 34991 w 69981"/>
                <a:gd name="connsiteY5" fmla="*/ 0 h 6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81" h="69718">
                  <a:moveTo>
                    <a:pt x="34991" y="0"/>
                  </a:moveTo>
                  <a:cubicBezTo>
                    <a:pt x="15666" y="0"/>
                    <a:pt x="0" y="15607"/>
                    <a:pt x="0" y="34859"/>
                  </a:cubicBezTo>
                  <a:cubicBezTo>
                    <a:pt x="0" y="54112"/>
                    <a:pt x="15666" y="69719"/>
                    <a:pt x="34991" y="69719"/>
                  </a:cubicBezTo>
                  <a:cubicBezTo>
                    <a:pt x="54315" y="69719"/>
                    <a:pt x="69981" y="54112"/>
                    <a:pt x="69981" y="34859"/>
                  </a:cubicBezTo>
                  <a:cubicBezTo>
                    <a:pt x="69981" y="34848"/>
                    <a:pt x="69981" y="34835"/>
                    <a:pt x="69981" y="34823"/>
                  </a:cubicBezTo>
                  <a:cubicBezTo>
                    <a:pt x="69942" y="15593"/>
                    <a:pt x="54294" y="20"/>
                    <a:pt x="34991" y="0"/>
                  </a:cubicBezTo>
                  <a:close/>
                </a:path>
              </a:pathLst>
            </a:custGeom>
            <a:grpFill/>
            <a:ln w="3621"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A4E9D67-0BAA-E842-A31B-626C1F901315}"/>
                </a:ext>
              </a:extLst>
            </p:cNvPr>
            <p:cNvSpPr/>
            <p:nvPr/>
          </p:nvSpPr>
          <p:spPr>
            <a:xfrm>
              <a:off x="8674075" y="1208490"/>
              <a:ext cx="200381" cy="204321"/>
            </a:xfrm>
            <a:custGeom>
              <a:avLst/>
              <a:gdLst>
                <a:gd name="connsiteX0" fmla="*/ 100191 w 200381"/>
                <a:gd name="connsiteY0" fmla="*/ 58749 h 204321"/>
                <a:gd name="connsiteX1" fmla="*/ 137608 w 200381"/>
                <a:gd name="connsiteY1" fmla="*/ 96026 h 204321"/>
                <a:gd name="connsiteX2" fmla="*/ 137608 w 200381"/>
                <a:gd name="connsiteY2" fmla="*/ 204285 h 204321"/>
                <a:gd name="connsiteX3" fmla="*/ 200382 w 200381"/>
                <a:gd name="connsiteY3" fmla="*/ 204285 h 204321"/>
                <a:gd name="connsiteX4" fmla="*/ 200382 w 200381"/>
                <a:gd name="connsiteY4" fmla="*/ 87365 h 204321"/>
                <a:gd name="connsiteX5" fmla="*/ 121127 w 200381"/>
                <a:gd name="connsiteY5" fmla="*/ 0 h 204321"/>
                <a:gd name="connsiteX6" fmla="*/ 62773 w 200381"/>
                <a:gd name="connsiteY6" fmla="*/ 36555 h 204321"/>
                <a:gd name="connsiteX7" fmla="*/ 62773 w 200381"/>
                <a:gd name="connsiteY7" fmla="*/ 5016 h 204321"/>
                <a:gd name="connsiteX8" fmla="*/ 0 w 200381"/>
                <a:gd name="connsiteY8" fmla="*/ 5016 h 204321"/>
                <a:gd name="connsiteX9" fmla="*/ 0 w 200381"/>
                <a:gd name="connsiteY9" fmla="*/ 204321 h 204321"/>
                <a:gd name="connsiteX10" fmla="*/ 62773 w 200381"/>
                <a:gd name="connsiteY10" fmla="*/ 204321 h 204321"/>
                <a:gd name="connsiteX11" fmla="*/ 62773 w 200381"/>
                <a:gd name="connsiteY11" fmla="*/ 96062 h 204321"/>
                <a:gd name="connsiteX12" fmla="*/ 100191 w 200381"/>
                <a:gd name="connsiteY12" fmla="*/ 58749 h 2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381" h="204321">
                  <a:moveTo>
                    <a:pt x="100191" y="58749"/>
                  </a:moveTo>
                  <a:cubicBezTo>
                    <a:pt x="120848" y="58768"/>
                    <a:pt x="137587" y="75446"/>
                    <a:pt x="137608" y="96026"/>
                  </a:cubicBezTo>
                  <a:lnTo>
                    <a:pt x="137608" y="204285"/>
                  </a:lnTo>
                  <a:lnTo>
                    <a:pt x="200382" y="204285"/>
                  </a:lnTo>
                  <a:lnTo>
                    <a:pt x="200382" y="87365"/>
                  </a:lnTo>
                  <a:cubicBezTo>
                    <a:pt x="200382" y="34282"/>
                    <a:pt x="169629" y="0"/>
                    <a:pt x="121127" y="0"/>
                  </a:cubicBezTo>
                  <a:cubicBezTo>
                    <a:pt x="101169" y="0"/>
                    <a:pt x="80124" y="8697"/>
                    <a:pt x="62773" y="36555"/>
                  </a:cubicBezTo>
                  <a:lnTo>
                    <a:pt x="62773" y="5016"/>
                  </a:lnTo>
                  <a:lnTo>
                    <a:pt x="0" y="5016"/>
                  </a:lnTo>
                  <a:lnTo>
                    <a:pt x="0" y="204321"/>
                  </a:lnTo>
                  <a:lnTo>
                    <a:pt x="62773" y="204321"/>
                  </a:lnTo>
                  <a:lnTo>
                    <a:pt x="62773" y="96062"/>
                  </a:lnTo>
                  <a:cubicBezTo>
                    <a:pt x="62773" y="75467"/>
                    <a:pt x="79519" y="58768"/>
                    <a:pt x="100191" y="58749"/>
                  </a:cubicBezTo>
                  <a:close/>
                </a:path>
              </a:pathLst>
            </a:custGeom>
            <a:grpFill/>
            <a:ln w="3621"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DF9F492-D151-144D-9E40-D852FAD4BB14}"/>
                </a:ext>
              </a:extLst>
            </p:cNvPr>
            <p:cNvSpPr/>
            <p:nvPr/>
          </p:nvSpPr>
          <p:spPr>
            <a:xfrm>
              <a:off x="8904050" y="1121919"/>
              <a:ext cx="199222" cy="290928"/>
            </a:xfrm>
            <a:custGeom>
              <a:avLst/>
              <a:gdLst>
                <a:gd name="connsiteX0" fmla="*/ 199222 w 199222"/>
                <a:gd name="connsiteY0" fmla="*/ 290928 h 290928"/>
                <a:gd name="connsiteX1" fmla="*/ 122069 w 199222"/>
                <a:gd name="connsiteY1" fmla="*/ 191366 h 290928"/>
                <a:gd name="connsiteX2" fmla="*/ 193825 w 199222"/>
                <a:gd name="connsiteY2" fmla="*/ 91623 h 290928"/>
                <a:gd name="connsiteX3" fmla="*/ 120439 w 199222"/>
                <a:gd name="connsiteY3" fmla="*/ 91623 h 290928"/>
                <a:gd name="connsiteX4" fmla="*/ 62773 w 199222"/>
                <a:gd name="connsiteY4" fmla="*/ 172240 h 290928"/>
                <a:gd name="connsiteX5" fmla="*/ 62773 w 199222"/>
                <a:gd name="connsiteY5" fmla="*/ 0 h 290928"/>
                <a:gd name="connsiteX6" fmla="*/ 0 w 199222"/>
                <a:gd name="connsiteY6" fmla="*/ 0 h 290928"/>
                <a:gd name="connsiteX7" fmla="*/ 0 w 199222"/>
                <a:gd name="connsiteY7" fmla="*/ 290928 h 290928"/>
                <a:gd name="connsiteX8" fmla="*/ 62773 w 199222"/>
                <a:gd name="connsiteY8" fmla="*/ 290928 h 290928"/>
                <a:gd name="connsiteX9" fmla="*/ 62773 w 199222"/>
                <a:gd name="connsiteY9" fmla="*/ 208796 h 290928"/>
                <a:gd name="connsiteX10" fmla="*/ 126090 w 199222"/>
                <a:gd name="connsiteY10" fmla="*/ 290928 h 290928"/>
                <a:gd name="connsiteX11" fmla="*/ 199222 w 199222"/>
                <a:gd name="connsiteY11" fmla="*/ 290928 h 29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222" h="290928">
                  <a:moveTo>
                    <a:pt x="199222" y="290928"/>
                  </a:moveTo>
                  <a:lnTo>
                    <a:pt x="122069" y="191366"/>
                  </a:lnTo>
                  <a:lnTo>
                    <a:pt x="193825" y="91623"/>
                  </a:lnTo>
                  <a:lnTo>
                    <a:pt x="120439" y="91623"/>
                  </a:lnTo>
                  <a:lnTo>
                    <a:pt x="62773" y="172240"/>
                  </a:lnTo>
                  <a:lnTo>
                    <a:pt x="62773" y="0"/>
                  </a:lnTo>
                  <a:lnTo>
                    <a:pt x="0" y="0"/>
                  </a:lnTo>
                  <a:lnTo>
                    <a:pt x="0" y="290928"/>
                  </a:lnTo>
                  <a:lnTo>
                    <a:pt x="62773" y="290928"/>
                  </a:lnTo>
                  <a:lnTo>
                    <a:pt x="62773" y="208796"/>
                  </a:lnTo>
                  <a:lnTo>
                    <a:pt x="126090" y="290928"/>
                  </a:lnTo>
                  <a:lnTo>
                    <a:pt x="199222" y="290928"/>
                  </a:lnTo>
                  <a:close/>
                </a:path>
              </a:pathLst>
            </a:custGeom>
            <a:grpFill/>
            <a:ln w="3621"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866D89E4-2541-564F-BA7C-1BC00F835A78}"/>
                </a:ext>
              </a:extLst>
            </p:cNvPr>
            <p:cNvSpPr/>
            <p:nvPr/>
          </p:nvSpPr>
          <p:spPr>
            <a:xfrm>
              <a:off x="7058852" y="1116927"/>
              <a:ext cx="201266" cy="301079"/>
            </a:xfrm>
            <a:custGeom>
              <a:avLst/>
              <a:gdLst>
                <a:gd name="connsiteX0" fmla="*/ 194767 w 201266"/>
                <a:gd name="connsiteY0" fmla="*/ 242295 h 301079"/>
                <a:gd name="connsiteX1" fmla="*/ 201215 w 201266"/>
                <a:gd name="connsiteY1" fmla="*/ 205559 h 301079"/>
                <a:gd name="connsiteX2" fmla="*/ 183393 w 201266"/>
                <a:gd name="connsiteY2" fmla="*/ 155038 h 301079"/>
                <a:gd name="connsiteX3" fmla="*/ 115295 w 201266"/>
                <a:gd name="connsiteY3" fmla="*/ 118952 h 301079"/>
                <a:gd name="connsiteX4" fmla="*/ 97438 w 201266"/>
                <a:gd name="connsiteY4" fmla="*/ 112276 h 301079"/>
                <a:gd name="connsiteX5" fmla="*/ 84144 w 201266"/>
                <a:gd name="connsiteY5" fmla="*/ 102424 h 301079"/>
                <a:gd name="connsiteX6" fmla="*/ 78457 w 201266"/>
                <a:gd name="connsiteY6" fmla="*/ 86113 h 301079"/>
                <a:gd name="connsiteX7" fmla="*/ 91534 w 201266"/>
                <a:gd name="connsiteY7" fmla="*/ 65508 h 301079"/>
                <a:gd name="connsiteX8" fmla="*/ 141158 w 201266"/>
                <a:gd name="connsiteY8" fmla="*/ 65905 h 301079"/>
                <a:gd name="connsiteX9" fmla="*/ 161406 w 201266"/>
                <a:gd name="connsiteY9" fmla="*/ 75432 h 301079"/>
                <a:gd name="connsiteX10" fmla="*/ 188102 w 201266"/>
                <a:gd name="connsiteY10" fmla="*/ 22565 h 301079"/>
                <a:gd name="connsiteX11" fmla="*/ 149815 w 201266"/>
                <a:gd name="connsiteY11" fmla="*/ 5352 h 301079"/>
                <a:gd name="connsiteX12" fmla="*/ 107182 w 201266"/>
                <a:gd name="connsiteY12" fmla="*/ 11 h 301079"/>
                <a:gd name="connsiteX13" fmla="*/ 67337 w 201266"/>
                <a:gd name="connsiteY13" fmla="*/ 6543 h 301079"/>
                <a:gd name="connsiteX14" fmla="*/ 36838 w 201266"/>
                <a:gd name="connsiteY14" fmla="*/ 26354 h 301079"/>
                <a:gd name="connsiteX15" fmla="*/ 16554 w 201266"/>
                <a:gd name="connsiteY15" fmla="*/ 56595 h 301079"/>
                <a:gd name="connsiteX16" fmla="*/ 9852 w 201266"/>
                <a:gd name="connsiteY16" fmla="*/ 93439 h 301079"/>
                <a:gd name="connsiteX17" fmla="*/ 33506 w 201266"/>
                <a:gd name="connsiteY17" fmla="*/ 146269 h 301079"/>
                <a:gd name="connsiteX18" fmla="*/ 80848 w 201266"/>
                <a:gd name="connsiteY18" fmla="*/ 172612 h 301079"/>
                <a:gd name="connsiteX19" fmla="*/ 104248 w 201266"/>
                <a:gd name="connsiteY19" fmla="*/ 180876 h 301079"/>
                <a:gd name="connsiteX20" fmla="*/ 121453 w 201266"/>
                <a:gd name="connsiteY20" fmla="*/ 189609 h 301079"/>
                <a:gd name="connsiteX21" fmla="*/ 130581 w 201266"/>
                <a:gd name="connsiteY21" fmla="*/ 199749 h 301079"/>
                <a:gd name="connsiteX22" fmla="*/ 132537 w 201266"/>
                <a:gd name="connsiteY22" fmla="*/ 212452 h 301079"/>
                <a:gd name="connsiteX23" fmla="*/ 123627 w 201266"/>
                <a:gd name="connsiteY23" fmla="*/ 229629 h 301079"/>
                <a:gd name="connsiteX24" fmla="*/ 94649 w 201266"/>
                <a:gd name="connsiteY24" fmla="*/ 237568 h 301079"/>
                <a:gd name="connsiteX25" fmla="*/ 59622 w 201266"/>
                <a:gd name="connsiteY25" fmla="*/ 229160 h 301079"/>
                <a:gd name="connsiteX26" fmla="*/ 31368 w 201266"/>
                <a:gd name="connsiteY26" fmla="*/ 214148 h 301079"/>
                <a:gd name="connsiteX27" fmla="*/ 0 w 201266"/>
                <a:gd name="connsiteY27" fmla="*/ 268602 h 301079"/>
                <a:gd name="connsiteX28" fmla="*/ 88998 w 201266"/>
                <a:gd name="connsiteY28" fmla="*/ 301080 h 301079"/>
                <a:gd name="connsiteX29" fmla="*/ 136413 w 201266"/>
                <a:gd name="connsiteY29" fmla="*/ 293393 h 301079"/>
                <a:gd name="connsiteX30" fmla="*/ 172273 w 201266"/>
                <a:gd name="connsiteY30" fmla="*/ 273438 h 301079"/>
                <a:gd name="connsiteX31" fmla="*/ 194767 w 201266"/>
                <a:gd name="connsiteY31" fmla="*/ 242295 h 30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1266" h="301079">
                  <a:moveTo>
                    <a:pt x="194767" y="242295"/>
                  </a:moveTo>
                  <a:cubicBezTo>
                    <a:pt x="199443" y="230625"/>
                    <a:pt x="201639" y="218117"/>
                    <a:pt x="201215" y="205559"/>
                  </a:cubicBezTo>
                  <a:cubicBezTo>
                    <a:pt x="201215" y="185459"/>
                    <a:pt x="194912" y="167452"/>
                    <a:pt x="183393" y="155038"/>
                  </a:cubicBezTo>
                  <a:cubicBezTo>
                    <a:pt x="169991" y="140604"/>
                    <a:pt x="147171" y="128262"/>
                    <a:pt x="115295" y="118952"/>
                  </a:cubicBezTo>
                  <a:cubicBezTo>
                    <a:pt x="109165" y="117231"/>
                    <a:pt x="103191" y="114998"/>
                    <a:pt x="97438" y="112276"/>
                  </a:cubicBezTo>
                  <a:cubicBezTo>
                    <a:pt x="92410" y="109877"/>
                    <a:pt x="87896" y="106532"/>
                    <a:pt x="84144" y="102424"/>
                  </a:cubicBezTo>
                  <a:cubicBezTo>
                    <a:pt x="80131" y="97967"/>
                    <a:pt x="78082" y="92090"/>
                    <a:pt x="78457" y="86113"/>
                  </a:cubicBezTo>
                  <a:cubicBezTo>
                    <a:pt x="78457" y="76875"/>
                    <a:pt x="83456" y="70596"/>
                    <a:pt x="91534" y="65508"/>
                  </a:cubicBezTo>
                  <a:cubicBezTo>
                    <a:pt x="101676" y="59157"/>
                    <a:pt x="121200" y="58543"/>
                    <a:pt x="141158" y="65905"/>
                  </a:cubicBezTo>
                  <a:cubicBezTo>
                    <a:pt x="148185" y="68460"/>
                    <a:pt x="154962" y="71649"/>
                    <a:pt x="161406" y="75432"/>
                  </a:cubicBezTo>
                  <a:lnTo>
                    <a:pt x="188102" y="22565"/>
                  </a:lnTo>
                  <a:cubicBezTo>
                    <a:pt x="176207" y="15076"/>
                    <a:pt x="163323" y="9282"/>
                    <a:pt x="149815" y="5352"/>
                  </a:cubicBezTo>
                  <a:cubicBezTo>
                    <a:pt x="135890" y="1774"/>
                    <a:pt x="121563" y="-21"/>
                    <a:pt x="107182" y="11"/>
                  </a:cubicBezTo>
                  <a:cubicBezTo>
                    <a:pt x="93617" y="-178"/>
                    <a:pt x="80126" y="2033"/>
                    <a:pt x="67337" y="6543"/>
                  </a:cubicBezTo>
                  <a:cubicBezTo>
                    <a:pt x="55926" y="11014"/>
                    <a:pt x="45548" y="17755"/>
                    <a:pt x="36838" y="26354"/>
                  </a:cubicBezTo>
                  <a:cubicBezTo>
                    <a:pt x="28142" y="35004"/>
                    <a:pt x="21249" y="45281"/>
                    <a:pt x="16554" y="56595"/>
                  </a:cubicBezTo>
                  <a:cubicBezTo>
                    <a:pt x="11950" y="68329"/>
                    <a:pt x="9674" y="80841"/>
                    <a:pt x="9852" y="93439"/>
                  </a:cubicBezTo>
                  <a:cubicBezTo>
                    <a:pt x="10606" y="113428"/>
                    <a:pt x="19080" y="132355"/>
                    <a:pt x="33506" y="146269"/>
                  </a:cubicBezTo>
                  <a:cubicBezTo>
                    <a:pt x="51617" y="163338"/>
                    <a:pt x="72517" y="169401"/>
                    <a:pt x="80848" y="172612"/>
                  </a:cubicBezTo>
                  <a:cubicBezTo>
                    <a:pt x="89179" y="175824"/>
                    <a:pt x="98380" y="178531"/>
                    <a:pt x="104248" y="180876"/>
                  </a:cubicBezTo>
                  <a:cubicBezTo>
                    <a:pt x="110299" y="183121"/>
                    <a:pt x="116072" y="186051"/>
                    <a:pt x="121453" y="189609"/>
                  </a:cubicBezTo>
                  <a:cubicBezTo>
                    <a:pt x="125308" y="192168"/>
                    <a:pt x="128448" y="195653"/>
                    <a:pt x="130581" y="199749"/>
                  </a:cubicBezTo>
                  <a:cubicBezTo>
                    <a:pt x="132462" y="203704"/>
                    <a:pt x="133142" y="208118"/>
                    <a:pt x="132537" y="212452"/>
                  </a:cubicBezTo>
                  <a:cubicBezTo>
                    <a:pt x="131899" y="219106"/>
                    <a:pt x="128708" y="225262"/>
                    <a:pt x="123627" y="229629"/>
                  </a:cubicBezTo>
                  <a:cubicBezTo>
                    <a:pt x="118229" y="234681"/>
                    <a:pt x="108522" y="237568"/>
                    <a:pt x="94649" y="237568"/>
                  </a:cubicBezTo>
                  <a:cubicBezTo>
                    <a:pt x="82512" y="237232"/>
                    <a:pt x="70580" y="234367"/>
                    <a:pt x="59622" y="229160"/>
                  </a:cubicBezTo>
                  <a:cubicBezTo>
                    <a:pt x="49883" y="224782"/>
                    <a:pt x="40444" y="219766"/>
                    <a:pt x="31368" y="214148"/>
                  </a:cubicBezTo>
                  <a:lnTo>
                    <a:pt x="0" y="268602"/>
                  </a:lnTo>
                  <a:cubicBezTo>
                    <a:pt x="21733" y="287980"/>
                    <a:pt x="57412" y="301080"/>
                    <a:pt x="88998" y="301080"/>
                  </a:cubicBezTo>
                  <a:cubicBezTo>
                    <a:pt x="105113" y="301047"/>
                    <a:pt x="121119" y="298453"/>
                    <a:pt x="136413" y="293393"/>
                  </a:cubicBezTo>
                  <a:cubicBezTo>
                    <a:pt x="149523" y="289052"/>
                    <a:pt x="161690" y="282282"/>
                    <a:pt x="172273" y="273438"/>
                  </a:cubicBezTo>
                  <a:cubicBezTo>
                    <a:pt x="181872" y="264737"/>
                    <a:pt x="189537" y="254128"/>
                    <a:pt x="194767" y="242295"/>
                  </a:cubicBezTo>
                  <a:close/>
                </a:path>
              </a:pathLst>
            </a:custGeom>
            <a:grpFill/>
            <a:ln w="3621"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2B284AF-6D36-CF4E-ADC5-7E51B4CC89BC}"/>
                </a:ext>
              </a:extLst>
            </p:cNvPr>
            <p:cNvSpPr/>
            <p:nvPr/>
          </p:nvSpPr>
          <p:spPr>
            <a:xfrm>
              <a:off x="9112690" y="1343200"/>
              <a:ext cx="69909" cy="69646"/>
            </a:xfrm>
            <a:custGeom>
              <a:avLst/>
              <a:gdLst>
                <a:gd name="connsiteX0" fmla="*/ 34955 w 69909"/>
                <a:gd name="connsiteY0" fmla="*/ 0 h 69646"/>
                <a:gd name="connsiteX1" fmla="*/ 0 w 69909"/>
                <a:gd name="connsiteY1" fmla="*/ 34823 h 69646"/>
                <a:gd name="connsiteX2" fmla="*/ 34955 w 69909"/>
                <a:gd name="connsiteY2" fmla="*/ 69647 h 69646"/>
                <a:gd name="connsiteX3" fmla="*/ 69909 w 69909"/>
                <a:gd name="connsiteY3" fmla="*/ 34823 h 69646"/>
                <a:gd name="connsiteX4" fmla="*/ 34955 w 69909"/>
                <a:gd name="connsiteY4" fmla="*/ 0 h 69646"/>
                <a:gd name="connsiteX5" fmla="*/ 34955 w 69909"/>
                <a:gd name="connsiteY5" fmla="*/ 62646 h 69646"/>
                <a:gd name="connsiteX6" fmla="*/ 7027 w 69909"/>
                <a:gd name="connsiteY6" fmla="*/ 34823 h 69646"/>
                <a:gd name="connsiteX7" fmla="*/ 34955 w 69909"/>
                <a:gd name="connsiteY7" fmla="*/ 7001 h 69646"/>
                <a:gd name="connsiteX8" fmla="*/ 62882 w 69909"/>
                <a:gd name="connsiteY8" fmla="*/ 34823 h 69646"/>
                <a:gd name="connsiteX9" fmla="*/ 34955 w 69909"/>
                <a:gd name="connsiteY9" fmla="*/ 62646 h 69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909" h="69646">
                  <a:moveTo>
                    <a:pt x="34955" y="0"/>
                  </a:moveTo>
                  <a:cubicBezTo>
                    <a:pt x="15648" y="0"/>
                    <a:pt x="0" y="15589"/>
                    <a:pt x="0" y="34823"/>
                  </a:cubicBezTo>
                  <a:cubicBezTo>
                    <a:pt x="0" y="54057"/>
                    <a:pt x="15648" y="69647"/>
                    <a:pt x="34955" y="69647"/>
                  </a:cubicBezTo>
                  <a:cubicBezTo>
                    <a:pt x="54261" y="69647"/>
                    <a:pt x="69909" y="54057"/>
                    <a:pt x="69909" y="34823"/>
                  </a:cubicBezTo>
                  <a:cubicBezTo>
                    <a:pt x="69891" y="15600"/>
                    <a:pt x="54250" y="22"/>
                    <a:pt x="34955" y="0"/>
                  </a:cubicBezTo>
                  <a:close/>
                  <a:moveTo>
                    <a:pt x="34955" y="62646"/>
                  </a:moveTo>
                  <a:cubicBezTo>
                    <a:pt x="19531" y="62646"/>
                    <a:pt x="7027" y="50189"/>
                    <a:pt x="7027" y="34823"/>
                  </a:cubicBezTo>
                  <a:cubicBezTo>
                    <a:pt x="7027" y="19458"/>
                    <a:pt x="19531" y="7001"/>
                    <a:pt x="34955" y="7001"/>
                  </a:cubicBezTo>
                  <a:cubicBezTo>
                    <a:pt x="50378" y="7001"/>
                    <a:pt x="62882" y="19458"/>
                    <a:pt x="62882" y="34823"/>
                  </a:cubicBezTo>
                  <a:cubicBezTo>
                    <a:pt x="62882" y="50189"/>
                    <a:pt x="50378" y="62646"/>
                    <a:pt x="34955" y="62646"/>
                  </a:cubicBezTo>
                  <a:close/>
                </a:path>
              </a:pathLst>
            </a:custGeom>
            <a:grpFill/>
            <a:ln w="3621"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070B44B-9518-0F43-8101-CD69871B6805}"/>
                </a:ext>
              </a:extLst>
            </p:cNvPr>
            <p:cNvSpPr/>
            <p:nvPr/>
          </p:nvSpPr>
          <p:spPr>
            <a:xfrm>
              <a:off x="9134931" y="1359006"/>
              <a:ext cx="27999" cy="38107"/>
            </a:xfrm>
            <a:custGeom>
              <a:avLst/>
              <a:gdLst>
                <a:gd name="connsiteX0" fmla="*/ 12497 w 27999"/>
                <a:gd name="connsiteY0" fmla="*/ 24827 h 38107"/>
                <a:gd name="connsiteX1" fmla="*/ 6882 w 27999"/>
                <a:gd name="connsiteY1" fmla="*/ 24827 h 38107"/>
                <a:gd name="connsiteX2" fmla="*/ 6882 w 27999"/>
                <a:gd name="connsiteY2" fmla="*/ 38035 h 38107"/>
                <a:gd name="connsiteX3" fmla="*/ 0 w 27999"/>
                <a:gd name="connsiteY3" fmla="*/ 38035 h 38107"/>
                <a:gd name="connsiteX4" fmla="*/ 0 w 27999"/>
                <a:gd name="connsiteY4" fmla="*/ 0 h 38107"/>
                <a:gd name="connsiteX5" fmla="*/ 14489 w 27999"/>
                <a:gd name="connsiteY5" fmla="*/ 0 h 38107"/>
                <a:gd name="connsiteX6" fmla="*/ 27203 w 27999"/>
                <a:gd name="connsiteY6" fmla="*/ 12594 h 38107"/>
                <a:gd name="connsiteX7" fmla="*/ 19959 w 27999"/>
                <a:gd name="connsiteY7" fmla="*/ 23673 h 38107"/>
                <a:gd name="connsiteX8" fmla="*/ 28000 w 27999"/>
                <a:gd name="connsiteY8" fmla="*/ 38107 h 38107"/>
                <a:gd name="connsiteX9" fmla="*/ 19959 w 27999"/>
                <a:gd name="connsiteY9" fmla="*/ 38107 h 38107"/>
                <a:gd name="connsiteX10" fmla="*/ 6882 w 27999"/>
                <a:gd name="connsiteY10" fmla="*/ 18440 h 38107"/>
                <a:gd name="connsiteX11" fmla="*/ 14924 w 27999"/>
                <a:gd name="connsiteY11" fmla="*/ 18440 h 38107"/>
                <a:gd name="connsiteX12" fmla="*/ 20103 w 27999"/>
                <a:gd name="connsiteY12" fmla="*/ 11981 h 38107"/>
                <a:gd name="connsiteX13" fmla="*/ 14924 w 27999"/>
                <a:gd name="connsiteY13" fmla="*/ 6820 h 38107"/>
                <a:gd name="connsiteX14" fmla="*/ 6882 w 27999"/>
                <a:gd name="connsiteY14" fmla="*/ 6820 h 3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999" h="38107">
                  <a:moveTo>
                    <a:pt x="12497" y="24827"/>
                  </a:moveTo>
                  <a:lnTo>
                    <a:pt x="6882" y="24827"/>
                  </a:lnTo>
                  <a:lnTo>
                    <a:pt x="6882" y="38035"/>
                  </a:lnTo>
                  <a:lnTo>
                    <a:pt x="0" y="38035"/>
                  </a:lnTo>
                  <a:lnTo>
                    <a:pt x="0" y="0"/>
                  </a:lnTo>
                  <a:lnTo>
                    <a:pt x="14489" y="0"/>
                  </a:lnTo>
                  <a:cubicBezTo>
                    <a:pt x="21491" y="-22"/>
                    <a:pt x="27181" y="5619"/>
                    <a:pt x="27203" y="12594"/>
                  </a:cubicBezTo>
                  <a:cubicBezTo>
                    <a:pt x="27145" y="17372"/>
                    <a:pt x="24323" y="21688"/>
                    <a:pt x="19959" y="23673"/>
                  </a:cubicBezTo>
                  <a:lnTo>
                    <a:pt x="28000" y="38107"/>
                  </a:lnTo>
                  <a:lnTo>
                    <a:pt x="19959" y="38107"/>
                  </a:lnTo>
                  <a:close/>
                  <a:moveTo>
                    <a:pt x="6882" y="18440"/>
                  </a:moveTo>
                  <a:lnTo>
                    <a:pt x="14924" y="18440"/>
                  </a:lnTo>
                  <a:cubicBezTo>
                    <a:pt x="18144" y="18083"/>
                    <a:pt x="20466" y="15189"/>
                    <a:pt x="20103" y="11981"/>
                  </a:cubicBezTo>
                  <a:cubicBezTo>
                    <a:pt x="19799" y="9267"/>
                    <a:pt x="17648" y="7124"/>
                    <a:pt x="14924" y="6820"/>
                  </a:cubicBezTo>
                  <a:lnTo>
                    <a:pt x="6882" y="6820"/>
                  </a:lnTo>
                  <a:close/>
                </a:path>
              </a:pathLst>
            </a:custGeom>
            <a:grpFill/>
            <a:ln w="3621"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9EC9A2E-261E-1046-ABA2-6A99FD742108}"/>
                </a:ext>
              </a:extLst>
            </p:cNvPr>
            <p:cNvSpPr/>
            <p:nvPr/>
          </p:nvSpPr>
          <p:spPr>
            <a:xfrm>
              <a:off x="7281148" y="1208598"/>
              <a:ext cx="186037" cy="209300"/>
            </a:xfrm>
            <a:custGeom>
              <a:avLst/>
              <a:gdLst>
                <a:gd name="connsiteX0" fmla="*/ 144418 w 186037"/>
                <a:gd name="connsiteY0" fmla="*/ 133484 h 209300"/>
                <a:gd name="connsiteX1" fmla="*/ 79294 w 186037"/>
                <a:gd name="connsiteY1" fmla="*/ 140625 h 209300"/>
                <a:gd name="connsiteX2" fmla="*/ 72126 w 186037"/>
                <a:gd name="connsiteY2" fmla="*/ 75745 h 209300"/>
                <a:gd name="connsiteX3" fmla="*/ 137250 w 186037"/>
                <a:gd name="connsiteY3" fmla="*/ 68603 h 209300"/>
                <a:gd name="connsiteX4" fmla="*/ 144418 w 186037"/>
                <a:gd name="connsiteY4" fmla="*/ 75745 h 209300"/>
                <a:gd name="connsiteX5" fmla="*/ 186038 w 186037"/>
                <a:gd name="connsiteY5" fmla="*/ 34282 h 209300"/>
                <a:gd name="connsiteX6" fmla="*/ 108377 w 186037"/>
                <a:gd name="connsiteY6" fmla="*/ 0 h 209300"/>
                <a:gd name="connsiteX7" fmla="*/ 0 w 186037"/>
                <a:gd name="connsiteY7" fmla="*/ 104650 h 209300"/>
                <a:gd name="connsiteX8" fmla="*/ 108377 w 186037"/>
                <a:gd name="connsiteY8" fmla="*/ 209301 h 209300"/>
                <a:gd name="connsiteX9" fmla="*/ 186038 w 186037"/>
                <a:gd name="connsiteY9" fmla="*/ 175055 h 20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037" h="209300">
                  <a:moveTo>
                    <a:pt x="144418" y="133484"/>
                  </a:moveTo>
                  <a:cubicBezTo>
                    <a:pt x="128415" y="153371"/>
                    <a:pt x="99256" y="156568"/>
                    <a:pt x="79294" y="140625"/>
                  </a:cubicBezTo>
                  <a:cubicBezTo>
                    <a:pt x="59328" y="124682"/>
                    <a:pt x="56119" y="95633"/>
                    <a:pt x="72126" y="75745"/>
                  </a:cubicBezTo>
                  <a:cubicBezTo>
                    <a:pt x="88129" y="55857"/>
                    <a:pt x="117284" y="52659"/>
                    <a:pt x="137250" y="68603"/>
                  </a:cubicBezTo>
                  <a:cubicBezTo>
                    <a:pt x="139894" y="70715"/>
                    <a:pt x="142299" y="73111"/>
                    <a:pt x="144418" y="75745"/>
                  </a:cubicBezTo>
                  <a:lnTo>
                    <a:pt x="186038" y="34282"/>
                  </a:lnTo>
                  <a:cubicBezTo>
                    <a:pt x="166173" y="12439"/>
                    <a:pt x="137963" y="-15"/>
                    <a:pt x="108377" y="0"/>
                  </a:cubicBezTo>
                  <a:cubicBezTo>
                    <a:pt x="50421" y="0"/>
                    <a:pt x="0" y="41066"/>
                    <a:pt x="0" y="104650"/>
                  </a:cubicBezTo>
                  <a:cubicBezTo>
                    <a:pt x="0" y="168235"/>
                    <a:pt x="50458" y="209301"/>
                    <a:pt x="108377" y="209301"/>
                  </a:cubicBezTo>
                  <a:cubicBezTo>
                    <a:pt x="137953" y="209312"/>
                    <a:pt x="166159" y="196873"/>
                    <a:pt x="186038" y="175055"/>
                  </a:cubicBezTo>
                  <a:close/>
                </a:path>
              </a:pathLst>
            </a:custGeom>
            <a:grpFill/>
            <a:ln w="3621"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9F0ADE3-B8C7-994E-8CA9-5585F8608D52}"/>
                </a:ext>
              </a:extLst>
            </p:cNvPr>
            <p:cNvSpPr/>
            <p:nvPr/>
          </p:nvSpPr>
          <p:spPr>
            <a:xfrm>
              <a:off x="7931591" y="1208526"/>
              <a:ext cx="219253" cy="209301"/>
            </a:xfrm>
            <a:custGeom>
              <a:avLst/>
              <a:gdLst>
                <a:gd name="connsiteX0" fmla="*/ 219253 w 219253"/>
                <a:gd name="connsiteY0" fmla="*/ 204321 h 209301"/>
                <a:gd name="connsiteX1" fmla="*/ 219253 w 219253"/>
                <a:gd name="connsiteY1" fmla="*/ 4980 h 209301"/>
                <a:gd name="connsiteX2" fmla="*/ 158038 w 219253"/>
                <a:gd name="connsiteY2" fmla="*/ 4980 h 209301"/>
                <a:gd name="connsiteX3" fmla="*/ 158038 w 219253"/>
                <a:gd name="connsiteY3" fmla="*/ 25910 h 209301"/>
                <a:gd name="connsiteX4" fmla="*/ 152387 w 219253"/>
                <a:gd name="connsiteY4" fmla="*/ 20858 h 209301"/>
                <a:gd name="connsiteX5" fmla="*/ 99647 w 219253"/>
                <a:gd name="connsiteY5" fmla="*/ 0 h 209301"/>
                <a:gd name="connsiteX6" fmla="*/ 0 w 219253"/>
                <a:gd name="connsiteY6" fmla="*/ 104651 h 209301"/>
                <a:gd name="connsiteX7" fmla="*/ 99647 w 219253"/>
                <a:gd name="connsiteY7" fmla="*/ 209301 h 209301"/>
                <a:gd name="connsiteX8" fmla="*/ 152387 w 219253"/>
                <a:gd name="connsiteY8" fmla="*/ 188443 h 209301"/>
                <a:gd name="connsiteX9" fmla="*/ 158038 w 219253"/>
                <a:gd name="connsiteY9" fmla="*/ 183391 h 209301"/>
                <a:gd name="connsiteX10" fmla="*/ 158038 w 219253"/>
                <a:gd name="connsiteY10" fmla="*/ 204321 h 209301"/>
                <a:gd name="connsiteX11" fmla="*/ 109427 w 219253"/>
                <a:gd name="connsiteY11" fmla="*/ 151743 h 209301"/>
                <a:gd name="connsiteX12" fmla="*/ 62338 w 219253"/>
                <a:gd name="connsiteY12" fmla="*/ 104831 h 209301"/>
                <a:gd name="connsiteX13" fmla="*/ 109427 w 219253"/>
                <a:gd name="connsiteY13" fmla="*/ 57919 h 209301"/>
                <a:gd name="connsiteX14" fmla="*/ 156516 w 219253"/>
                <a:gd name="connsiteY14" fmla="*/ 104831 h 209301"/>
                <a:gd name="connsiteX15" fmla="*/ 109427 w 219253"/>
                <a:gd name="connsiteY15" fmla="*/ 151743 h 20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253" h="209301">
                  <a:moveTo>
                    <a:pt x="219253" y="204321"/>
                  </a:moveTo>
                  <a:lnTo>
                    <a:pt x="219253" y="4980"/>
                  </a:lnTo>
                  <a:lnTo>
                    <a:pt x="158038" y="4980"/>
                  </a:lnTo>
                  <a:lnTo>
                    <a:pt x="158038" y="25910"/>
                  </a:lnTo>
                  <a:lnTo>
                    <a:pt x="152387" y="20858"/>
                  </a:lnTo>
                  <a:cubicBezTo>
                    <a:pt x="138134" y="7440"/>
                    <a:pt x="119258" y="-25"/>
                    <a:pt x="99647" y="0"/>
                  </a:cubicBezTo>
                  <a:cubicBezTo>
                    <a:pt x="45640" y="0"/>
                    <a:pt x="0" y="47923"/>
                    <a:pt x="0" y="104651"/>
                  </a:cubicBezTo>
                  <a:cubicBezTo>
                    <a:pt x="0" y="161378"/>
                    <a:pt x="45640" y="209301"/>
                    <a:pt x="99647" y="209301"/>
                  </a:cubicBezTo>
                  <a:cubicBezTo>
                    <a:pt x="119258" y="209326"/>
                    <a:pt x="138134" y="201860"/>
                    <a:pt x="152387" y="188443"/>
                  </a:cubicBezTo>
                  <a:lnTo>
                    <a:pt x="158038" y="183391"/>
                  </a:lnTo>
                  <a:lnTo>
                    <a:pt x="158038" y="204321"/>
                  </a:lnTo>
                  <a:close/>
                  <a:moveTo>
                    <a:pt x="109427" y="151743"/>
                  </a:moveTo>
                  <a:cubicBezTo>
                    <a:pt x="83420" y="151743"/>
                    <a:pt x="62338" y="130741"/>
                    <a:pt x="62338" y="104831"/>
                  </a:cubicBezTo>
                  <a:cubicBezTo>
                    <a:pt x="62338" y="78921"/>
                    <a:pt x="83420" y="57919"/>
                    <a:pt x="109427" y="57919"/>
                  </a:cubicBezTo>
                  <a:cubicBezTo>
                    <a:pt x="135435" y="57919"/>
                    <a:pt x="156516" y="78921"/>
                    <a:pt x="156516" y="104831"/>
                  </a:cubicBezTo>
                  <a:cubicBezTo>
                    <a:pt x="156397" y="130690"/>
                    <a:pt x="135384" y="151624"/>
                    <a:pt x="109427" y="151743"/>
                  </a:cubicBezTo>
                  <a:close/>
                </a:path>
              </a:pathLst>
            </a:custGeom>
            <a:grpFill/>
            <a:ln w="3621"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BF47D28D-3436-BB47-89E1-976DBD7C0779}"/>
                </a:ext>
              </a:extLst>
            </p:cNvPr>
            <p:cNvSpPr/>
            <p:nvPr/>
          </p:nvSpPr>
          <p:spPr>
            <a:xfrm>
              <a:off x="8424938" y="1208526"/>
              <a:ext cx="219217" cy="209301"/>
            </a:xfrm>
            <a:custGeom>
              <a:avLst/>
              <a:gdLst>
                <a:gd name="connsiteX0" fmla="*/ 219217 w 219217"/>
                <a:gd name="connsiteY0" fmla="*/ 204321 h 209301"/>
                <a:gd name="connsiteX1" fmla="*/ 219217 w 219217"/>
                <a:gd name="connsiteY1" fmla="*/ 4980 h 209301"/>
                <a:gd name="connsiteX2" fmla="*/ 158002 w 219217"/>
                <a:gd name="connsiteY2" fmla="*/ 4980 h 209301"/>
                <a:gd name="connsiteX3" fmla="*/ 158002 w 219217"/>
                <a:gd name="connsiteY3" fmla="*/ 25910 h 209301"/>
                <a:gd name="connsiteX4" fmla="*/ 152351 w 219217"/>
                <a:gd name="connsiteY4" fmla="*/ 20858 h 209301"/>
                <a:gd name="connsiteX5" fmla="*/ 99611 w 219217"/>
                <a:gd name="connsiteY5" fmla="*/ 0 h 209301"/>
                <a:gd name="connsiteX6" fmla="*/ 0 w 219217"/>
                <a:gd name="connsiteY6" fmla="*/ 104651 h 209301"/>
                <a:gd name="connsiteX7" fmla="*/ 99611 w 219217"/>
                <a:gd name="connsiteY7" fmla="*/ 209301 h 209301"/>
                <a:gd name="connsiteX8" fmla="*/ 152351 w 219217"/>
                <a:gd name="connsiteY8" fmla="*/ 188443 h 209301"/>
                <a:gd name="connsiteX9" fmla="*/ 158002 w 219217"/>
                <a:gd name="connsiteY9" fmla="*/ 183391 h 209301"/>
                <a:gd name="connsiteX10" fmla="*/ 158002 w 219217"/>
                <a:gd name="connsiteY10" fmla="*/ 204321 h 209301"/>
                <a:gd name="connsiteX11" fmla="*/ 109391 w 219217"/>
                <a:gd name="connsiteY11" fmla="*/ 151743 h 209301"/>
                <a:gd name="connsiteX12" fmla="*/ 62483 w 219217"/>
                <a:gd name="connsiteY12" fmla="*/ 104651 h 209301"/>
                <a:gd name="connsiteX13" fmla="*/ 109753 w 219217"/>
                <a:gd name="connsiteY13" fmla="*/ 57919 h 209301"/>
                <a:gd name="connsiteX14" fmla="*/ 156661 w 219217"/>
                <a:gd name="connsiteY14" fmla="*/ 104831 h 209301"/>
                <a:gd name="connsiteX15" fmla="*/ 109246 w 219217"/>
                <a:gd name="connsiteY15" fmla="*/ 151743 h 20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217" h="209301">
                  <a:moveTo>
                    <a:pt x="219217" y="204321"/>
                  </a:moveTo>
                  <a:lnTo>
                    <a:pt x="219217" y="4980"/>
                  </a:lnTo>
                  <a:lnTo>
                    <a:pt x="158002" y="4980"/>
                  </a:lnTo>
                  <a:lnTo>
                    <a:pt x="158002" y="25910"/>
                  </a:lnTo>
                  <a:lnTo>
                    <a:pt x="152351" y="20858"/>
                  </a:lnTo>
                  <a:cubicBezTo>
                    <a:pt x="138097" y="7440"/>
                    <a:pt x="119222" y="-25"/>
                    <a:pt x="99611" y="0"/>
                  </a:cubicBezTo>
                  <a:cubicBezTo>
                    <a:pt x="45604" y="0"/>
                    <a:pt x="0" y="47923"/>
                    <a:pt x="0" y="104651"/>
                  </a:cubicBezTo>
                  <a:cubicBezTo>
                    <a:pt x="0" y="161378"/>
                    <a:pt x="45604" y="209301"/>
                    <a:pt x="99611" y="209301"/>
                  </a:cubicBezTo>
                  <a:cubicBezTo>
                    <a:pt x="119222" y="209326"/>
                    <a:pt x="138097" y="201860"/>
                    <a:pt x="152351" y="188443"/>
                  </a:cubicBezTo>
                  <a:lnTo>
                    <a:pt x="158002" y="183391"/>
                  </a:lnTo>
                  <a:lnTo>
                    <a:pt x="158002" y="204321"/>
                  </a:lnTo>
                  <a:close/>
                  <a:moveTo>
                    <a:pt x="109391" y="151743"/>
                  </a:moveTo>
                  <a:cubicBezTo>
                    <a:pt x="83384" y="151642"/>
                    <a:pt x="62382" y="130561"/>
                    <a:pt x="62483" y="104651"/>
                  </a:cubicBezTo>
                  <a:cubicBezTo>
                    <a:pt x="62585" y="78741"/>
                    <a:pt x="83746" y="57820"/>
                    <a:pt x="109753" y="57919"/>
                  </a:cubicBezTo>
                  <a:cubicBezTo>
                    <a:pt x="135689" y="58019"/>
                    <a:pt x="156661" y="78993"/>
                    <a:pt x="156661" y="104831"/>
                  </a:cubicBezTo>
                  <a:cubicBezTo>
                    <a:pt x="156542" y="130817"/>
                    <a:pt x="135330" y="151805"/>
                    <a:pt x="109246" y="151743"/>
                  </a:cubicBezTo>
                  <a:close/>
                </a:path>
              </a:pathLst>
            </a:custGeom>
            <a:grpFill/>
            <a:ln w="3621"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69809BD-E855-6448-AEFD-EB1ACBDDB957}"/>
                </a:ext>
              </a:extLst>
            </p:cNvPr>
            <p:cNvSpPr/>
            <p:nvPr/>
          </p:nvSpPr>
          <p:spPr>
            <a:xfrm>
              <a:off x="8183299" y="1121919"/>
              <a:ext cx="219253" cy="295908"/>
            </a:xfrm>
            <a:custGeom>
              <a:avLst/>
              <a:gdLst>
                <a:gd name="connsiteX0" fmla="*/ 61216 w 219253"/>
                <a:gd name="connsiteY0" fmla="*/ 290928 h 295908"/>
                <a:gd name="connsiteX1" fmla="*/ 61216 w 219253"/>
                <a:gd name="connsiteY1" fmla="*/ 269998 h 295908"/>
                <a:gd name="connsiteX2" fmla="*/ 66903 w 219253"/>
                <a:gd name="connsiteY2" fmla="*/ 275050 h 295908"/>
                <a:gd name="connsiteX3" fmla="*/ 119606 w 219253"/>
                <a:gd name="connsiteY3" fmla="*/ 295908 h 295908"/>
                <a:gd name="connsiteX4" fmla="*/ 219253 w 219253"/>
                <a:gd name="connsiteY4" fmla="*/ 191258 h 295908"/>
                <a:gd name="connsiteX5" fmla="*/ 119606 w 219253"/>
                <a:gd name="connsiteY5" fmla="*/ 86607 h 295908"/>
                <a:gd name="connsiteX6" fmla="*/ 66903 w 219253"/>
                <a:gd name="connsiteY6" fmla="*/ 107465 h 295908"/>
                <a:gd name="connsiteX7" fmla="*/ 61216 w 219253"/>
                <a:gd name="connsiteY7" fmla="*/ 112517 h 295908"/>
                <a:gd name="connsiteX8" fmla="*/ 61216 w 219253"/>
                <a:gd name="connsiteY8" fmla="*/ 0 h 295908"/>
                <a:gd name="connsiteX9" fmla="*/ 0 w 219253"/>
                <a:gd name="connsiteY9" fmla="*/ 0 h 295908"/>
                <a:gd name="connsiteX10" fmla="*/ 0 w 219253"/>
                <a:gd name="connsiteY10" fmla="*/ 290928 h 295908"/>
                <a:gd name="connsiteX11" fmla="*/ 62592 w 219253"/>
                <a:gd name="connsiteY11" fmla="*/ 191294 h 295908"/>
                <a:gd name="connsiteX12" fmla="*/ 109681 w 219253"/>
                <a:gd name="connsiteY12" fmla="*/ 144382 h 295908"/>
                <a:gd name="connsiteX13" fmla="*/ 156770 w 219253"/>
                <a:gd name="connsiteY13" fmla="*/ 191294 h 295908"/>
                <a:gd name="connsiteX14" fmla="*/ 109862 w 219253"/>
                <a:gd name="connsiteY14" fmla="*/ 238206 h 295908"/>
                <a:gd name="connsiteX15" fmla="*/ 62592 w 219253"/>
                <a:gd name="connsiteY15" fmla="*/ 191294 h 295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253" h="295908">
                  <a:moveTo>
                    <a:pt x="61216" y="290928"/>
                  </a:moveTo>
                  <a:lnTo>
                    <a:pt x="61216" y="269998"/>
                  </a:lnTo>
                  <a:lnTo>
                    <a:pt x="66903" y="275050"/>
                  </a:lnTo>
                  <a:cubicBezTo>
                    <a:pt x="81138" y="288474"/>
                    <a:pt x="100006" y="295937"/>
                    <a:pt x="119606" y="295908"/>
                  </a:cubicBezTo>
                  <a:cubicBezTo>
                    <a:pt x="173613" y="295908"/>
                    <a:pt x="219253" y="247986"/>
                    <a:pt x="219253" y="191258"/>
                  </a:cubicBezTo>
                  <a:cubicBezTo>
                    <a:pt x="219253" y="134530"/>
                    <a:pt x="173613" y="86607"/>
                    <a:pt x="119606" y="86607"/>
                  </a:cubicBezTo>
                  <a:cubicBezTo>
                    <a:pt x="100006" y="86577"/>
                    <a:pt x="81138" y="94043"/>
                    <a:pt x="66903" y="107465"/>
                  </a:cubicBezTo>
                  <a:lnTo>
                    <a:pt x="61216" y="112517"/>
                  </a:lnTo>
                  <a:lnTo>
                    <a:pt x="61216" y="0"/>
                  </a:lnTo>
                  <a:lnTo>
                    <a:pt x="0" y="0"/>
                  </a:lnTo>
                  <a:lnTo>
                    <a:pt x="0" y="290928"/>
                  </a:lnTo>
                  <a:close/>
                  <a:moveTo>
                    <a:pt x="62592" y="191294"/>
                  </a:moveTo>
                  <a:cubicBezTo>
                    <a:pt x="62592" y="165384"/>
                    <a:pt x="83673" y="144382"/>
                    <a:pt x="109681" y="144382"/>
                  </a:cubicBezTo>
                  <a:cubicBezTo>
                    <a:pt x="135689" y="144382"/>
                    <a:pt x="156770" y="165384"/>
                    <a:pt x="156770" y="191294"/>
                  </a:cubicBezTo>
                  <a:cubicBezTo>
                    <a:pt x="156770" y="217132"/>
                    <a:pt x="135797" y="238105"/>
                    <a:pt x="109862" y="238206"/>
                  </a:cubicBezTo>
                  <a:cubicBezTo>
                    <a:pt x="83833" y="238188"/>
                    <a:pt x="62712" y="217222"/>
                    <a:pt x="62592" y="191294"/>
                  </a:cubicBezTo>
                  <a:close/>
                </a:path>
              </a:pathLst>
            </a:custGeom>
            <a:grpFill/>
            <a:ln w="3621" cap="flat">
              <a:noFill/>
              <a:prstDash val="solid"/>
              <a:miter/>
            </a:ln>
          </p:spPr>
          <p:txBody>
            <a:bodyPr rtlCol="0" anchor="ctr"/>
            <a:lstStyle/>
            <a:p>
              <a:endParaRPr lang="en-US"/>
            </a:p>
          </p:txBody>
        </p:sp>
      </p:grpSp>
    </p:spTree>
    <p:extLst>
      <p:ext uri="{BB962C8B-B14F-4D97-AF65-F5344CB8AC3E}">
        <p14:creationId xmlns:p14="http://schemas.microsoft.com/office/powerpoint/2010/main" val="6647738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 Scotiabank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solidFill>
                  <a:srgbClr val="FFFFFF"/>
                </a:solidFill>
              </a:defRPr>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grpSp>
        <p:nvGrpSpPr>
          <p:cNvPr id="6" name="Graphic 53">
            <a:extLst>
              <a:ext uri="{FF2B5EF4-FFF2-40B4-BE49-F238E27FC236}">
                <a16:creationId xmlns:a16="http://schemas.microsoft.com/office/drawing/2014/main" id="{A51117F3-AB95-6642-A690-E06C1D4A4D85}"/>
              </a:ext>
            </a:extLst>
          </p:cNvPr>
          <p:cNvGrpSpPr/>
          <p:nvPr userDrawn="1"/>
        </p:nvGrpSpPr>
        <p:grpSpPr>
          <a:xfrm>
            <a:off x="9904469" y="6237840"/>
            <a:ext cx="1931313" cy="273798"/>
            <a:chOff x="7058852" y="1116927"/>
            <a:chExt cx="2123747" cy="301079"/>
          </a:xfrm>
          <a:solidFill>
            <a:srgbClr val="FFFFFF"/>
          </a:solidFill>
        </p:grpSpPr>
        <p:sp>
          <p:nvSpPr>
            <p:cNvPr id="7" name="Freeform 6">
              <a:extLst>
                <a:ext uri="{FF2B5EF4-FFF2-40B4-BE49-F238E27FC236}">
                  <a16:creationId xmlns:a16="http://schemas.microsoft.com/office/drawing/2014/main" id="{982E0D0B-042A-D44C-809F-F3C5BD11C869}"/>
                </a:ext>
              </a:extLst>
            </p:cNvPr>
            <p:cNvSpPr/>
            <p:nvPr/>
          </p:nvSpPr>
          <p:spPr>
            <a:xfrm>
              <a:off x="7469793" y="1208562"/>
              <a:ext cx="210089" cy="209300"/>
            </a:xfrm>
            <a:custGeom>
              <a:avLst/>
              <a:gdLst>
                <a:gd name="connsiteX0" fmla="*/ 105045 w 210089"/>
                <a:gd name="connsiteY0" fmla="*/ 0 h 209300"/>
                <a:gd name="connsiteX1" fmla="*/ 0 w 210089"/>
                <a:gd name="connsiteY1" fmla="*/ 104650 h 209300"/>
                <a:gd name="connsiteX2" fmla="*/ 105045 w 210089"/>
                <a:gd name="connsiteY2" fmla="*/ 209301 h 209300"/>
                <a:gd name="connsiteX3" fmla="*/ 210089 w 210089"/>
                <a:gd name="connsiteY3" fmla="*/ 104650 h 209300"/>
                <a:gd name="connsiteX4" fmla="*/ 105045 w 210089"/>
                <a:gd name="connsiteY4" fmla="*/ 0 h 209300"/>
                <a:gd name="connsiteX5" fmla="*/ 105045 w 210089"/>
                <a:gd name="connsiteY5" fmla="*/ 150769 h 209300"/>
                <a:gd name="connsiteX6" fmla="*/ 58680 w 210089"/>
                <a:gd name="connsiteY6" fmla="*/ 104650 h 209300"/>
                <a:gd name="connsiteX7" fmla="*/ 104972 w 210089"/>
                <a:gd name="connsiteY7" fmla="*/ 58460 h 209300"/>
                <a:gd name="connsiteX8" fmla="*/ 151337 w 210089"/>
                <a:gd name="connsiteY8" fmla="*/ 104578 h 209300"/>
                <a:gd name="connsiteX9" fmla="*/ 151337 w 210089"/>
                <a:gd name="connsiteY9" fmla="*/ 104650 h 209300"/>
                <a:gd name="connsiteX10" fmla="*/ 105045 w 210089"/>
                <a:gd name="connsiteY10" fmla="*/ 150769 h 20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089" h="209300">
                  <a:moveTo>
                    <a:pt x="105045" y="0"/>
                  </a:moveTo>
                  <a:cubicBezTo>
                    <a:pt x="47031" y="0"/>
                    <a:pt x="0" y="46853"/>
                    <a:pt x="0" y="104650"/>
                  </a:cubicBezTo>
                  <a:cubicBezTo>
                    <a:pt x="0" y="162446"/>
                    <a:pt x="47031" y="209301"/>
                    <a:pt x="105045" y="209301"/>
                  </a:cubicBezTo>
                  <a:cubicBezTo>
                    <a:pt x="163058" y="209301"/>
                    <a:pt x="210089" y="162446"/>
                    <a:pt x="210089" y="104650"/>
                  </a:cubicBezTo>
                  <a:cubicBezTo>
                    <a:pt x="210089" y="46853"/>
                    <a:pt x="163058" y="0"/>
                    <a:pt x="105045" y="0"/>
                  </a:cubicBezTo>
                  <a:close/>
                  <a:moveTo>
                    <a:pt x="105045" y="150769"/>
                  </a:moveTo>
                  <a:cubicBezTo>
                    <a:pt x="79457" y="150791"/>
                    <a:pt x="58702" y="130142"/>
                    <a:pt x="58680" y="104650"/>
                  </a:cubicBezTo>
                  <a:cubicBezTo>
                    <a:pt x="58658" y="79159"/>
                    <a:pt x="79385" y="58480"/>
                    <a:pt x="104972" y="58460"/>
                  </a:cubicBezTo>
                  <a:cubicBezTo>
                    <a:pt x="130560" y="58440"/>
                    <a:pt x="151315" y="79087"/>
                    <a:pt x="151337" y="104578"/>
                  </a:cubicBezTo>
                  <a:cubicBezTo>
                    <a:pt x="151337" y="104604"/>
                    <a:pt x="151337" y="104625"/>
                    <a:pt x="151337" y="104650"/>
                  </a:cubicBezTo>
                  <a:cubicBezTo>
                    <a:pt x="151275" y="130095"/>
                    <a:pt x="130585" y="150711"/>
                    <a:pt x="105045" y="150769"/>
                  </a:cubicBezTo>
                  <a:close/>
                </a:path>
              </a:pathLst>
            </a:custGeom>
            <a:grpFill/>
            <a:ln w="3621"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AD50210-463F-D74D-9CED-C2684923EB86}"/>
                </a:ext>
              </a:extLst>
            </p:cNvPr>
            <p:cNvSpPr/>
            <p:nvPr/>
          </p:nvSpPr>
          <p:spPr>
            <a:xfrm>
              <a:off x="7693538" y="1151762"/>
              <a:ext cx="120113" cy="261084"/>
            </a:xfrm>
            <a:custGeom>
              <a:avLst/>
              <a:gdLst>
                <a:gd name="connsiteX0" fmla="*/ 120113 w 120113"/>
                <a:gd name="connsiteY0" fmla="*/ 61780 h 261084"/>
                <a:gd name="connsiteX1" fmla="*/ 91461 w 120113"/>
                <a:gd name="connsiteY1" fmla="*/ 61780 h 261084"/>
                <a:gd name="connsiteX2" fmla="*/ 91461 w 120113"/>
                <a:gd name="connsiteY2" fmla="*/ 0 h 261084"/>
                <a:gd name="connsiteX3" fmla="*/ 28652 w 120113"/>
                <a:gd name="connsiteY3" fmla="*/ 0 h 261084"/>
                <a:gd name="connsiteX4" fmla="*/ 28652 w 120113"/>
                <a:gd name="connsiteY4" fmla="*/ 61780 h 261084"/>
                <a:gd name="connsiteX5" fmla="*/ 0 w 120113"/>
                <a:gd name="connsiteY5" fmla="*/ 61780 h 261084"/>
                <a:gd name="connsiteX6" fmla="*/ 0 w 120113"/>
                <a:gd name="connsiteY6" fmla="*/ 118399 h 261084"/>
                <a:gd name="connsiteX7" fmla="*/ 28652 w 120113"/>
                <a:gd name="connsiteY7" fmla="*/ 118399 h 261084"/>
                <a:gd name="connsiteX8" fmla="*/ 28652 w 120113"/>
                <a:gd name="connsiteY8" fmla="*/ 261085 h 261084"/>
                <a:gd name="connsiteX9" fmla="*/ 91461 w 120113"/>
                <a:gd name="connsiteY9" fmla="*/ 261085 h 261084"/>
                <a:gd name="connsiteX10" fmla="*/ 91461 w 120113"/>
                <a:gd name="connsiteY10" fmla="*/ 118399 h 261084"/>
                <a:gd name="connsiteX11" fmla="*/ 120113 w 120113"/>
                <a:gd name="connsiteY11" fmla="*/ 118399 h 261084"/>
                <a:gd name="connsiteX12" fmla="*/ 120113 w 120113"/>
                <a:gd name="connsiteY12" fmla="*/ 61780 h 2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113" h="261084">
                  <a:moveTo>
                    <a:pt x="120113" y="61780"/>
                  </a:moveTo>
                  <a:lnTo>
                    <a:pt x="91461" y="61780"/>
                  </a:lnTo>
                  <a:lnTo>
                    <a:pt x="91461" y="0"/>
                  </a:lnTo>
                  <a:lnTo>
                    <a:pt x="28652" y="0"/>
                  </a:lnTo>
                  <a:lnTo>
                    <a:pt x="28652" y="61780"/>
                  </a:lnTo>
                  <a:lnTo>
                    <a:pt x="0" y="61780"/>
                  </a:lnTo>
                  <a:lnTo>
                    <a:pt x="0" y="118399"/>
                  </a:lnTo>
                  <a:lnTo>
                    <a:pt x="28652" y="118399"/>
                  </a:lnTo>
                  <a:lnTo>
                    <a:pt x="28652" y="261085"/>
                  </a:lnTo>
                  <a:lnTo>
                    <a:pt x="91461" y="261085"/>
                  </a:lnTo>
                  <a:lnTo>
                    <a:pt x="91461" y="118399"/>
                  </a:lnTo>
                  <a:lnTo>
                    <a:pt x="120113" y="118399"/>
                  </a:lnTo>
                  <a:lnTo>
                    <a:pt x="120113" y="61780"/>
                  </a:lnTo>
                  <a:close/>
                </a:path>
              </a:pathLst>
            </a:custGeom>
            <a:grpFill/>
            <a:ln w="3621"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25BE366-3379-8548-9173-81650A5BEA20}"/>
                </a:ext>
              </a:extLst>
            </p:cNvPr>
            <p:cNvSpPr/>
            <p:nvPr/>
          </p:nvSpPr>
          <p:spPr>
            <a:xfrm>
              <a:off x="7842484" y="1213542"/>
              <a:ext cx="62773" cy="199341"/>
            </a:xfrm>
            <a:custGeom>
              <a:avLst/>
              <a:gdLst>
                <a:gd name="connsiteX0" fmla="*/ 0 w 62773"/>
                <a:gd name="connsiteY0" fmla="*/ 0 h 199341"/>
                <a:gd name="connsiteX1" fmla="*/ 62773 w 62773"/>
                <a:gd name="connsiteY1" fmla="*/ 0 h 199341"/>
                <a:gd name="connsiteX2" fmla="*/ 62773 w 62773"/>
                <a:gd name="connsiteY2" fmla="*/ 199341 h 199341"/>
                <a:gd name="connsiteX3" fmla="*/ 0 w 62773"/>
                <a:gd name="connsiteY3" fmla="*/ 199341 h 199341"/>
              </a:gdLst>
              <a:ahLst/>
              <a:cxnLst>
                <a:cxn ang="0">
                  <a:pos x="connsiteX0" y="connsiteY0"/>
                </a:cxn>
                <a:cxn ang="0">
                  <a:pos x="connsiteX1" y="connsiteY1"/>
                </a:cxn>
                <a:cxn ang="0">
                  <a:pos x="connsiteX2" y="connsiteY2"/>
                </a:cxn>
                <a:cxn ang="0">
                  <a:pos x="connsiteX3" y="connsiteY3"/>
                </a:cxn>
              </a:cxnLst>
              <a:rect l="l" t="t" r="r" b="b"/>
              <a:pathLst>
                <a:path w="62773" h="199341">
                  <a:moveTo>
                    <a:pt x="0" y="0"/>
                  </a:moveTo>
                  <a:lnTo>
                    <a:pt x="62773" y="0"/>
                  </a:lnTo>
                  <a:lnTo>
                    <a:pt x="62773" y="199341"/>
                  </a:lnTo>
                  <a:lnTo>
                    <a:pt x="0" y="199341"/>
                  </a:lnTo>
                  <a:close/>
                </a:path>
              </a:pathLst>
            </a:custGeom>
            <a:grpFill/>
            <a:ln w="3621"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4D3041D5-BB78-6541-B834-F0E00CB49477}"/>
                </a:ext>
              </a:extLst>
            </p:cNvPr>
            <p:cNvSpPr/>
            <p:nvPr/>
          </p:nvSpPr>
          <p:spPr>
            <a:xfrm>
              <a:off x="7838862" y="1116939"/>
              <a:ext cx="69981" cy="69718"/>
            </a:xfrm>
            <a:custGeom>
              <a:avLst/>
              <a:gdLst>
                <a:gd name="connsiteX0" fmla="*/ 34991 w 69981"/>
                <a:gd name="connsiteY0" fmla="*/ 0 h 69718"/>
                <a:gd name="connsiteX1" fmla="*/ 0 w 69981"/>
                <a:gd name="connsiteY1" fmla="*/ 34859 h 69718"/>
                <a:gd name="connsiteX2" fmla="*/ 34991 w 69981"/>
                <a:gd name="connsiteY2" fmla="*/ 69719 h 69718"/>
                <a:gd name="connsiteX3" fmla="*/ 69981 w 69981"/>
                <a:gd name="connsiteY3" fmla="*/ 34859 h 69718"/>
                <a:gd name="connsiteX4" fmla="*/ 69981 w 69981"/>
                <a:gd name="connsiteY4" fmla="*/ 34823 h 69718"/>
                <a:gd name="connsiteX5" fmla="*/ 34991 w 69981"/>
                <a:gd name="connsiteY5" fmla="*/ 0 h 6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81" h="69718">
                  <a:moveTo>
                    <a:pt x="34991" y="0"/>
                  </a:moveTo>
                  <a:cubicBezTo>
                    <a:pt x="15666" y="0"/>
                    <a:pt x="0" y="15607"/>
                    <a:pt x="0" y="34859"/>
                  </a:cubicBezTo>
                  <a:cubicBezTo>
                    <a:pt x="0" y="54112"/>
                    <a:pt x="15666" y="69719"/>
                    <a:pt x="34991" y="69719"/>
                  </a:cubicBezTo>
                  <a:cubicBezTo>
                    <a:pt x="54315" y="69719"/>
                    <a:pt x="69981" y="54112"/>
                    <a:pt x="69981" y="34859"/>
                  </a:cubicBezTo>
                  <a:cubicBezTo>
                    <a:pt x="69981" y="34848"/>
                    <a:pt x="69981" y="34835"/>
                    <a:pt x="69981" y="34823"/>
                  </a:cubicBezTo>
                  <a:cubicBezTo>
                    <a:pt x="69942" y="15593"/>
                    <a:pt x="54294" y="20"/>
                    <a:pt x="34991" y="0"/>
                  </a:cubicBezTo>
                  <a:close/>
                </a:path>
              </a:pathLst>
            </a:custGeom>
            <a:grpFill/>
            <a:ln w="3621"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A4E9D67-0BAA-E842-A31B-626C1F901315}"/>
                </a:ext>
              </a:extLst>
            </p:cNvPr>
            <p:cNvSpPr/>
            <p:nvPr/>
          </p:nvSpPr>
          <p:spPr>
            <a:xfrm>
              <a:off x="8674075" y="1208490"/>
              <a:ext cx="200381" cy="204321"/>
            </a:xfrm>
            <a:custGeom>
              <a:avLst/>
              <a:gdLst>
                <a:gd name="connsiteX0" fmla="*/ 100191 w 200381"/>
                <a:gd name="connsiteY0" fmla="*/ 58749 h 204321"/>
                <a:gd name="connsiteX1" fmla="*/ 137608 w 200381"/>
                <a:gd name="connsiteY1" fmla="*/ 96026 h 204321"/>
                <a:gd name="connsiteX2" fmla="*/ 137608 w 200381"/>
                <a:gd name="connsiteY2" fmla="*/ 204285 h 204321"/>
                <a:gd name="connsiteX3" fmla="*/ 200382 w 200381"/>
                <a:gd name="connsiteY3" fmla="*/ 204285 h 204321"/>
                <a:gd name="connsiteX4" fmla="*/ 200382 w 200381"/>
                <a:gd name="connsiteY4" fmla="*/ 87365 h 204321"/>
                <a:gd name="connsiteX5" fmla="*/ 121127 w 200381"/>
                <a:gd name="connsiteY5" fmla="*/ 0 h 204321"/>
                <a:gd name="connsiteX6" fmla="*/ 62773 w 200381"/>
                <a:gd name="connsiteY6" fmla="*/ 36555 h 204321"/>
                <a:gd name="connsiteX7" fmla="*/ 62773 w 200381"/>
                <a:gd name="connsiteY7" fmla="*/ 5016 h 204321"/>
                <a:gd name="connsiteX8" fmla="*/ 0 w 200381"/>
                <a:gd name="connsiteY8" fmla="*/ 5016 h 204321"/>
                <a:gd name="connsiteX9" fmla="*/ 0 w 200381"/>
                <a:gd name="connsiteY9" fmla="*/ 204321 h 204321"/>
                <a:gd name="connsiteX10" fmla="*/ 62773 w 200381"/>
                <a:gd name="connsiteY10" fmla="*/ 204321 h 204321"/>
                <a:gd name="connsiteX11" fmla="*/ 62773 w 200381"/>
                <a:gd name="connsiteY11" fmla="*/ 96062 h 204321"/>
                <a:gd name="connsiteX12" fmla="*/ 100191 w 200381"/>
                <a:gd name="connsiteY12" fmla="*/ 58749 h 20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381" h="204321">
                  <a:moveTo>
                    <a:pt x="100191" y="58749"/>
                  </a:moveTo>
                  <a:cubicBezTo>
                    <a:pt x="120848" y="58768"/>
                    <a:pt x="137587" y="75446"/>
                    <a:pt x="137608" y="96026"/>
                  </a:cubicBezTo>
                  <a:lnTo>
                    <a:pt x="137608" y="204285"/>
                  </a:lnTo>
                  <a:lnTo>
                    <a:pt x="200382" y="204285"/>
                  </a:lnTo>
                  <a:lnTo>
                    <a:pt x="200382" y="87365"/>
                  </a:lnTo>
                  <a:cubicBezTo>
                    <a:pt x="200382" y="34282"/>
                    <a:pt x="169629" y="0"/>
                    <a:pt x="121127" y="0"/>
                  </a:cubicBezTo>
                  <a:cubicBezTo>
                    <a:pt x="101169" y="0"/>
                    <a:pt x="80124" y="8697"/>
                    <a:pt x="62773" y="36555"/>
                  </a:cubicBezTo>
                  <a:lnTo>
                    <a:pt x="62773" y="5016"/>
                  </a:lnTo>
                  <a:lnTo>
                    <a:pt x="0" y="5016"/>
                  </a:lnTo>
                  <a:lnTo>
                    <a:pt x="0" y="204321"/>
                  </a:lnTo>
                  <a:lnTo>
                    <a:pt x="62773" y="204321"/>
                  </a:lnTo>
                  <a:lnTo>
                    <a:pt x="62773" y="96062"/>
                  </a:lnTo>
                  <a:cubicBezTo>
                    <a:pt x="62773" y="75467"/>
                    <a:pt x="79519" y="58768"/>
                    <a:pt x="100191" y="58749"/>
                  </a:cubicBezTo>
                  <a:close/>
                </a:path>
              </a:pathLst>
            </a:custGeom>
            <a:grpFill/>
            <a:ln w="3621"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DF9F492-D151-144D-9E40-D852FAD4BB14}"/>
                </a:ext>
              </a:extLst>
            </p:cNvPr>
            <p:cNvSpPr/>
            <p:nvPr/>
          </p:nvSpPr>
          <p:spPr>
            <a:xfrm>
              <a:off x="8904050" y="1121919"/>
              <a:ext cx="199222" cy="290928"/>
            </a:xfrm>
            <a:custGeom>
              <a:avLst/>
              <a:gdLst>
                <a:gd name="connsiteX0" fmla="*/ 199222 w 199222"/>
                <a:gd name="connsiteY0" fmla="*/ 290928 h 290928"/>
                <a:gd name="connsiteX1" fmla="*/ 122069 w 199222"/>
                <a:gd name="connsiteY1" fmla="*/ 191366 h 290928"/>
                <a:gd name="connsiteX2" fmla="*/ 193825 w 199222"/>
                <a:gd name="connsiteY2" fmla="*/ 91623 h 290928"/>
                <a:gd name="connsiteX3" fmla="*/ 120439 w 199222"/>
                <a:gd name="connsiteY3" fmla="*/ 91623 h 290928"/>
                <a:gd name="connsiteX4" fmla="*/ 62773 w 199222"/>
                <a:gd name="connsiteY4" fmla="*/ 172240 h 290928"/>
                <a:gd name="connsiteX5" fmla="*/ 62773 w 199222"/>
                <a:gd name="connsiteY5" fmla="*/ 0 h 290928"/>
                <a:gd name="connsiteX6" fmla="*/ 0 w 199222"/>
                <a:gd name="connsiteY6" fmla="*/ 0 h 290928"/>
                <a:gd name="connsiteX7" fmla="*/ 0 w 199222"/>
                <a:gd name="connsiteY7" fmla="*/ 290928 h 290928"/>
                <a:gd name="connsiteX8" fmla="*/ 62773 w 199222"/>
                <a:gd name="connsiteY8" fmla="*/ 290928 h 290928"/>
                <a:gd name="connsiteX9" fmla="*/ 62773 w 199222"/>
                <a:gd name="connsiteY9" fmla="*/ 208796 h 290928"/>
                <a:gd name="connsiteX10" fmla="*/ 126090 w 199222"/>
                <a:gd name="connsiteY10" fmla="*/ 290928 h 290928"/>
                <a:gd name="connsiteX11" fmla="*/ 199222 w 199222"/>
                <a:gd name="connsiteY11" fmla="*/ 290928 h 29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222" h="290928">
                  <a:moveTo>
                    <a:pt x="199222" y="290928"/>
                  </a:moveTo>
                  <a:lnTo>
                    <a:pt x="122069" y="191366"/>
                  </a:lnTo>
                  <a:lnTo>
                    <a:pt x="193825" y="91623"/>
                  </a:lnTo>
                  <a:lnTo>
                    <a:pt x="120439" y="91623"/>
                  </a:lnTo>
                  <a:lnTo>
                    <a:pt x="62773" y="172240"/>
                  </a:lnTo>
                  <a:lnTo>
                    <a:pt x="62773" y="0"/>
                  </a:lnTo>
                  <a:lnTo>
                    <a:pt x="0" y="0"/>
                  </a:lnTo>
                  <a:lnTo>
                    <a:pt x="0" y="290928"/>
                  </a:lnTo>
                  <a:lnTo>
                    <a:pt x="62773" y="290928"/>
                  </a:lnTo>
                  <a:lnTo>
                    <a:pt x="62773" y="208796"/>
                  </a:lnTo>
                  <a:lnTo>
                    <a:pt x="126090" y="290928"/>
                  </a:lnTo>
                  <a:lnTo>
                    <a:pt x="199222" y="290928"/>
                  </a:lnTo>
                  <a:close/>
                </a:path>
              </a:pathLst>
            </a:custGeom>
            <a:grpFill/>
            <a:ln w="3621"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866D89E4-2541-564F-BA7C-1BC00F835A78}"/>
                </a:ext>
              </a:extLst>
            </p:cNvPr>
            <p:cNvSpPr/>
            <p:nvPr/>
          </p:nvSpPr>
          <p:spPr>
            <a:xfrm>
              <a:off x="7058852" y="1116927"/>
              <a:ext cx="201266" cy="301079"/>
            </a:xfrm>
            <a:custGeom>
              <a:avLst/>
              <a:gdLst>
                <a:gd name="connsiteX0" fmla="*/ 194767 w 201266"/>
                <a:gd name="connsiteY0" fmla="*/ 242295 h 301079"/>
                <a:gd name="connsiteX1" fmla="*/ 201215 w 201266"/>
                <a:gd name="connsiteY1" fmla="*/ 205559 h 301079"/>
                <a:gd name="connsiteX2" fmla="*/ 183393 w 201266"/>
                <a:gd name="connsiteY2" fmla="*/ 155038 h 301079"/>
                <a:gd name="connsiteX3" fmla="*/ 115295 w 201266"/>
                <a:gd name="connsiteY3" fmla="*/ 118952 h 301079"/>
                <a:gd name="connsiteX4" fmla="*/ 97438 w 201266"/>
                <a:gd name="connsiteY4" fmla="*/ 112276 h 301079"/>
                <a:gd name="connsiteX5" fmla="*/ 84144 w 201266"/>
                <a:gd name="connsiteY5" fmla="*/ 102424 h 301079"/>
                <a:gd name="connsiteX6" fmla="*/ 78457 w 201266"/>
                <a:gd name="connsiteY6" fmla="*/ 86113 h 301079"/>
                <a:gd name="connsiteX7" fmla="*/ 91534 w 201266"/>
                <a:gd name="connsiteY7" fmla="*/ 65508 h 301079"/>
                <a:gd name="connsiteX8" fmla="*/ 141158 w 201266"/>
                <a:gd name="connsiteY8" fmla="*/ 65905 h 301079"/>
                <a:gd name="connsiteX9" fmla="*/ 161406 w 201266"/>
                <a:gd name="connsiteY9" fmla="*/ 75432 h 301079"/>
                <a:gd name="connsiteX10" fmla="*/ 188102 w 201266"/>
                <a:gd name="connsiteY10" fmla="*/ 22565 h 301079"/>
                <a:gd name="connsiteX11" fmla="*/ 149815 w 201266"/>
                <a:gd name="connsiteY11" fmla="*/ 5352 h 301079"/>
                <a:gd name="connsiteX12" fmla="*/ 107182 w 201266"/>
                <a:gd name="connsiteY12" fmla="*/ 11 h 301079"/>
                <a:gd name="connsiteX13" fmla="*/ 67337 w 201266"/>
                <a:gd name="connsiteY13" fmla="*/ 6543 h 301079"/>
                <a:gd name="connsiteX14" fmla="*/ 36838 w 201266"/>
                <a:gd name="connsiteY14" fmla="*/ 26354 h 301079"/>
                <a:gd name="connsiteX15" fmla="*/ 16554 w 201266"/>
                <a:gd name="connsiteY15" fmla="*/ 56595 h 301079"/>
                <a:gd name="connsiteX16" fmla="*/ 9852 w 201266"/>
                <a:gd name="connsiteY16" fmla="*/ 93439 h 301079"/>
                <a:gd name="connsiteX17" fmla="*/ 33506 w 201266"/>
                <a:gd name="connsiteY17" fmla="*/ 146269 h 301079"/>
                <a:gd name="connsiteX18" fmla="*/ 80848 w 201266"/>
                <a:gd name="connsiteY18" fmla="*/ 172612 h 301079"/>
                <a:gd name="connsiteX19" fmla="*/ 104248 w 201266"/>
                <a:gd name="connsiteY19" fmla="*/ 180876 h 301079"/>
                <a:gd name="connsiteX20" fmla="*/ 121453 w 201266"/>
                <a:gd name="connsiteY20" fmla="*/ 189609 h 301079"/>
                <a:gd name="connsiteX21" fmla="*/ 130581 w 201266"/>
                <a:gd name="connsiteY21" fmla="*/ 199749 h 301079"/>
                <a:gd name="connsiteX22" fmla="*/ 132537 w 201266"/>
                <a:gd name="connsiteY22" fmla="*/ 212452 h 301079"/>
                <a:gd name="connsiteX23" fmla="*/ 123627 w 201266"/>
                <a:gd name="connsiteY23" fmla="*/ 229629 h 301079"/>
                <a:gd name="connsiteX24" fmla="*/ 94649 w 201266"/>
                <a:gd name="connsiteY24" fmla="*/ 237568 h 301079"/>
                <a:gd name="connsiteX25" fmla="*/ 59622 w 201266"/>
                <a:gd name="connsiteY25" fmla="*/ 229160 h 301079"/>
                <a:gd name="connsiteX26" fmla="*/ 31368 w 201266"/>
                <a:gd name="connsiteY26" fmla="*/ 214148 h 301079"/>
                <a:gd name="connsiteX27" fmla="*/ 0 w 201266"/>
                <a:gd name="connsiteY27" fmla="*/ 268602 h 301079"/>
                <a:gd name="connsiteX28" fmla="*/ 88998 w 201266"/>
                <a:gd name="connsiteY28" fmla="*/ 301080 h 301079"/>
                <a:gd name="connsiteX29" fmla="*/ 136413 w 201266"/>
                <a:gd name="connsiteY29" fmla="*/ 293393 h 301079"/>
                <a:gd name="connsiteX30" fmla="*/ 172273 w 201266"/>
                <a:gd name="connsiteY30" fmla="*/ 273438 h 301079"/>
                <a:gd name="connsiteX31" fmla="*/ 194767 w 201266"/>
                <a:gd name="connsiteY31" fmla="*/ 242295 h 30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1266" h="301079">
                  <a:moveTo>
                    <a:pt x="194767" y="242295"/>
                  </a:moveTo>
                  <a:cubicBezTo>
                    <a:pt x="199443" y="230625"/>
                    <a:pt x="201639" y="218117"/>
                    <a:pt x="201215" y="205559"/>
                  </a:cubicBezTo>
                  <a:cubicBezTo>
                    <a:pt x="201215" y="185459"/>
                    <a:pt x="194912" y="167452"/>
                    <a:pt x="183393" y="155038"/>
                  </a:cubicBezTo>
                  <a:cubicBezTo>
                    <a:pt x="169991" y="140604"/>
                    <a:pt x="147171" y="128262"/>
                    <a:pt x="115295" y="118952"/>
                  </a:cubicBezTo>
                  <a:cubicBezTo>
                    <a:pt x="109165" y="117231"/>
                    <a:pt x="103191" y="114998"/>
                    <a:pt x="97438" y="112276"/>
                  </a:cubicBezTo>
                  <a:cubicBezTo>
                    <a:pt x="92410" y="109877"/>
                    <a:pt x="87896" y="106532"/>
                    <a:pt x="84144" y="102424"/>
                  </a:cubicBezTo>
                  <a:cubicBezTo>
                    <a:pt x="80131" y="97967"/>
                    <a:pt x="78082" y="92090"/>
                    <a:pt x="78457" y="86113"/>
                  </a:cubicBezTo>
                  <a:cubicBezTo>
                    <a:pt x="78457" y="76875"/>
                    <a:pt x="83456" y="70596"/>
                    <a:pt x="91534" y="65508"/>
                  </a:cubicBezTo>
                  <a:cubicBezTo>
                    <a:pt x="101676" y="59157"/>
                    <a:pt x="121200" y="58543"/>
                    <a:pt x="141158" y="65905"/>
                  </a:cubicBezTo>
                  <a:cubicBezTo>
                    <a:pt x="148185" y="68460"/>
                    <a:pt x="154962" y="71649"/>
                    <a:pt x="161406" y="75432"/>
                  </a:cubicBezTo>
                  <a:lnTo>
                    <a:pt x="188102" y="22565"/>
                  </a:lnTo>
                  <a:cubicBezTo>
                    <a:pt x="176207" y="15076"/>
                    <a:pt x="163323" y="9282"/>
                    <a:pt x="149815" y="5352"/>
                  </a:cubicBezTo>
                  <a:cubicBezTo>
                    <a:pt x="135890" y="1774"/>
                    <a:pt x="121563" y="-21"/>
                    <a:pt x="107182" y="11"/>
                  </a:cubicBezTo>
                  <a:cubicBezTo>
                    <a:pt x="93617" y="-178"/>
                    <a:pt x="80126" y="2033"/>
                    <a:pt x="67337" y="6543"/>
                  </a:cubicBezTo>
                  <a:cubicBezTo>
                    <a:pt x="55926" y="11014"/>
                    <a:pt x="45548" y="17755"/>
                    <a:pt x="36838" y="26354"/>
                  </a:cubicBezTo>
                  <a:cubicBezTo>
                    <a:pt x="28142" y="35004"/>
                    <a:pt x="21249" y="45281"/>
                    <a:pt x="16554" y="56595"/>
                  </a:cubicBezTo>
                  <a:cubicBezTo>
                    <a:pt x="11950" y="68329"/>
                    <a:pt x="9674" y="80841"/>
                    <a:pt x="9852" y="93439"/>
                  </a:cubicBezTo>
                  <a:cubicBezTo>
                    <a:pt x="10606" y="113428"/>
                    <a:pt x="19080" y="132355"/>
                    <a:pt x="33506" y="146269"/>
                  </a:cubicBezTo>
                  <a:cubicBezTo>
                    <a:pt x="51617" y="163338"/>
                    <a:pt x="72517" y="169401"/>
                    <a:pt x="80848" y="172612"/>
                  </a:cubicBezTo>
                  <a:cubicBezTo>
                    <a:pt x="89179" y="175824"/>
                    <a:pt x="98380" y="178531"/>
                    <a:pt x="104248" y="180876"/>
                  </a:cubicBezTo>
                  <a:cubicBezTo>
                    <a:pt x="110299" y="183121"/>
                    <a:pt x="116072" y="186051"/>
                    <a:pt x="121453" y="189609"/>
                  </a:cubicBezTo>
                  <a:cubicBezTo>
                    <a:pt x="125308" y="192168"/>
                    <a:pt x="128448" y="195653"/>
                    <a:pt x="130581" y="199749"/>
                  </a:cubicBezTo>
                  <a:cubicBezTo>
                    <a:pt x="132462" y="203704"/>
                    <a:pt x="133142" y="208118"/>
                    <a:pt x="132537" y="212452"/>
                  </a:cubicBezTo>
                  <a:cubicBezTo>
                    <a:pt x="131899" y="219106"/>
                    <a:pt x="128708" y="225262"/>
                    <a:pt x="123627" y="229629"/>
                  </a:cubicBezTo>
                  <a:cubicBezTo>
                    <a:pt x="118229" y="234681"/>
                    <a:pt x="108522" y="237568"/>
                    <a:pt x="94649" y="237568"/>
                  </a:cubicBezTo>
                  <a:cubicBezTo>
                    <a:pt x="82512" y="237232"/>
                    <a:pt x="70580" y="234367"/>
                    <a:pt x="59622" y="229160"/>
                  </a:cubicBezTo>
                  <a:cubicBezTo>
                    <a:pt x="49883" y="224782"/>
                    <a:pt x="40444" y="219766"/>
                    <a:pt x="31368" y="214148"/>
                  </a:cubicBezTo>
                  <a:lnTo>
                    <a:pt x="0" y="268602"/>
                  </a:lnTo>
                  <a:cubicBezTo>
                    <a:pt x="21733" y="287980"/>
                    <a:pt x="57412" y="301080"/>
                    <a:pt x="88998" y="301080"/>
                  </a:cubicBezTo>
                  <a:cubicBezTo>
                    <a:pt x="105113" y="301047"/>
                    <a:pt x="121119" y="298453"/>
                    <a:pt x="136413" y="293393"/>
                  </a:cubicBezTo>
                  <a:cubicBezTo>
                    <a:pt x="149523" y="289052"/>
                    <a:pt x="161690" y="282282"/>
                    <a:pt x="172273" y="273438"/>
                  </a:cubicBezTo>
                  <a:cubicBezTo>
                    <a:pt x="181872" y="264737"/>
                    <a:pt x="189537" y="254128"/>
                    <a:pt x="194767" y="242295"/>
                  </a:cubicBezTo>
                  <a:close/>
                </a:path>
              </a:pathLst>
            </a:custGeom>
            <a:grpFill/>
            <a:ln w="3621"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2B284AF-6D36-CF4E-ADC5-7E51B4CC89BC}"/>
                </a:ext>
              </a:extLst>
            </p:cNvPr>
            <p:cNvSpPr/>
            <p:nvPr/>
          </p:nvSpPr>
          <p:spPr>
            <a:xfrm>
              <a:off x="9112690" y="1343200"/>
              <a:ext cx="69909" cy="69646"/>
            </a:xfrm>
            <a:custGeom>
              <a:avLst/>
              <a:gdLst>
                <a:gd name="connsiteX0" fmla="*/ 34955 w 69909"/>
                <a:gd name="connsiteY0" fmla="*/ 0 h 69646"/>
                <a:gd name="connsiteX1" fmla="*/ 0 w 69909"/>
                <a:gd name="connsiteY1" fmla="*/ 34823 h 69646"/>
                <a:gd name="connsiteX2" fmla="*/ 34955 w 69909"/>
                <a:gd name="connsiteY2" fmla="*/ 69647 h 69646"/>
                <a:gd name="connsiteX3" fmla="*/ 69909 w 69909"/>
                <a:gd name="connsiteY3" fmla="*/ 34823 h 69646"/>
                <a:gd name="connsiteX4" fmla="*/ 34955 w 69909"/>
                <a:gd name="connsiteY4" fmla="*/ 0 h 69646"/>
                <a:gd name="connsiteX5" fmla="*/ 34955 w 69909"/>
                <a:gd name="connsiteY5" fmla="*/ 62646 h 69646"/>
                <a:gd name="connsiteX6" fmla="*/ 7027 w 69909"/>
                <a:gd name="connsiteY6" fmla="*/ 34823 h 69646"/>
                <a:gd name="connsiteX7" fmla="*/ 34955 w 69909"/>
                <a:gd name="connsiteY7" fmla="*/ 7001 h 69646"/>
                <a:gd name="connsiteX8" fmla="*/ 62882 w 69909"/>
                <a:gd name="connsiteY8" fmla="*/ 34823 h 69646"/>
                <a:gd name="connsiteX9" fmla="*/ 34955 w 69909"/>
                <a:gd name="connsiteY9" fmla="*/ 62646 h 69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909" h="69646">
                  <a:moveTo>
                    <a:pt x="34955" y="0"/>
                  </a:moveTo>
                  <a:cubicBezTo>
                    <a:pt x="15648" y="0"/>
                    <a:pt x="0" y="15589"/>
                    <a:pt x="0" y="34823"/>
                  </a:cubicBezTo>
                  <a:cubicBezTo>
                    <a:pt x="0" y="54057"/>
                    <a:pt x="15648" y="69647"/>
                    <a:pt x="34955" y="69647"/>
                  </a:cubicBezTo>
                  <a:cubicBezTo>
                    <a:pt x="54261" y="69647"/>
                    <a:pt x="69909" y="54057"/>
                    <a:pt x="69909" y="34823"/>
                  </a:cubicBezTo>
                  <a:cubicBezTo>
                    <a:pt x="69891" y="15600"/>
                    <a:pt x="54250" y="22"/>
                    <a:pt x="34955" y="0"/>
                  </a:cubicBezTo>
                  <a:close/>
                  <a:moveTo>
                    <a:pt x="34955" y="62646"/>
                  </a:moveTo>
                  <a:cubicBezTo>
                    <a:pt x="19531" y="62646"/>
                    <a:pt x="7027" y="50189"/>
                    <a:pt x="7027" y="34823"/>
                  </a:cubicBezTo>
                  <a:cubicBezTo>
                    <a:pt x="7027" y="19458"/>
                    <a:pt x="19531" y="7001"/>
                    <a:pt x="34955" y="7001"/>
                  </a:cubicBezTo>
                  <a:cubicBezTo>
                    <a:pt x="50378" y="7001"/>
                    <a:pt x="62882" y="19458"/>
                    <a:pt x="62882" y="34823"/>
                  </a:cubicBezTo>
                  <a:cubicBezTo>
                    <a:pt x="62882" y="50189"/>
                    <a:pt x="50378" y="62646"/>
                    <a:pt x="34955" y="62646"/>
                  </a:cubicBezTo>
                  <a:close/>
                </a:path>
              </a:pathLst>
            </a:custGeom>
            <a:grpFill/>
            <a:ln w="3621"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070B44B-9518-0F43-8101-CD69871B6805}"/>
                </a:ext>
              </a:extLst>
            </p:cNvPr>
            <p:cNvSpPr/>
            <p:nvPr/>
          </p:nvSpPr>
          <p:spPr>
            <a:xfrm>
              <a:off x="9134931" y="1359006"/>
              <a:ext cx="27999" cy="38107"/>
            </a:xfrm>
            <a:custGeom>
              <a:avLst/>
              <a:gdLst>
                <a:gd name="connsiteX0" fmla="*/ 12497 w 27999"/>
                <a:gd name="connsiteY0" fmla="*/ 24827 h 38107"/>
                <a:gd name="connsiteX1" fmla="*/ 6882 w 27999"/>
                <a:gd name="connsiteY1" fmla="*/ 24827 h 38107"/>
                <a:gd name="connsiteX2" fmla="*/ 6882 w 27999"/>
                <a:gd name="connsiteY2" fmla="*/ 38035 h 38107"/>
                <a:gd name="connsiteX3" fmla="*/ 0 w 27999"/>
                <a:gd name="connsiteY3" fmla="*/ 38035 h 38107"/>
                <a:gd name="connsiteX4" fmla="*/ 0 w 27999"/>
                <a:gd name="connsiteY4" fmla="*/ 0 h 38107"/>
                <a:gd name="connsiteX5" fmla="*/ 14489 w 27999"/>
                <a:gd name="connsiteY5" fmla="*/ 0 h 38107"/>
                <a:gd name="connsiteX6" fmla="*/ 27203 w 27999"/>
                <a:gd name="connsiteY6" fmla="*/ 12594 h 38107"/>
                <a:gd name="connsiteX7" fmla="*/ 19959 w 27999"/>
                <a:gd name="connsiteY7" fmla="*/ 23673 h 38107"/>
                <a:gd name="connsiteX8" fmla="*/ 28000 w 27999"/>
                <a:gd name="connsiteY8" fmla="*/ 38107 h 38107"/>
                <a:gd name="connsiteX9" fmla="*/ 19959 w 27999"/>
                <a:gd name="connsiteY9" fmla="*/ 38107 h 38107"/>
                <a:gd name="connsiteX10" fmla="*/ 6882 w 27999"/>
                <a:gd name="connsiteY10" fmla="*/ 18440 h 38107"/>
                <a:gd name="connsiteX11" fmla="*/ 14924 w 27999"/>
                <a:gd name="connsiteY11" fmla="*/ 18440 h 38107"/>
                <a:gd name="connsiteX12" fmla="*/ 20103 w 27999"/>
                <a:gd name="connsiteY12" fmla="*/ 11981 h 38107"/>
                <a:gd name="connsiteX13" fmla="*/ 14924 w 27999"/>
                <a:gd name="connsiteY13" fmla="*/ 6820 h 38107"/>
                <a:gd name="connsiteX14" fmla="*/ 6882 w 27999"/>
                <a:gd name="connsiteY14" fmla="*/ 6820 h 3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999" h="38107">
                  <a:moveTo>
                    <a:pt x="12497" y="24827"/>
                  </a:moveTo>
                  <a:lnTo>
                    <a:pt x="6882" y="24827"/>
                  </a:lnTo>
                  <a:lnTo>
                    <a:pt x="6882" y="38035"/>
                  </a:lnTo>
                  <a:lnTo>
                    <a:pt x="0" y="38035"/>
                  </a:lnTo>
                  <a:lnTo>
                    <a:pt x="0" y="0"/>
                  </a:lnTo>
                  <a:lnTo>
                    <a:pt x="14489" y="0"/>
                  </a:lnTo>
                  <a:cubicBezTo>
                    <a:pt x="21491" y="-22"/>
                    <a:pt x="27181" y="5619"/>
                    <a:pt x="27203" y="12594"/>
                  </a:cubicBezTo>
                  <a:cubicBezTo>
                    <a:pt x="27145" y="17372"/>
                    <a:pt x="24323" y="21688"/>
                    <a:pt x="19959" y="23673"/>
                  </a:cubicBezTo>
                  <a:lnTo>
                    <a:pt x="28000" y="38107"/>
                  </a:lnTo>
                  <a:lnTo>
                    <a:pt x="19959" y="38107"/>
                  </a:lnTo>
                  <a:close/>
                  <a:moveTo>
                    <a:pt x="6882" y="18440"/>
                  </a:moveTo>
                  <a:lnTo>
                    <a:pt x="14924" y="18440"/>
                  </a:lnTo>
                  <a:cubicBezTo>
                    <a:pt x="18144" y="18083"/>
                    <a:pt x="20466" y="15189"/>
                    <a:pt x="20103" y="11981"/>
                  </a:cubicBezTo>
                  <a:cubicBezTo>
                    <a:pt x="19799" y="9267"/>
                    <a:pt x="17648" y="7124"/>
                    <a:pt x="14924" y="6820"/>
                  </a:cubicBezTo>
                  <a:lnTo>
                    <a:pt x="6882" y="6820"/>
                  </a:lnTo>
                  <a:close/>
                </a:path>
              </a:pathLst>
            </a:custGeom>
            <a:grpFill/>
            <a:ln w="3621"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9EC9A2E-261E-1046-ABA2-6A99FD742108}"/>
                </a:ext>
              </a:extLst>
            </p:cNvPr>
            <p:cNvSpPr/>
            <p:nvPr/>
          </p:nvSpPr>
          <p:spPr>
            <a:xfrm>
              <a:off x="7281148" y="1208598"/>
              <a:ext cx="186037" cy="209300"/>
            </a:xfrm>
            <a:custGeom>
              <a:avLst/>
              <a:gdLst>
                <a:gd name="connsiteX0" fmla="*/ 144418 w 186037"/>
                <a:gd name="connsiteY0" fmla="*/ 133484 h 209300"/>
                <a:gd name="connsiteX1" fmla="*/ 79294 w 186037"/>
                <a:gd name="connsiteY1" fmla="*/ 140625 h 209300"/>
                <a:gd name="connsiteX2" fmla="*/ 72126 w 186037"/>
                <a:gd name="connsiteY2" fmla="*/ 75745 h 209300"/>
                <a:gd name="connsiteX3" fmla="*/ 137250 w 186037"/>
                <a:gd name="connsiteY3" fmla="*/ 68603 h 209300"/>
                <a:gd name="connsiteX4" fmla="*/ 144418 w 186037"/>
                <a:gd name="connsiteY4" fmla="*/ 75745 h 209300"/>
                <a:gd name="connsiteX5" fmla="*/ 186038 w 186037"/>
                <a:gd name="connsiteY5" fmla="*/ 34282 h 209300"/>
                <a:gd name="connsiteX6" fmla="*/ 108377 w 186037"/>
                <a:gd name="connsiteY6" fmla="*/ 0 h 209300"/>
                <a:gd name="connsiteX7" fmla="*/ 0 w 186037"/>
                <a:gd name="connsiteY7" fmla="*/ 104650 h 209300"/>
                <a:gd name="connsiteX8" fmla="*/ 108377 w 186037"/>
                <a:gd name="connsiteY8" fmla="*/ 209301 h 209300"/>
                <a:gd name="connsiteX9" fmla="*/ 186038 w 186037"/>
                <a:gd name="connsiteY9" fmla="*/ 175055 h 20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037" h="209300">
                  <a:moveTo>
                    <a:pt x="144418" y="133484"/>
                  </a:moveTo>
                  <a:cubicBezTo>
                    <a:pt x="128415" y="153371"/>
                    <a:pt x="99256" y="156568"/>
                    <a:pt x="79294" y="140625"/>
                  </a:cubicBezTo>
                  <a:cubicBezTo>
                    <a:pt x="59328" y="124682"/>
                    <a:pt x="56119" y="95633"/>
                    <a:pt x="72126" y="75745"/>
                  </a:cubicBezTo>
                  <a:cubicBezTo>
                    <a:pt x="88129" y="55857"/>
                    <a:pt x="117284" y="52659"/>
                    <a:pt x="137250" y="68603"/>
                  </a:cubicBezTo>
                  <a:cubicBezTo>
                    <a:pt x="139894" y="70715"/>
                    <a:pt x="142299" y="73111"/>
                    <a:pt x="144418" y="75745"/>
                  </a:cubicBezTo>
                  <a:lnTo>
                    <a:pt x="186038" y="34282"/>
                  </a:lnTo>
                  <a:cubicBezTo>
                    <a:pt x="166173" y="12439"/>
                    <a:pt x="137963" y="-15"/>
                    <a:pt x="108377" y="0"/>
                  </a:cubicBezTo>
                  <a:cubicBezTo>
                    <a:pt x="50421" y="0"/>
                    <a:pt x="0" y="41066"/>
                    <a:pt x="0" y="104650"/>
                  </a:cubicBezTo>
                  <a:cubicBezTo>
                    <a:pt x="0" y="168235"/>
                    <a:pt x="50458" y="209301"/>
                    <a:pt x="108377" y="209301"/>
                  </a:cubicBezTo>
                  <a:cubicBezTo>
                    <a:pt x="137953" y="209312"/>
                    <a:pt x="166159" y="196873"/>
                    <a:pt x="186038" y="175055"/>
                  </a:cubicBezTo>
                  <a:close/>
                </a:path>
              </a:pathLst>
            </a:custGeom>
            <a:grpFill/>
            <a:ln w="3621"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9F0ADE3-B8C7-994E-8CA9-5585F8608D52}"/>
                </a:ext>
              </a:extLst>
            </p:cNvPr>
            <p:cNvSpPr/>
            <p:nvPr/>
          </p:nvSpPr>
          <p:spPr>
            <a:xfrm>
              <a:off x="7931591" y="1208526"/>
              <a:ext cx="219253" cy="209301"/>
            </a:xfrm>
            <a:custGeom>
              <a:avLst/>
              <a:gdLst>
                <a:gd name="connsiteX0" fmla="*/ 219253 w 219253"/>
                <a:gd name="connsiteY0" fmla="*/ 204321 h 209301"/>
                <a:gd name="connsiteX1" fmla="*/ 219253 w 219253"/>
                <a:gd name="connsiteY1" fmla="*/ 4980 h 209301"/>
                <a:gd name="connsiteX2" fmla="*/ 158038 w 219253"/>
                <a:gd name="connsiteY2" fmla="*/ 4980 h 209301"/>
                <a:gd name="connsiteX3" fmla="*/ 158038 w 219253"/>
                <a:gd name="connsiteY3" fmla="*/ 25910 h 209301"/>
                <a:gd name="connsiteX4" fmla="*/ 152387 w 219253"/>
                <a:gd name="connsiteY4" fmla="*/ 20858 h 209301"/>
                <a:gd name="connsiteX5" fmla="*/ 99647 w 219253"/>
                <a:gd name="connsiteY5" fmla="*/ 0 h 209301"/>
                <a:gd name="connsiteX6" fmla="*/ 0 w 219253"/>
                <a:gd name="connsiteY6" fmla="*/ 104651 h 209301"/>
                <a:gd name="connsiteX7" fmla="*/ 99647 w 219253"/>
                <a:gd name="connsiteY7" fmla="*/ 209301 h 209301"/>
                <a:gd name="connsiteX8" fmla="*/ 152387 w 219253"/>
                <a:gd name="connsiteY8" fmla="*/ 188443 h 209301"/>
                <a:gd name="connsiteX9" fmla="*/ 158038 w 219253"/>
                <a:gd name="connsiteY9" fmla="*/ 183391 h 209301"/>
                <a:gd name="connsiteX10" fmla="*/ 158038 w 219253"/>
                <a:gd name="connsiteY10" fmla="*/ 204321 h 209301"/>
                <a:gd name="connsiteX11" fmla="*/ 109427 w 219253"/>
                <a:gd name="connsiteY11" fmla="*/ 151743 h 209301"/>
                <a:gd name="connsiteX12" fmla="*/ 62338 w 219253"/>
                <a:gd name="connsiteY12" fmla="*/ 104831 h 209301"/>
                <a:gd name="connsiteX13" fmla="*/ 109427 w 219253"/>
                <a:gd name="connsiteY13" fmla="*/ 57919 h 209301"/>
                <a:gd name="connsiteX14" fmla="*/ 156516 w 219253"/>
                <a:gd name="connsiteY14" fmla="*/ 104831 h 209301"/>
                <a:gd name="connsiteX15" fmla="*/ 109427 w 219253"/>
                <a:gd name="connsiteY15" fmla="*/ 151743 h 20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253" h="209301">
                  <a:moveTo>
                    <a:pt x="219253" y="204321"/>
                  </a:moveTo>
                  <a:lnTo>
                    <a:pt x="219253" y="4980"/>
                  </a:lnTo>
                  <a:lnTo>
                    <a:pt x="158038" y="4980"/>
                  </a:lnTo>
                  <a:lnTo>
                    <a:pt x="158038" y="25910"/>
                  </a:lnTo>
                  <a:lnTo>
                    <a:pt x="152387" y="20858"/>
                  </a:lnTo>
                  <a:cubicBezTo>
                    <a:pt x="138134" y="7440"/>
                    <a:pt x="119258" y="-25"/>
                    <a:pt x="99647" y="0"/>
                  </a:cubicBezTo>
                  <a:cubicBezTo>
                    <a:pt x="45640" y="0"/>
                    <a:pt x="0" y="47923"/>
                    <a:pt x="0" y="104651"/>
                  </a:cubicBezTo>
                  <a:cubicBezTo>
                    <a:pt x="0" y="161378"/>
                    <a:pt x="45640" y="209301"/>
                    <a:pt x="99647" y="209301"/>
                  </a:cubicBezTo>
                  <a:cubicBezTo>
                    <a:pt x="119258" y="209326"/>
                    <a:pt x="138134" y="201860"/>
                    <a:pt x="152387" y="188443"/>
                  </a:cubicBezTo>
                  <a:lnTo>
                    <a:pt x="158038" y="183391"/>
                  </a:lnTo>
                  <a:lnTo>
                    <a:pt x="158038" y="204321"/>
                  </a:lnTo>
                  <a:close/>
                  <a:moveTo>
                    <a:pt x="109427" y="151743"/>
                  </a:moveTo>
                  <a:cubicBezTo>
                    <a:pt x="83420" y="151743"/>
                    <a:pt x="62338" y="130741"/>
                    <a:pt x="62338" y="104831"/>
                  </a:cubicBezTo>
                  <a:cubicBezTo>
                    <a:pt x="62338" y="78921"/>
                    <a:pt x="83420" y="57919"/>
                    <a:pt x="109427" y="57919"/>
                  </a:cubicBezTo>
                  <a:cubicBezTo>
                    <a:pt x="135435" y="57919"/>
                    <a:pt x="156516" y="78921"/>
                    <a:pt x="156516" y="104831"/>
                  </a:cubicBezTo>
                  <a:cubicBezTo>
                    <a:pt x="156397" y="130690"/>
                    <a:pt x="135384" y="151624"/>
                    <a:pt x="109427" y="151743"/>
                  </a:cubicBezTo>
                  <a:close/>
                </a:path>
              </a:pathLst>
            </a:custGeom>
            <a:grpFill/>
            <a:ln w="3621"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BF47D28D-3436-BB47-89E1-976DBD7C0779}"/>
                </a:ext>
              </a:extLst>
            </p:cNvPr>
            <p:cNvSpPr/>
            <p:nvPr/>
          </p:nvSpPr>
          <p:spPr>
            <a:xfrm>
              <a:off x="8424938" y="1208526"/>
              <a:ext cx="219217" cy="209301"/>
            </a:xfrm>
            <a:custGeom>
              <a:avLst/>
              <a:gdLst>
                <a:gd name="connsiteX0" fmla="*/ 219217 w 219217"/>
                <a:gd name="connsiteY0" fmla="*/ 204321 h 209301"/>
                <a:gd name="connsiteX1" fmla="*/ 219217 w 219217"/>
                <a:gd name="connsiteY1" fmla="*/ 4980 h 209301"/>
                <a:gd name="connsiteX2" fmla="*/ 158002 w 219217"/>
                <a:gd name="connsiteY2" fmla="*/ 4980 h 209301"/>
                <a:gd name="connsiteX3" fmla="*/ 158002 w 219217"/>
                <a:gd name="connsiteY3" fmla="*/ 25910 h 209301"/>
                <a:gd name="connsiteX4" fmla="*/ 152351 w 219217"/>
                <a:gd name="connsiteY4" fmla="*/ 20858 h 209301"/>
                <a:gd name="connsiteX5" fmla="*/ 99611 w 219217"/>
                <a:gd name="connsiteY5" fmla="*/ 0 h 209301"/>
                <a:gd name="connsiteX6" fmla="*/ 0 w 219217"/>
                <a:gd name="connsiteY6" fmla="*/ 104651 h 209301"/>
                <a:gd name="connsiteX7" fmla="*/ 99611 w 219217"/>
                <a:gd name="connsiteY7" fmla="*/ 209301 h 209301"/>
                <a:gd name="connsiteX8" fmla="*/ 152351 w 219217"/>
                <a:gd name="connsiteY8" fmla="*/ 188443 h 209301"/>
                <a:gd name="connsiteX9" fmla="*/ 158002 w 219217"/>
                <a:gd name="connsiteY9" fmla="*/ 183391 h 209301"/>
                <a:gd name="connsiteX10" fmla="*/ 158002 w 219217"/>
                <a:gd name="connsiteY10" fmla="*/ 204321 h 209301"/>
                <a:gd name="connsiteX11" fmla="*/ 109391 w 219217"/>
                <a:gd name="connsiteY11" fmla="*/ 151743 h 209301"/>
                <a:gd name="connsiteX12" fmla="*/ 62483 w 219217"/>
                <a:gd name="connsiteY12" fmla="*/ 104651 h 209301"/>
                <a:gd name="connsiteX13" fmla="*/ 109753 w 219217"/>
                <a:gd name="connsiteY13" fmla="*/ 57919 h 209301"/>
                <a:gd name="connsiteX14" fmla="*/ 156661 w 219217"/>
                <a:gd name="connsiteY14" fmla="*/ 104831 h 209301"/>
                <a:gd name="connsiteX15" fmla="*/ 109246 w 219217"/>
                <a:gd name="connsiteY15" fmla="*/ 151743 h 20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217" h="209301">
                  <a:moveTo>
                    <a:pt x="219217" y="204321"/>
                  </a:moveTo>
                  <a:lnTo>
                    <a:pt x="219217" y="4980"/>
                  </a:lnTo>
                  <a:lnTo>
                    <a:pt x="158002" y="4980"/>
                  </a:lnTo>
                  <a:lnTo>
                    <a:pt x="158002" y="25910"/>
                  </a:lnTo>
                  <a:lnTo>
                    <a:pt x="152351" y="20858"/>
                  </a:lnTo>
                  <a:cubicBezTo>
                    <a:pt x="138097" y="7440"/>
                    <a:pt x="119222" y="-25"/>
                    <a:pt x="99611" y="0"/>
                  </a:cubicBezTo>
                  <a:cubicBezTo>
                    <a:pt x="45604" y="0"/>
                    <a:pt x="0" y="47923"/>
                    <a:pt x="0" y="104651"/>
                  </a:cubicBezTo>
                  <a:cubicBezTo>
                    <a:pt x="0" y="161378"/>
                    <a:pt x="45604" y="209301"/>
                    <a:pt x="99611" y="209301"/>
                  </a:cubicBezTo>
                  <a:cubicBezTo>
                    <a:pt x="119222" y="209326"/>
                    <a:pt x="138097" y="201860"/>
                    <a:pt x="152351" y="188443"/>
                  </a:cubicBezTo>
                  <a:lnTo>
                    <a:pt x="158002" y="183391"/>
                  </a:lnTo>
                  <a:lnTo>
                    <a:pt x="158002" y="204321"/>
                  </a:lnTo>
                  <a:close/>
                  <a:moveTo>
                    <a:pt x="109391" y="151743"/>
                  </a:moveTo>
                  <a:cubicBezTo>
                    <a:pt x="83384" y="151642"/>
                    <a:pt x="62382" y="130561"/>
                    <a:pt x="62483" y="104651"/>
                  </a:cubicBezTo>
                  <a:cubicBezTo>
                    <a:pt x="62585" y="78741"/>
                    <a:pt x="83746" y="57820"/>
                    <a:pt x="109753" y="57919"/>
                  </a:cubicBezTo>
                  <a:cubicBezTo>
                    <a:pt x="135689" y="58019"/>
                    <a:pt x="156661" y="78993"/>
                    <a:pt x="156661" y="104831"/>
                  </a:cubicBezTo>
                  <a:cubicBezTo>
                    <a:pt x="156542" y="130817"/>
                    <a:pt x="135330" y="151805"/>
                    <a:pt x="109246" y="151743"/>
                  </a:cubicBezTo>
                  <a:close/>
                </a:path>
              </a:pathLst>
            </a:custGeom>
            <a:grpFill/>
            <a:ln w="3621"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69809BD-E855-6448-AEFD-EB1ACBDDB957}"/>
                </a:ext>
              </a:extLst>
            </p:cNvPr>
            <p:cNvSpPr/>
            <p:nvPr/>
          </p:nvSpPr>
          <p:spPr>
            <a:xfrm>
              <a:off x="8183299" y="1121919"/>
              <a:ext cx="219253" cy="295908"/>
            </a:xfrm>
            <a:custGeom>
              <a:avLst/>
              <a:gdLst>
                <a:gd name="connsiteX0" fmla="*/ 61216 w 219253"/>
                <a:gd name="connsiteY0" fmla="*/ 290928 h 295908"/>
                <a:gd name="connsiteX1" fmla="*/ 61216 w 219253"/>
                <a:gd name="connsiteY1" fmla="*/ 269998 h 295908"/>
                <a:gd name="connsiteX2" fmla="*/ 66903 w 219253"/>
                <a:gd name="connsiteY2" fmla="*/ 275050 h 295908"/>
                <a:gd name="connsiteX3" fmla="*/ 119606 w 219253"/>
                <a:gd name="connsiteY3" fmla="*/ 295908 h 295908"/>
                <a:gd name="connsiteX4" fmla="*/ 219253 w 219253"/>
                <a:gd name="connsiteY4" fmla="*/ 191258 h 295908"/>
                <a:gd name="connsiteX5" fmla="*/ 119606 w 219253"/>
                <a:gd name="connsiteY5" fmla="*/ 86607 h 295908"/>
                <a:gd name="connsiteX6" fmla="*/ 66903 w 219253"/>
                <a:gd name="connsiteY6" fmla="*/ 107465 h 295908"/>
                <a:gd name="connsiteX7" fmla="*/ 61216 w 219253"/>
                <a:gd name="connsiteY7" fmla="*/ 112517 h 295908"/>
                <a:gd name="connsiteX8" fmla="*/ 61216 w 219253"/>
                <a:gd name="connsiteY8" fmla="*/ 0 h 295908"/>
                <a:gd name="connsiteX9" fmla="*/ 0 w 219253"/>
                <a:gd name="connsiteY9" fmla="*/ 0 h 295908"/>
                <a:gd name="connsiteX10" fmla="*/ 0 w 219253"/>
                <a:gd name="connsiteY10" fmla="*/ 290928 h 295908"/>
                <a:gd name="connsiteX11" fmla="*/ 62592 w 219253"/>
                <a:gd name="connsiteY11" fmla="*/ 191294 h 295908"/>
                <a:gd name="connsiteX12" fmla="*/ 109681 w 219253"/>
                <a:gd name="connsiteY12" fmla="*/ 144382 h 295908"/>
                <a:gd name="connsiteX13" fmla="*/ 156770 w 219253"/>
                <a:gd name="connsiteY13" fmla="*/ 191294 h 295908"/>
                <a:gd name="connsiteX14" fmla="*/ 109862 w 219253"/>
                <a:gd name="connsiteY14" fmla="*/ 238206 h 295908"/>
                <a:gd name="connsiteX15" fmla="*/ 62592 w 219253"/>
                <a:gd name="connsiteY15" fmla="*/ 191294 h 295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253" h="295908">
                  <a:moveTo>
                    <a:pt x="61216" y="290928"/>
                  </a:moveTo>
                  <a:lnTo>
                    <a:pt x="61216" y="269998"/>
                  </a:lnTo>
                  <a:lnTo>
                    <a:pt x="66903" y="275050"/>
                  </a:lnTo>
                  <a:cubicBezTo>
                    <a:pt x="81138" y="288474"/>
                    <a:pt x="100006" y="295937"/>
                    <a:pt x="119606" y="295908"/>
                  </a:cubicBezTo>
                  <a:cubicBezTo>
                    <a:pt x="173613" y="295908"/>
                    <a:pt x="219253" y="247986"/>
                    <a:pt x="219253" y="191258"/>
                  </a:cubicBezTo>
                  <a:cubicBezTo>
                    <a:pt x="219253" y="134530"/>
                    <a:pt x="173613" y="86607"/>
                    <a:pt x="119606" y="86607"/>
                  </a:cubicBezTo>
                  <a:cubicBezTo>
                    <a:pt x="100006" y="86577"/>
                    <a:pt x="81138" y="94043"/>
                    <a:pt x="66903" y="107465"/>
                  </a:cubicBezTo>
                  <a:lnTo>
                    <a:pt x="61216" y="112517"/>
                  </a:lnTo>
                  <a:lnTo>
                    <a:pt x="61216" y="0"/>
                  </a:lnTo>
                  <a:lnTo>
                    <a:pt x="0" y="0"/>
                  </a:lnTo>
                  <a:lnTo>
                    <a:pt x="0" y="290928"/>
                  </a:lnTo>
                  <a:close/>
                  <a:moveTo>
                    <a:pt x="62592" y="191294"/>
                  </a:moveTo>
                  <a:cubicBezTo>
                    <a:pt x="62592" y="165384"/>
                    <a:pt x="83673" y="144382"/>
                    <a:pt x="109681" y="144382"/>
                  </a:cubicBezTo>
                  <a:cubicBezTo>
                    <a:pt x="135689" y="144382"/>
                    <a:pt x="156770" y="165384"/>
                    <a:pt x="156770" y="191294"/>
                  </a:cubicBezTo>
                  <a:cubicBezTo>
                    <a:pt x="156770" y="217132"/>
                    <a:pt x="135797" y="238105"/>
                    <a:pt x="109862" y="238206"/>
                  </a:cubicBezTo>
                  <a:cubicBezTo>
                    <a:pt x="83833" y="238188"/>
                    <a:pt x="62712" y="217222"/>
                    <a:pt x="62592" y="191294"/>
                  </a:cubicBezTo>
                  <a:close/>
                </a:path>
              </a:pathLst>
            </a:custGeom>
            <a:grpFill/>
            <a:ln w="3621" cap="flat">
              <a:noFill/>
              <a:prstDash val="solid"/>
              <a:miter/>
            </a:ln>
          </p:spPr>
          <p:txBody>
            <a:bodyPr rtlCol="0" anchor="ctr"/>
            <a:lstStyle/>
            <a:p>
              <a:endParaRPr lang="en-US"/>
            </a:p>
          </p:txBody>
        </p:sp>
      </p:grpSp>
    </p:spTree>
    <p:extLst>
      <p:ext uri="{BB962C8B-B14F-4D97-AF65-F5344CB8AC3E}">
        <p14:creationId xmlns:p14="http://schemas.microsoft.com/office/powerpoint/2010/main" val="38006978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 Scotia (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grpSp>
        <p:nvGrpSpPr>
          <p:cNvPr id="23" name="Group 22">
            <a:extLst>
              <a:ext uri="{FF2B5EF4-FFF2-40B4-BE49-F238E27FC236}">
                <a16:creationId xmlns:a16="http://schemas.microsoft.com/office/drawing/2014/main" id="{DEDA2E92-32BE-404B-AA8F-53E457E6F54A}"/>
              </a:ext>
            </a:extLst>
          </p:cNvPr>
          <p:cNvGrpSpPr/>
          <p:nvPr userDrawn="1"/>
        </p:nvGrpSpPr>
        <p:grpSpPr>
          <a:xfrm>
            <a:off x="10645622" y="6209271"/>
            <a:ext cx="1170321" cy="297642"/>
            <a:chOff x="21712437" y="12718037"/>
            <a:chExt cx="2340642" cy="595283"/>
          </a:xfrm>
          <a:solidFill>
            <a:srgbClr val="EC111A"/>
          </a:solidFill>
        </p:grpSpPr>
        <p:sp>
          <p:nvSpPr>
            <p:cNvPr id="24" name="Freeform 23">
              <a:extLst>
                <a:ext uri="{FF2B5EF4-FFF2-40B4-BE49-F238E27FC236}">
                  <a16:creationId xmlns:a16="http://schemas.microsoft.com/office/drawing/2014/main" id="{1A2E4769-65AB-D042-A2E6-9692535FAA80}"/>
                </a:ext>
              </a:extLst>
            </p:cNvPr>
            <p:cNvSpPr/>
            <p:nvPr/>
          </p:nvSpPr>
          <p:spPr>
            <a:xfrm>
              <a:off x="22523795" y="12899198"/>
              <a:ext cx="414614" cy="413837"/>
            </a:xfrm>
            <a:custGeom>
              <a:avLst/>
              <a:gdLst>
                <a:gd name="connsiteX0" fmla="*/ 207307 w 414614"/>
                <a:gd name="connsiteY0" fmla="*/ 0 h 413837"/>
                <a:gd name="connsiteX1" fmla="*/ 0 w 414614"/>
                <a:gd name="connsiteY1" fmla="*/ 206919 h 413837"/>
                <a:gd name="connsiteX2" fmla="*/ 207307 w 414614"/>
                <a:gd name="connsiteY2" fmla="*/ 413838 h 413837"/>
                <a:gd name="connsiteX3" fmla="*/ 414615 w 414614"/>
                <a:gd name="connsiteY3" fmla="*/ 206919 h 413837"/>
                <a:gd name="connsiteX4" fmla="*/ 207307 w 414614"/>
                <a:gd name="connsiteY4" fmla="*/ 0 h 413837"/>
                <a:gd name="connsiteX5" fmla="*/ 207307 w 414614"/>
                <a:gd name="connsiteY5" fmla="*/ 298106 h 413837"/>
                <a:gd name="connsiteX6" fmla="*/ 115806 w 414614"/>
                <a:gd name="connsiteY6" fmla="*/ 206919 h 413837"/>
                <a:gd name="connsiteX7" fmla="*/ 207164 w 414614"/>
                <a:gd name="connsiteY7" fmla="*/ 115589 h 413837"/>
                <a:gd name="connsiteX8" fmla="*/ 298666 w 414614"/>
                <a:gd name="connsiteY8" fmla="*/ 206776 h 413837"/>
                <a:gd name="connsiteX9" fmla="*/ 298666 w 414614"/>
                <a:gd name="connsiteY9" fmla="*/ 206847 h 413837"/>
                <a:gd name="connsiteX10" fmla="*/ 207307 w 414614"/>
                <a:gd name="connsiteY10" fmla="*/ 298106 h 41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4614" h="413837">
                  <a:moveTo>
                    <a:pt x="207307" y="0"/>
                  </a:moveTo>
                  <a:cubicBezTo>
                    <a:pt x="92815" y="0"/>
                    <a:pt x="0" y="92641"/>
                    <a:pt x="0" y="206919"/>
                  </a:cubicBezTo>
                  <a:cubicBezTo>
                    <a:pt x="0" y="321197"/>
                    <a:pt x="92815" y="413838"/>
                    <a:pt x="207307" y="413838"/>
                  </a:cubicBezTo>
                  <a:cubicBezTo>
                    <a:pt x="321800" y="413838"/>
                    <a:pt x="414615" y="321197"/>
                    <a:pt x="414615" y="206919"/>
                  </a:cubicBezTo>
                  <a:cubicBezTo>
                    <a:pt x="414615" y="92641"/>
                    <a:pt x="321800" y="0"/>
                    <a:pt x="207307" y="0"/>
                  </a:cubicBezTo>
                  <a:close/>
                  <a:moveTo>
                    <a:pt x="207307" y="298106"/>
                  </a:moveTo>
                  <a:cubicBezTo>
                    <a:pt x="156812" y="298145"/>
                    <a:pt x="115846" y="257319"/>
                    <a:pt x="115806" y="206919"/>
                  </a:cubicBezTo>
                  <a:cubicBezTo>
                    <a:pt x="115767" y="156518"/>
                    <a:pt x="156669" y="115629"/>
                    <a:pt x="207164" y="115589"/>
                  </a:cubicBezTo>
                  <a:cubicBezTo>
                    <a:pt x="257660" y="115550"/>
                    <a:pt x="298626" y="156376"/>
                    <a:pt x="298666" y="206776"/>
                  </a:cubicBezTo>
                  <a:cubicBezTo>
                    <a:pt x="298666" y="206800"/>
                    <a:pt x="298666" y="206824"/>
                    <a:pt x="298666" y="206847"/>
                  </a:cubicBezTo>
                  <a:cubicBezTo>
                    <a:pt x="298587" y="257188"/>
                    <a:pt x="257742" y="297988"/>
                    <a:pt x="207307" y="298106"/>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5" name="Freeform 24">
              <a:extLst>
                <a:ext uri="{FF2B5EF4-FFF2-40B4-BE49-F238E27FC236}">
                  <a16:creationId xmlns:a16="http://schemas.microsoft.com/office/drawing/2014/main" id="{C9E3B255-DBAA-1A4F-ABB1-1F786A67557B}"/>
                </a:ext>
              </a:extLst>
            </p:cNvPr>
            <p:cNvSpPr/>
            <p:nvPr/>
          </p:nvSpPr>
          <p:spPr>
            <a:xfrm>
              <a:off x="22965145" y="12786891"/>
              <a:ext cx="237045" cy="516226"/>
            </a:xfrm>
            <a:custGeom>
              <a:avLst/>
              <a:gdLst>
                <a:gd name="connsiteX0" fmla="*/ 237045 w 237045"/>
                <a:gd name="connsiteY0" fmla="*/ 122153 h 516226"/>
                <a:gd name="connsiteX1" fmla="*/ 180500 w 237045"/>
                <a:gd name="connsiteY1" fmla="*/ 122153 h 516226"/>
                <a:gd name="connsiteX2" fmla="*/ 180500 w 237045"/>
                <a:gd name="connsiteY2" fmla="*/ 0 h 516226"/>
                <a:gd name="connsiteX3" fmla="*/ 56616 w 237045"/>
                <a:gd name="connsiteY3" fmla="*/ 0 h 516226"/>
                <a:gd name="connsiteX4" fmla="*/ 56616 w 237045"/>
                <a:gd name="connsiteY4" fmla="*/ 122153 h 516226"/>
                <a:gd name="connsiteX5" fmla="*/ 0 w 237045"/>
                <a:gd name="connsiteY5" fmla="*/ 122153 h 516226"/>
                <a:gd name="connsiteX6" fmla="*/ 0 w 237045"/>
                <a:gd name="connsiteY6" fmla="*/ 234104 h 516226"/>
                <a:gd name="connsiteX7" fmla="*/ 56616 w 237045"/>
                <a:gd name="connsiteY7" fmla="*/ 234104 h 516226"/>
                <a:gd name="connsiteX8" fmla="*/ 56616 w 237045"/>
                <a:gd name="connsiteY8" fmla="*/ 516227 h 516226"/>
                <a:gd name="connsiteX9" fmla="*/ 180500 w 237045"/>
                <a:gd name="connsiteY9" fmla="*/ 516227 h 516226"/>
                <a:gd name="connsiteX10" fmla="*/ 180500 w 237045"/>
                <a:gd name="connsiteY10" fmla="*/ 234104 h 516226"/>
                <a:gd name="connsiteX11" fmla="*/ 237045 w 237045"/>
                <a:gd name="connsiteY11" fmla="*/ 234104 h 516226"/>
                <a:gd name="connsiteX12" fmla="*/ 237045 w 237045"/>
                <a:gd name="connsiteY12" fmla="*/ 122153 h 51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7045" h="516226">
                  <a:moveTo>
                    <a:pt x="237045" y="122153"/>
                  </a:moveTo>
                  <a:lnTo>
                    <a:pt x="180500" y="122153"/>
                  </a:lnTo>
                  <a:lnTo>
                    <a:pt x="180500" y="0"/>
                  </a:lnTo>
                  <a:lnTo>
                    <a:pt x="56616" y="0"/>
                  </a:lnTo>
                  <a:lnTo>
                    <a:pt x="56616" y="122153"/>
                  </a:lnTo>
                  <a:lnTo>
                    <a:pt x="0" y="122153"/>
                  </a:lnTo>
                  <a:lnTo>
                    <a:pt x="0" y="234104"/>
                  </a:lnTo>
                  <a:lnTo>
                    <a:pt x="56616" y="234104"/>
                  </a:lnTo>
                  <a:lnTo>
                    <a:pt x="56616" y="516227"/>
                  </a:lnTo>
                  <a:lnTo>
                    <a:pt x="180500" y="516227"/>
                  </a:lnTo>
                  <a:lnTo>
                    <a:pt x="180500" y="234104"/>
                  </a:lnTo>
                  <a:lnTo>
                    <a:pt x="237045" y="234104"/>
                  </a:lnTo>
                  <a:lnTo>
                    <a:pt x="237045" y="122153"/>
                  </a:ln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6" name="Freeform 25">
              <a:extLst>
                <a:ext uri="{FF2B5EF4-FFF2-40B4-BE49-F238E27FC236}">
                  <a16:creationId xmlns:a16="http://schemas.microsoft.com/office/drawing/2014/main" id="{84104674-962B-8F41-8EF1-6FF833C5E51F}"/>
                </a:ext>
              </a:extLst>
            </p:cNvPr>
            <p:cNvSpPr/>
            <p:nvPr/>
          </p:nvSpPr>
          <p:spPr>
            <a:xfrm>
              <a:off x="23259093" y="12909044"/>
              <a:ext cx="123883" cy="394144"/>
            </a:xfrm>
            <a:custGeom>
              <a:avLst/>
              <a:gdLst>
                <a:gd name="connsiteX0" fmla="*/ 0 w 123883"/>
                <a:gd name="connsiteY0" fmla="*/ 0 h 394144"/>
                <a:gd name="connsiteX1" fmla="*/ 123884 w 123883"/>
                <a:gd name="connsiteY1" fmla="*/ 0 h 394144"/>
                <a:gd name="connsiteX2" fmla="*/ 123884 w 123883"/>
                <a:gd name="connsiteY2" fmla="*/ 394145 h 394144"/>
                <a:gd name="connsiteX3" fmla="*/ 0 w 123883"/>
                <a:gd name="connsiteY3" fmla="*/ 394145 h 394144"/>
              </a:gdLst>
              <a:ahLst/>
              <a:cxnLst>
                <a:cxn ang="0">
                  <a:pos x="connsiteX0" y="connsiteY0"/>
                </a:cxn>
                <a:cxn ang="0">
                  <a:pos x="connsiteX1" y="connsiteY1"/>
                </a:cxn>
                <a:cxn ang="0">
                  <a:pos x="connsiteX2" y="connsiteY2"/>
                </a:cxn>
                <a:cxn ang="0">
                  <a:pos x="connsiteX3" y="connsiteY3"/>
                </a:cxn>
              </a:cxnLst>
              <a:rect l="l" t="t" r="r" b="b"/>
              <a:pathLst>
                <a:path w="123883" h="394144">
                  <a:moveTo>
                    <a:pt x="0" y="0"/>
                  </a:moveTo>
                  <a:lnTo>
                    <a:pt x="123884" y="0"/>
                  </a:lnTo>
                  <a:lnTo>
                    <a:pt x="123884" y="394145"/>
                  </a:lnTo>
                  <a:lnTo>
                    <a:pt x="0" y="394145"/>
                  </a:ln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7" name="Freeform 26">
              <a:extLst>
                <a:ext uri="{FF2B5EF4-FFF2-40B4-BE49-F238E27FC236}">
                  <a16:creationId xmlns:a16="http://schemas.microsoft.com/office/drawing/2014/main" id="{4D6DC987-ED01-F344-953B-0FC4E0010A26}"/>
                </a:ext>
              </a:extLst>
            </p:cNvPr>
            <p:cNvSpPr/>
            <p:nvPr/>
          </p:nvSpPr>
          <p:spPr>
            <a:xfrm>
              <a:off x="23251944" y="12718037"/>
              <a:ext cx="138109" cy="137850"/>
            </a:xfrm>
            <a:custGeom>
              <a:avLst/>
              <a:gdLst>
                <a:gd name="connsiteX0" fmla="*/ 69055 w 138109"/>
                <a:gd name="connsiteY0" fmla="*/ 0 h 137850"/>
                <a:gd name="connsiteX1" fmla="*/ 0 w 138109"/>
                <a:gd name="connsiteY1" fmla="*/ 68925 h 137850"/>
                <a:gd name="connsiteX2" fmla="*/ 69055 w 138109"/>
                <a:gd name="connsiteY2" fmla="*/ 137851 h 137850"/>
                <a:gd name="connsiteX3" fmla="*/ 138110 w 138109"/>
                <a:gd name="connsiteY3" fmla="*/ 68925 h 137850"/>
                <a:gd name="connsiteX4" fmla="*/ 138110 w 138109"/>
                <a:gd name="connsiteY4" fmla="*/ 68854 h 137850"/>
                <a:gd name="connsiteX5" fmla="*/ 69055 w 138109"/>
                <a:gd name="connsiteY5" fmla="*/ 0 h 13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09" h="137850">
                  <a:moveTo>
                    <a:pt x="69055" y="0"/>
                  </a:moveTo>
                  <a:cubicBezTo>
                    <a:pt x="30917" y="0"/>
                    <a:pt x="0" y="30859"/>
                    <a:pt x="0" y="68925"/>
                  </a:cubicBezTo>
                  <a:cubicBezTo>
                    <a:pt x="0" y="106992"/>
                    <a:pt x="30917" y="137851"/>
                    <a:pt x="69055" y="137851"/>
                  </a:cubicBezTo>
                  <a:cubicBezTo>
                    <a:pt x="107193" y="137851"/>
                    <a:pt x="138110" y="106992"/>
                    <a:pt x="138110" y="68925"/>
                  </a:cubicBezTo>
                  <a:cubicBezTo>
                    <a:pt x="138110" y="68902"/>
                    <a:pt x="138110" y="68878"/>
                    <a:pt x="138110" y="68854"/>
                  </a:cubicBezTo>
                  <a:cubicBezTo>
                    <a:pt x="138070" y="30815"/>
                    <a:pt x="107165" y="0"/>
                    <a:pt x="69055" y="0"/>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8" name="Freeform 27">
              <a:extLst>
                <a:ext uri="{FF2B5EF4-FFF2-40B4-BE49-F238E27FC236}">
                  <a16:creationId xmlns:a16="http://schemas.microsoft.com/office/drawing/2014/main" id="{88DAF9D5-A242-604E-A7EA-1729DE19C42B}"/>
                </a:ext>
              </a:extLst>
            </p:cNvPr>
            <p:cNvSpPr/>
            <p:nvPr/>
          </p:nvSpPr>
          <p:spPr>
            <a:xfrm>
              <a:off x="23434303" y="12899126"/>
              <a:ext cx="432986" cy="413837"/>
            </a:xfrm>
            <a:custGeom>
              <a:avLst/>
              <a:gdLst>
                <a:gd name="connsiteX0" fmla="*/ 432986 w 432986"/>
                <a:gd name="connsiteY0" fmla="*/ 403991 h 413837"/>
                <a:gd name="connsiteX1" fmla="*/ 432986 w 432986"/>
                <a:gd name="connsiteY1" fmla="*/ 9847 h 413837"/>
                <a:gd name="connsiteX2" fmla="*/ 311890 w 432986"/>
                <a:gd name="connsiteY2" fmla="*/ 9847 h 413837"/>
                <a:gd name="connsiteX3" fmla="*/ 311890 w 432986"/>
                <a:gd name="connsiteY3" fmla="*/ 51230 h 413837"/>
                <a:gd name="connsiteX4" fmla="*/ 300739 w 432986"/>
                <a:gd name="connsiteY4" fmla="*/ 41241 h 413837"/>
                <a:gd name="connsiteX5" fmla="*/ 196656 w 432986"/>
                <a:gd name="connsiteY5" fmla="*/ 0 h 413837"/>
                <a:gd name="connsiteX6" fmla="*/ 0 w 432986"/>
                <a:gd name="connsiteY6" fmla="*/ 206919 h 413837"/>
                <a:gd name="connsiteX7" fmla="*/ 196656 w 432986"/>
                <a:gd name="connsiteY7" fmla="*/ 413838 h 413837"/>
                <a:gd name="connsiteX8" fmla="*/ 300739 w 432986"/>
                <a:gd name="connsiteY8" fmla="*/ 372597 h 413837"/>
                <a:gd name="connsiteX9" fmla="*/ 311890 w 432986"/>
                <a:gd name="connsiteY9" fmla="*/ 362607 h 413837"/>
                <a:gd name="connsiteX10" fmla="*/ 311890 w 432986"/>
                <a:gd name="connsiteY10" fmla="*/ 403991 h 413837"/>
                <a:gd name="connsiteX11" fmla="*/ 216243 w 432986"/>
                <a:gd name="connsiteY11" fmla="*/ 300032 h 413837"/>
                <a:gd name="connsiteX12" fmla="*/ 123312 w 432986"/>
                <a:gd name="connsiteY12" fmla="*/ 207276 h 413837"/>
                <a:gd name="connsiteX13" fmla="*/ 216243 w 432986"/>
                <a:gd name="connsiteY13" fmla="*/ 114519 h 413837"/>
                <a:gd name="connsiteX14" fmla="*/ 309174 w 432986"/>
                <a:gd name="connsiteY14" fmla="*/ 207276 h 413837"/>
                <a:gd name="connsiteX15" fmla="*/ 216243 w 432986"/>
                <a:gd name="connsiteY15" fmla="*/ 300032 h 41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2986" h="413837">
                  <a:moveTo>
                    <a:pt x="432986" y="403991"/>
                  </a:moveTo>
                  <a:lnTo>
                    <a:pt x="432986" y="9847"/>
                  </a:lnTo>
                  <a:lnTo>
                    <a:pt x="311890" y="9847"/>
                  </a:lnTo>
                  <a:lnTo>
                    <a:pt x="311890" y="51230"/>
                  </a:lnTo>
                  <a:lnTo>
                    <a:pt x="300739" y="41241"/>
                  </a:lnTo>
                  <a:cubicBezTo>
                    <a:pt x="272608" y="14710"/>
                    <a:pt x="235359" y="-50"/>
                    <a:pt x="196656" y="0"/>
                  </a:cubicBezTo>
                  <a:cubicBezTo>
                    <a:pt x="90072" y="0"/>
                    <a:pt x="0" y="94755"/>
                    <a:pt x="0" y="206919"/>
                  </a:cubicBezTo>
                  <a:cubicBezTo>
                    <a:pt x="0" y="319083"/>
                    <a:pt x="90072" y="413838"/>
                    <a:pt x="196656" y="413838"/>
                  </a:cubicBezTo>
                  <a:cubicBezTo>
                    <a:pt x="235359" y="413887"/>
                    <a:pt x="272608" y="399128"/>
                    <a:pt x="300739" y="372597"/>
                  </a:cubicBezTo>
                  <a:lnTo>
                    <a:pt x="311890" y="362607"/>
                  </a:lnTo>
                  <a:lnTo>
                    <a:pt x="311890" y="403991"/>
                  </a:lnTo>
                  <a:close/>
                  <a:moveTo>
                    <a:pt x="216243" y="300032"/>
                  </a:moveTo>
                  <a:cubicBezTo>
                    <a:pt x="164919" y="300032"/>
                    <a:pt x="123312" y="258504"/>
                    <a:pt x="123312" y="207276"/>
                  </a:cubicBezTo>
                  <a:cubicBezTo>
                    <a:pt x="123312" y="156047"/>
                    <a:pt x="164919" y="114519"/>
                    <a:pt x="216243" y="114519"/>
                  </a:cubicBezTo>
                  <a:cubicBezTo>
                    <a:pt x="267567" y="114519"/>
                    <a:pt x="309174" y="156047"/>
                    <a:pt x="309174" y="207276"/>
                  </a:cubicBezTo>
                  <a:cubicBezTo>
                    <a:pt x="308939" y="258406"/>
                    <a:pt x="267470" y="299798"/>
                    <a:pt x="216243" y="300032"/>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9" name="Freeform 28">
              <a:extLst>
                <a:ext uri="{FF2B5EF4-FFF2-40B4-BE49-F238E27FC236}">
                  <a16:creationId xmlns:a16="http://schemas.microsoft.com/office/drawing/2014/main" id="{B0415B9F-87EA-D548-B6DC-540E9033987B}"/>
                </a:ext>
              </a:extLst>
            </p:cNvPr>
            <p:cNvSpPr/>
            <p:nvPr/>
          </p:nvSpPr>
          <p:spPr>
            <a:xfrm>
              <a:off x="21712437" y="12718300"/>
              <a:ext cx="397343" cy="595020"/>
            </a:xfrm>
            <a:custGeom>
              <a:avLst/>
              <a:gdLst>
                <a:gd name="connsiteX0" fmla="*/ 384591 w 397343"/>
                <a:gd name="connsiteY0" fmla="*/ 478789 h 595020"/>
                <a:gd name="connsiteX1" fmla="*/ 397244 w 397343"/>
                <a:gd name="connsiteY1" fmla="*/ 406154 h 595020"/>
                <a:gd name="connsiteX2" fmla="*/ 362073 w 397343"/>
                <a:gd name="connsiteY2" fmla="*/ 306262 h 595020"/>
                <a:gd name="connsiteX3" fmla="*/ 227681 w 397343"/>
                <a:gd name="connsiteY3" fmla="*/ 234911 h 595020"/>
                <a:gd name="connsiteX4" fmla="*/ 192438 w 397343"/>
                <a:gd name="connsiteY4" fmla="*/ 221711 h 595020"/>
                <a:gd name="connsiteX5" fmla="*/ 166203 w 397343"/>
                <a:gd name="connsiteY5" fmla="*/ 202232 h 595020"/>
                <a:gd name="connsiteX6" fmla="*/ 154909 w 397343"/>
                <a:gd name="connsiteY6" fmla="*/ 170266 h 595020"/>
                <a:gd name="connsiteX7" fmla="*/ 180715 w 397343"/>
                <a:gd name="connsiteY7" fmla="*/ 129525 h 595020"/>
                <a:gd name="connsiteX8" fmla="*/ 278650 w 397343"/>
                <a:gd name="connsiteY8" fmla="*/ 130310 h 595020"/>
                <a:gd name="connsiteX9" fmla="*/ 318681 w 397343"/>
                <a:gd name="connsiteY9" fmla="*/ 149146 h 595020"/>
                <a:gd name="connsiteX10" fmla="*/ 371295 w 397343"/>
                <a:gd name="connsiteY10" fmla="*/ 44617 h 595020"/>
                <a:gd name="connsiteX11" fmla="*/ 295806 w 397343"/>
                <a:gd name="connsiteY11" fmla="*/ 10582 h 595020"/>
                <a:gd name="connsiteX12" fmla="*/ 211668 w 397343"/>
                <a:gd name="connsiteY12" fmla="*/ 22 h 595020"/>
                <a:gd name="connsiteX13" fmla="*/ 133034 w 397343"/>
                <a:gd name="connsiteY13" fmla="*/ 12937 h 595020"/>
                <a:gd name="connsiteX14" fmla="*/ 72844 w 397343"/>
                <a:gd name="connsiteY14" fmla="*/ 52109 h 595020"/>
                <a:gd name="connsiteX15" fmla="*/ 32812 w 397343"/>
                <a:gd name="connsiteY15" fmla="*/ 111901 h 595020"/>
                <a:gd name="connsiteX16" fmla="*/ 19587 w 397343"/>
                <a:gd name="connsiteY16" fmla="*/ 184751 h 595020"/>
                <a:gd name="connsiteX17" fmla="*/ 66267 w 397343"/>
                <a:gd name="connsiteY17" fmla="*/ 289209 h 595020"/>
                <a:gd name="connsiteX18" fmla="*/ 159698 w 397343"/>
                <a:gd name="connsiteY18" fmla="*/ 341295 h 595020"/>
                <a:gd name="connsiteX19" fmla="*/ 205878 w 397343"/>
                <a:gd name="connsiteY19" fmla="*/ 357635 h 595020"/>
                <a:gd name="connsiteX20" fmla="*/ 239833 w 397343"/>
                <a:gd name="connsiteY20" fmla="*/ 374902 h 595020"/>
                <a:gd name="connsiteX21" fmla="*/ 257847 w 397343"/>
                <a:gd name="connsiteY21" fmla="*/ 394952 h 595020"/>
                <a:gd name="connsiteX22" fmla="*/ 261708 w 397343"/>
                <a:gd name="connsiteY22" fmla="*/ 420067 h 595020"/>
                <a:gd name="connsiteX23" fmla="*/ 244122 w 397343"/>
                <a:gd name="connsiteY23" fmla="*/ 454030 h 595020"/>
                <a:gd name="connsiteX24" fmla="*/ 186934 w 397343"/>
                <a:gd name="connsiteY24" fmla="*/ 469728 h 595020"/>
                <a:gd name="connsiteX25" fmla="*/ 117951 w 397343"/>
                <a:gd name="connsiteY25" fmla="*/ 452817 h 595020"/>
                <a:gd name="connsiteX26" fmla="*/ 61835 w 397343"/>
                <a:gd name="connsiteY26" fmla="*/ 423135 h 595020"/>
                <a:gd name="connsiteX27" fmla="*/ 0 w 397343"/>
                <a:gd name="connsiteY27" fmla="*/ 530804 h 595020"/>
                <a:gd name="connsiteX28" fmla="*/ 175639 w 397343"/>
                <a:gd name="connsiteY28" fmla="*/ 595021 h 595020"/>
                <a:gd name="connsiteX29" fmla="*/ 268999 w 397343"/>
                <a:gd name="connsiteY29" fmla="*/ 580179 h 595020"/>
                <a:gd name="connsiteX30" fmla="*/ 339555 w 397343"/>
                <a:gd name="connsiteY30" fmla="*/ 540294 h 595020"/>
                <a:gd name="connsiteX31" fmla="*/ 384591 w 397343"/>
                <a:gd name="connsiteY31" fmla="*/ 478789 h 59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7343" h="595020">
                  <a:moveTo>
                    <a:pt x="384591" y="478789"/>
                  </a:moveTo>
                  <a:cubicBezTo>
                    <a:pt x="393762" y="455702"/>
                    <a:pt x="398069" y="430976"/>
                    <a:pt x="397244" y="406154"/>
                  </a:cubicBezTo>
                  <a:cubicBezTo>
                    <a:pt x="397244" y="366411"/>
                    <a:pt x="384805" y="330807"/>
                    <a:pt x="362073" y="306262"/>
                  </a:cubicBezTo>
                  <a:cubicBezTo>
                    <a:pt x="335623" y="277721"/>
                    <a:pt x="290588" y="253319"/>
                    <a:pt x="227681" y="234911"/>
                  </a:cubicBezTo>
                  <a:cubicBezTo>
                    <a:pt x="215582" y="231508"/>
                    <a:pt x="203793" y="227092"/>
                    <a:pt x="192438" y="221711"/>
                  </a:cubicBezTo>
                  <a:cubicBezTo>
                    <a:pt x="182528" y="216949"/>
                    <a:pt x="173622" y="210337"/>
                    <a:pt x="166203" y="202232"/>
                  </a:cubicBezTo>
                  <a:cubicBezTo>
                    <a:pt x="158329" y="193500"/>
                    <a:pt x="154264" y="181997"/>
                    <a:pt x="154909" y="170266"/>
                  </a:cubicBezTo>
                  <a:cubicBezTo>
                    <a:pt x="154909" y="152000"/>
                    <a:pt x="164774" y="139585"/>
                    <a:pt x="180715" y="129525"/>
                  </a:cubicBezTo>
                  <a:cubicBezTo>
                    <a:pt x="200731" y="116967"/>
                    <a:pt x="239261" y="115754"/>
                    <a:pt x="278650" y="130310"/>
                  </a:cubicBezTo>
                  <a:cubicBezTo>
                    <a:pt x="292534" y="135375"/>
                    <a:pt x="305932" y="141679"/>
                    <a:pt x="318681" y="149146"/>
                  </a:cubicBezTo>
                  <a:lnTo>
                    <a:pt x="371295" y="44617"/>
                  </a:lnTo>
                  <a:cubicBezTo>
                    <a:pt x="347844" y="29815"/>
                    <a:pt x="322435" y="18359"/>
                    <a:pt x="295806" y="10582"/>
                  </a:cubicBezTo>
                  <a:cubicBezTo>
                    <a:pt x="268324" y="3507"/>
                    <a:pt x="240050" y="-41"/>
                    <a:pt x="211668" y="22"/>
                  </a:cubicBezTo>
                  <a:cubicBezTo>
                    <a:pt x="184897" y="-352"/>
                    <a:pt x="158273" y="4021"/>
                    <a:pt x="133034" y="12937"/>
                  </a:cubicBezTo>
                  <a:cubicBezTo>
                    <a:pt x="110513" y="21778"/>
                    <a:pt x="90033" y="35106"/>
                    <a:pt x="72844" y="52109"/>
                  </a:cubicBezTo>
                  <a:cubicBezTo>
                    <a:pt x="55682" y="69212"/>
                    <a:pt x="42078" y="89532"/>
                    <a:pt x="32812" y="111901"/>
                  </a:cubicBezTo>
                  <a:cubicBezTo>
                    <a:pt x="23726" y="135102"/>
                    <a:pt x="19235" y="159842"/>
                    <a:pt x="19587" y="184751"/>
                  </a:cubicBezTo>
                  <a:cubicBezTo>
                    <a:pt x="21074" y="224274"/>
                    <a:pt x="37798" y="261698"/>
                    <a:pt x="66267" y="289209"/>
                  </a:cubicBezTo>
                  <a:cubicBezTo>
                    <a:pt x="102009" y="322958"/>
                    <a:pt x="143257" y="334945"/>
                    <a:pt x="159698" y="341295"/>
                  </a:cubicBezTo>
                  <a:cubicBezTo>
                    <a:pt x="176140" y="347646"/>
                    <a:pt x="194297" y="352997"/>
                    <a:pt x="205878" y="357635"/>
                  </a:cubicBezTo>
                  <a:cubicBezTo>
                    <a:pt x="217820" y="362076"/>
                    <a:pt x="229213" y="367869"/>
                    <a:pt x="239833" y="374902"/>
                  </a:cubicBezTo>
                  <a:cubicBezTo>
                    <a:pt x="247458" y="379936"/>
                    <a:pt x="253661" y="386839"/>
                    <a:pt x="257847" y="394952"/>
                  </a:cubicBezTo>
                  <a:cubicBezTo>
                    <a:pt x="261559" y="402769"/>
                    <a:pt x="262901" y="411499"/>
                    <a:pt x="261708" y="420067"/>
                  </a:cubicBezTo>
                  <a:cubicBezTo>
                    <a:pt x="260449" y="433227"/>
                    <a:pt x="254149" y="445394"/>
                    <a:pt x="244122" y="454030"/>
                  </a:cubicBezTo>
                  <a:cubicBezTo>
                    <a:pt x="233471" y="464020"/>
                    <a:pt x="214313" y="469728"/>
                    <a:pt x="186934" y="469728"/>
                  </a:cubicBezTo>
                  <a:cubicBezTo>
                    <a:pt x="163009" y="468956"/>
                    <a:pt x="139511" y="463196"/>
                    <a:pt x="117951" y="452817"/>
                  </a:cubicBezTo>
                  <a:cubicBezTo>
                    <a:pt x="98608" y="444173"/>
                    <a:pt x="79862" y="434258"/>
                    <a:pt x="61835" y="423135"/>
                  </a:cubicBezTo>
                  <a:lnTo>
                    <a:pt x="0" y="530804"/>
                  </a:lnTo>
                  <a:cubicBezTo>
                    <a:pt x="42891" y="569120"/>
                    <a:pt x="113304" y="595021"/>
                    <a:pt x="175639" y="595021"/>
                  </a:cubicBezTo>
                  <a:cubicBezTo>
                    <a:pt x="207351" y="595046"/>
                    <a:pt x="238864" y="590036"/>
                    <a:pt x="268999" y="580179"/>
                  </a:cubicBezTo>
                  <a:cubicBezTo>
                    <a:pt x="294828" y="571445"/>
                    <a:pt x="318768" y="557912"/>
                    <a:pt x="339555" y="540294"/>
                  </a:cubicBezTo>
                  <a:cubicBezTo>
                    <a:pt x="358721" y="523171"/>
                    <a:pt x="374065" y="502216"/>
                    <a:pt x="384591" y="478789"/>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30" name="Freeform 29">
              <a:extLst>
                <a:ext uri="{FF2B5EF4-FFF2-40B4-BE49-F238E27FC236}">
                  <a16:creationId xmlns:a16="http://schemas.microsoft.com/office/drawing/2014/main" id="{F78874D7-AA57-004A-ACA8-6BC5CA146FC0}"/>
                </a:ext>
              </a:extLst>
            </p:cNvPr>
            <p:cNvSpPr/>
            <p:nvPr/>
          </p:nvSpPr>
          <p:spPr>
            <a:xfrm>
              <a:off x="23915113" y="13165410"/>
              <a:ext cx="137966" cy="137707"/>
            </a:xfrm>
            <a:custGeom>
              <a:avLst/>
              <a:gdLst>
                <a:gd name="connsiteX0" fmla="*/ 68912 w 137966"/>
                <a:gd name="connsiteY0" fmla="*/ 0 h 137707"/>
                <a:gd name="connsiteX1" fmla="*/ 0 w 137966"/>
                <a:gd name="connsiteY1" fmla="*/ 68925 h 137707"/>
                <a:gd name="connsiteX2" fmla="*/ 69055 w 137966"/>
                <a:gd name="connsiteY2" fmla="*/ 137708 h 137707"/>
                <a:gd name="connsiteX3" fmla="*/ 137967 w 137966"/>
                <a:gd name="connsiteY3" fmla="*/ 68854 h 137707"/>
                <a:gd name="connsiteX4" fmla="*/ 68984 w 137966"/>
                <a:gd name="connsiteY4" fmla="*/ 0 h 137707"/>
                <a:gd name="connsiteX5" fmla="*/ 68912 w 137966"/>
                <a:gd name="connsiteY5" fmla="*/ 0 h 137707"/>
                <a:gd name="connsiteX6" fmla="*/ 68912 w 137966"/>
                <a:gd name="connsiteY6" fmla="*/ 123866 h 137707"/>
                <a:gd name="connsiteX7" fmla="*/ 13797 w 137966"/>
                <a:gd name="connsiteY7" fmla="*/ 68854 h 137707"/>
                <a:gd name="connsiteX8" fmla="*/ 68912 w 137966"/>
                <a:gd name="connsiteY8" fmla="*/ 13842 h 137707"/>
                <a:gd name="connsiteX9" fmla="*/ 124027 w 137966"/>
                <a:gd name="connsiteY9" fmla="*/ 68854 h 137707"/>
                <a:gd name="connsiteX10" fmla="*/ 68912 w 137966"/>
                <a:gd name="connsiteY10" fmla="*/ 123866 h 137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966" h="137707">
                  <a:moveTo>
                    <a:pt x="68912" y="0"/>
                  </a:moveTo>
                  <a:cubicBezTo>
                    <a:pt x="30813" y="39"/>
                    <a:pt x="-39" y="30898"/>
                    <a:pt x="0" y="68925"/>
                  </a:cubicBezTo>
                  <a:cubicBezTo>
                    <a:pt x="40" y="106952"/>
                    <a:pt x="30956" y="137747"/>
                    <a:pt x="69055" y="137708"/>
                  </a:cubicBezTo>
                  <a:cubicBezTo>
                    <a:pt x="107125" y="137668"/>
                    <a:pt x="137967" y="106853"/>
                    <a:pt x="137967" y="68854"/>
                  </a:cubicBezTo>
                  <a:cubicBezTo>
                    <a:pt x="137967" y="30827"/>
                    <a:pt x="107082" y="0"/>
                    <a:pt x="68984" y="0"/>
                  </a:cubicBezTo>
                  <a:cubicBezTo>
                    <a:pt x="68960" y="0"/>
                    <a:pt x="68936" y="0"/>
                    <a:pt x="68912" y="0"/>
                  </a:cubicBezTo>
                  <a:close/>
                  <a:moveTo>
                    <a:pt x="68912" y="123866"/>
                  </a:moveTo>
                  <a:cubicBezTo>
                    <a:pt x="38472" y="123866"/>
                    <a:pt x="13797" y="99236"/>
                    <a:pt x="13797" y="68854"/>
                  </a:cubicBezTo>
                  <a:cubicBezTo>
                    <a:pt x="13797" y="38472"/>
                    <a:pt x="38472" y="13842"/>
                    <a:pt x="68912" y="13842"/>
                  </a:cubicBezTo>
                  <a:cubicBezTo>
                    <a:pt x="99351" y="13842"/>
                    <a:pt x="124027" y="38472"/>
                    <a:pt x="124027" y="68854"/>
                  </a:cubicBezTo>
                  <a:cubicBezTo>
                    <a:pt x="124027" y="99236"/>
                    <a:pt x="99351" y="123866"/>
                    <a:pt x="68912" y="123866"/>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31" name="Freeform 30">
              <a:extLst>
                <a:ext uri="{FF2B5EF4-FFF2-40B4-BE49-F238E27FC236}">
                  <a16:creationId xmlns:a16="http://schemas.microsoft.com/office/drawing/2014/main" id="{80AB7655-CACF-B04D-A69C-FDF819C76484}"/>
                </a:ext>
              </a:extLst>
            </p:cNvPr>
            <p:cNvSpPr/>
            <p:nvPr/>
          </p:nvSpPr>
          <p:spPr>
            <a:xfrm>
              <a:off x="23959220" y="13196661"/>
              <a:ext cx="55544" cy="75346"/>
            </a:xfrm>
            <a:custGeom>
              <a:avLst/>
              <a:gdLst>
                <a:gd name="connsiteX0" fmla="*/ 24663 w 55544"/>
                <a:gd name="connsiteY0" fmla="*/ 49090 h 75346"/>
                <a:gd name="connsiteX1" fmla="*/ 13654 w 55544"/>
                <a:gd name="connsiteY1" fmla="*/ 49090 h 75346"/>
                <a:gd name="connsiteX2" fmla="*/ 13654 w 55544"/>
                <a:gd name="connsiteY2" fmla="*/ 75204 h 75346"/>
                <a:gd name="connsiteX3" fmla="*/ 0 w 55544"/>
                <a:gd name="connsiteY3" fmla="*/ 75204 h 75346"/>
                <a:gd name="connsiteX4" fmla="*/ 0 w 55544"/>
                <a:gd name="connsiteY4" fmla="*/ 0 h 75346"/>
                <a:gd name="connsiteX5" fmla="*/ 28952 w 55544"/>
                <a:gd name="connsiteY5" fmla="*/ 0 h 75346"/>
                <a:gd name="connsiteX6" fmla="*/ 53972 w 55544"/>
                <a:gd name="connsiteY6" fmla="*/ 24902 h 75346"/>
                <a:gd name="connsiteX7" fmla="*/ 39674 w 55544"/>
                <a:gd name="connsiteY7" fmla="*/ 46806 h 75346"/>
                <a:gd name="connsiteX8" fmla="*/ 55544 w 55544"/>
                <a:gd name="connsiteY8" fmla="*/ 75347 h 75346"/>
                <a:gd name="connsiteX9" fmla="*/ 39246 w 55544"/>
                <a:gd name="connsiteY9" fmla="*/ 75347 h 75346"/>
                <a:gd name="connsiteX10" fmla="*/ 13654 w 55544"/>
                <a:gd name="connsiteY10" fmla="*/ 36461 h 75346"/>
                <a:gd name="connsiteX11" fmla="*/ 29452 w 55544"/>
                <a:gd name="connsiteY11" fmla="*/ 36461 h 75346"/>
                <a:gd name="connsiteX12" fmla="*/ 39676 w 55544"/>
                <a:gd name="connsiteY12" fmla="*/ 23691 h 75346"/>
                <a:gd name="connsiteX13" fmla="*/ 29452 w 55544"/>
                <a:gd name="connsiteY13" fmla="*/ 13485 h 75346"/>
                <a:gd name="connsiteX14" fmla="*/ 13654 w 55544"/>
                <a:gd name="connsiteY14" fmla="*/ 13485 h 7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44" h="75346">
                  <a:moveTo>
                    <a:pt x="24663" y="49090"/>
                  </a:moveTo>
                  <a:lnTo>
                    <a:pt x="13654" y="49090"/>
                  </a:lnTo>
                  <a:lnTo>
                    <a:pt x="13654" y="75204"/>
                  </a:lnTo>
                  <a:lnTo>
                    <a:pt x="0" y="75204"/>
                  </a:lnTo>
                  <a:lnTo>
                    <a:pt x="0" y="0"/>
                  </a:lnTo>
                  <a:lnTo>
                    <a:pt x="28952" y="0"/>
                  </a:lnTo>
                  <a:cubicBezTo>
                    <a:pt x="42742" y="0"/>
                    <a:pt x="53932" y="11137"/>
                    <a:pt x="53972" y="24902"/>
                  </a:cubicBezTo>
                  <a:cubicBezTo>
                    <a:pt x="53874" y="34356"/>
                    <a:pt x="48299" y="42898"/>
                    <a:pt x="39674" y="46806"/>
                  </a:cubicBezTo>
                  <a:lnTo>
                    <a:pt x="55544" y="75347"/>
                  </a:lnTo>
                  <a:lnTo>
                    <a:pt x="39246" y="75347"/>
                  </a:lnTo>
                  <a:close/>
                  <a:moveTo>
                    <a:pt x="13654" y="36461"/>
                  </a:moveTo>
                  <a:lnTo>
                    <a:pt x="29452" y="36461"/>
                  </a:lnTo>
                  <a:cubicBezTo>
                    <a:pt x="35809" y="35752"/>
                    <a:pt x="40386" y="30035"/>
                    <a:pt x="39676" y="23691"/>
                  </a:cubicBezTo>
                  <a:cubicBezTo>
                    <a:pt x="39076" y="18322"/>
                    <a:pt x="34831" y="14085"/>
                    <a:pt x="29452" y="13485"/>
                  </a:cubicBezTo>
                  <a:lnTo>
                    <a:pt x="13654" y="13485"/>
                  </a:ln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32" name="Freeform 31">
              <a:extLst>
                <a:ext uri="{FF2B5EF4-FFF2-40B4-BE49-F238E27FC236}">
                  <a16:creationId xmlns:a16="http://schemas.microsoft.com/office/drawing/2014/main" id="{5E2C2BFF-DCF8-4948-B070-72BE03D09C75}"/>
                </a:ext>
              </a:extLst>
            </p:cNvPr>
            <p:cNvSpPr/>
            <p:nvPr/>
          </p:nvSpPr>
          <p:spPr>
            <a:xfrm>
              <a:off x="22151357" y="12899269"/>
              <a:ext cx="367076" cy="413837"/>
            </a:xfrm>
            <a:custGeom>
              <a:avLst/>
              <a:gdLst>
                <a:gd name="connsiteX0" fmla="*/ 284940 w 367076"/>
                <a:gd name="connsiteY0" fmla="*/ 263928 h 413837"/>
                <a:gd name="connsiteX1" fmla="*/ 156416 w 367076"/>
                <a:gd name="connsiteY1" fmla="*/ 278050 h 413837"/>
                <a:gd name="connsiteX2" fmla="*/ 142267 w 367076"/>
                <a:gd name="connsiteY2" fmla="*/ 149766 h 413837"/>
                <a:gd name="connsiteX3" fmla="*/ 270792 w 367076"/>
                <a:gd name="connsiteY3" fmla="*/ 135645 h 413837"/>
                <a:gd name="connsiteX4" fmla="*/ 284940 w 367076"/>
                <a:gd name="connsiteY4" fmla="*/ 149766 h 413837"/>
                <a:gd name="connsiteX5" fmla="*/ 367077 w 367076"/>
                <a:gd name="connsiteY5" fmla="*/ 67784 h 413837"/>
                <a:gd name="connsiteX6" fmla="*/ 213812 w 367076"/>
                <a:gd name="connsiteY6" fmla="*/ 0 h 413837"/>
                <a:gd name="connsiteX7" fmla="*/ 0 w 367076"/>
                <a:gd name="connsiteY7" fmla="*/ 206919 h 413837"/>
                <a:gd name="connsiteX8" fmla="*/ 213812 w 367076"/>
                <a:gd name="connsiteY8" fmla="*/ 413838 h 413837"/>
                <a:gd name="connsiteX9" fmla="*/ 367077 w 367076"/>
                <a:gd name="connsiteY9" fmla="*/ 346054 h 41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076" h="413837">
                  <a:moveTo>
                    <a:pt x="284940" y="263928"/>
                  </a:moveTo>
                  <a:cubicBezTo>
                    <a:pt x="253356" y="303253"/>
                    <a:pt x="195814" y="309575"/>
                    <a:pt x="156416" y="278050"/>
                  </a:cubicBezTo>
                  <a:cubicBezTo>
                    <a:pt x="117018" y="246525"/>
                    <a:pt x="110683" y="189091"/>
                    <a:pt x="142267" y="149766"/>
                  </a:cubicBezTo>
                  <a:cubicBezTo>
                    <a:pt x="173851" y="110442"/>
                    <a:pt x="231394" y="104120"/>
                    <a:pt x="270792" y="135645"/>
                  </a:cubicBezTo>
                  <a:cubicBezTo>
                    <a:pt x="276012" y="139821"/>
                    <a:pt x="280756" y="144557"/>
                    <a:pt x="284940" y="149766"/>
                  </a:cubicBezTo>
                  <a:lnTo>
                    <a:pt x="367077" y="67784"/>
                  </a:lnTo>
                  <a:cubicBezTo>
                    <a:pt x="327876" y="24594"/>
                    <a:pt x="272200" y="-30"/>
                    <a:pt x="213812" y="0"/>
                  </a:cubicBezTo>
                  <a:cubicBezTo>
                    <a:pt x="99436" y="0"/>
                    <a:pt x="0" y="81198"/>
                    <a:pt x="0" y="206919"/>
                  </a:cubicBezTo>
                  <a:cubicBezTo>
                    <a:pt x="0" y="332640"/>
                    <a:pt x="99508" y="413838"/>
                    <a:pt x="213812" y="413838"/>
                  </a:cubicBezTo>
                  <a:cubicBezTo>
                    <a:pt x="272200" y="413867"/>
                    <a:pt x="327876" y="389244"/>
                    <a:pt x="367077" y="346054"/>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grpSp>
    </p:spTree>
    <p:extLst>
      <p:ext uri="{BB962C8B-B14F-4D97-AF65-F5344CB8AC3E}">
        <p14:creationId xmlns:p14="http://schemas.microsoft.com/office/powerpoint/2010/main" val="3503798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 Scoti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solidFill>
                  <a:schemeClr val="bg1"/>
                </a:solidFill>
              </a:defRPr>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grpSp>
        <p:nvGrpSpPr>
          <p:cNvPr id="23" name="Group 22">
            <a:extLst>
              <a:ext uri="{FF2B5EF4-FFF2-40B4-BE49-F238E27FC236}">
                <a16:creationId xmlns:a16="http://schemas.microsoft.com/office/drawing/2014/main" id="{DEDA2E92-32BE-404B-AA8F-53E457E6F54A}"/>
              </a:ext>
            </a:extLst>
          </p:cNvPr>
          <p:cNvGrpSpPr/>
          <p:nvPr userDrawn="1"/>
        </p:nvGrpSpPr>
        <p:grpSpPr>
          <a:xfrm>
            <a:off x="10645622" y="6209271"/>
            <a:ext cx="1170321" cy="297642"/>
            <a:chOff x="21712437" y="12718037"/>
            <a:chExt cx="2340642" cy="595283"/>
          </a:xfrm>
          <a:solidFill>
            <a:srgbClr val="FFFFFF"/>
          </a:solidFill>
        </p:grpSpPr>
        <p:sp>
          <p:nvSpPr>
            <p:cNvPr id="24" name="Freeform 23">
              <a:extLst>
                <a:ext uri="{FF2B5EF4-FFF2-40B4-BE49-F238E27FC236}">
                  <a16:creationId xmlns:a16="http://schemas.microsoft.com/office/drawing/2014/main" id="{1A2E4769-65AB-D042-A2E6-9692535FAA80}"/>
                </a:ext>
              </a:extLst>
            </p:cNvPr>
            <p:cNvSpPr/>
            <p:nvPr/>
          </p:nvSpPr>
          <p:spPr>
            <a:xfrm>
              <a:off x="22523795" y="12899198"/>
              <a:ext cx="414614" cy="413837"/>
            </a:xfrm>
            <a:custGeom>
              <a:avLst/>
              <a:gdLst>
                <a:gd name="connsiteX0" fmla="*/ 207307 w 414614"/>
                <a:gd name="connsiteY0" fmla="*/ 0 h 413837"/>
                <a:gd name="connsiteX1" fmla="*/ 0 w 414614"/>
                <a:gd name="connsiteY1" fmla="*/ 206919 h 413837"/>
                <a:gd name="connsiteX2" fmla="*/ 207307 w 414614"/>
                <a:gd name="connsiteY2" fmla="*/ 413838 h 413837"/>
                <a:gd name="connsiteX3" fmla="*/ 414615 w 414614"/>
                <a:gd name="connsiteY3" fmla="*/ 206919 h 413837"/>
                <a:gd name="connsiteX4" fmla="*/ 207307 w 414614"/>
                <a:gd name="connsiteY4" fmla="*/ 0 h 413837"/>
                <a:gd name="connsiteX5" fmla="*/ 207307 w 414614"/>
                <a:gd name="connsiteY5" fmla="*/ 298106 h 413837"/>
                <a:gd name="connsiteX6" fmla="*/ 115806 w 414614"/>
                <a:gd name="connsiteY6" fmla="*/ 206919 h 413837"/>
                <a:gd name="connsiteX7" fmla="*/ 207164 w 414614"/>
                <a:gd name="connsiteY7" fmla="*/ 115589 h 413837"/>
                <a:gd name="connsiteX8" fmla="*/ 298666 w 414614"/>
                <a:gd name="connsiteY8" fmla="*/ 206776 h 413837"/>
                <a:gd name="connsiteX9" fmla="*/ 298666 w 414614"/>
                <a:gd name="connsiteY9" fmla="*/ 206847 h 413837"/>
                <a:gd name="connsiteX10" fmla="*/ 207307 w 414614"/>
                <a:gd name="connsiteY10" fmla="*/ 298106 h 41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4614" h="413837">
                  <a:moveTo>
                    <a:pt x="207307" y="0"/>
                  </a:moveTo>
                  <a:cubicBezTo>
                    <a:pt x="92815" y="0"/>
                    <a:pt x="0" y="92641"/>
                    <a:pt x="0" y="206919"/>
                  </a:cubicBezTo>
                  <a:cubicBezTo>
                    <a:pt x="0" y="321197"/>
                    <a:pt x="92815" y="413838"/>
                    <a:pt x="207307" y="413838"/>
                  </a:cubicBezTo>
                  <a:cubicBezTo>
                    <a:pt x="321800" y="413838"/>
                    <a:pt x="414615" y="321197"/>
                    <a:pt x="414615" y="206919"/>
                  </a:cubicBezTo>
                  <a:cubicBezTo>
                    <a:pt x="414615" y="92641"/>
                    <a:pt x="321800" y="0"/>
                    <a:pt x="207307" y="0"/>
                  </a:cubicBezTo>
                  <a:close/>
                  <a:moveTo>
                    <a:pt x="207307" y="298106"/>
                  </a:moveTo>
                  <a:cubicBezTo>
                    <a:pt x="156812" y="298145"/>
                    <a:pt x="115846" y="257319"/>
                    <a:pt x="115806" y="206919"/>
                  </a:cubicBezTo>
                  <a:cubicBezTo>
                    <a:pt x="115767" y="156518"/>
                    <a:pt x="156669" y="115629"/>
                    <a:pt x="207164" y="115589"/>
                  </a:cubicBezTo>
                  <a:cubicBezTo>
                    <a:pt x="257660" y="115550"/>
                    <a:pt x="298626" y="156376"/>
                    <a:pt x="298666" y="206776"/>
                  </a:cubicBezTo>
                  <a:cubicBezTo>
                    <a:pt x="298666" y="206800"/>
                    <a:pt x="298666" y="206824"/>
                    <a:pt x="298666" y="206847"/>
                  </a:cubicBezTo>
                  <a:cubicBezTo>
                    <a:pt x="298587" y="257188"/>
                    <a:pt x="257742" y="297988"/>
                    <a:pt x="207307" y="298106"/>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5" name="Freeform 24">
              <a:extLst>
                <a:ext uri="{FF2B5EF4-FFF2-40B4-BE49-F238E27FC236}">
                  <a16:creationId xmlns:a16="http://schemas.microsoft.com/office/drawing/2014/main" id="{C9E3B255-DBAA-1A4F-ABB1-1F786A67557B}"/>
                </a:ext>
              </a:extLst>
            </p:cNvPr>
            <p:cNvSpPr/>
            <p:nvPr/>
          </p:nvSpPr>
          <p:spPr>
            <a:xfrm>
              <a:off x="22965145" y="12786891"/>
              <a:ext cx="237045" cy="516226"/>
            </a:xfrm>
            <a:custGeom>
              <a:avLst/>
              <a:gdLst>
                <a:gd name="connsiteX0" fmla="*/ 237045 w 237045"/>
                <a:gd name="connsiteY0" fmla="*/ 122153 h 516226"/>
                <a:gd name="connsiteX1" fmla="*/ 180500 w 237045"/>
                <a:gd name="connsiteY1" fmla="*/ 122153 h 516226"/>
                <a:gd name="connsiteX2" fmla="*/ 180500 w 237045"/>
                <a:gd name="connsiteY2" fmla="*/ 0 h 516226"/>
                <a:gd name="connsiteX3" fmla="*/ 56616 w 237045"/>
                <a:gd name="connsiteY3" fmla="*/ 0 h 516226"/>
                <a:gd name="connsiteX4" fmla="*/ 56616 w 237045"/>
                <a:gd name="connsiteY4" fmla="*/ 122153 h 516226"/>
                <a:gd name="connsiteX5" fmla="*/ 0 w 237045"/>
                <a:gd name="connsiteY5" fmla="*/ 122153 h 516226"/>
                <a:gd name="connsiteX6" fmla="*/ 0 w 237045"/>
                <a:gd name="connsiteY6" fmla="*/ 234104 h 516226"/>
                <a:gd name="connsiteX7" fmla="*/ 56616 w 237045"/>
                <a:gd name="connsiteY7" fmla="*/ 234104 h 516226"/>
                <a:gd name="connsiteX8" fmla="*/ 56616 w 237045"/>
                <a:gd name="connsiteY8" fmla="*/ 516227 h 516226"/>
                <a:gd name="connsiteX9" fmla="*/ 180500 w 237045"/>
                <a:gd name="connsiteY9" fmla="*/ 516227 h 516226"/>
                <a:gd name="connsiteX10" fmla="*/ 180500 w 237045"/>
                <a:gd name="connsiteY10" fmla="*/ 234104 h 516226"/>
                <a:gd name="connsiteX11" fmla="*/ 237045 w 237045"/>
                <a:gd name="connsiteY11" fmla="*/ 234104 h 516226"/>
                <a:gd name="connsiteX12" fmla="*/ 237045 w 237045"/>
                <a:gd name="connsiteY12" fmla="*/ 122153 h 51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7045" h="516226">
                  <a:moveTo>
                    <a:pt x="237045" y="122153"/>
                  </a:moveTo>
                  <a:lnTo>
                    <a:pt x="180500" y="122153"/>
                  </a:lnTo>
                  <a:lnTo>
                    <a:pt x="180500" y="0"/>
                  </a:lnTo>
                  <a:lnTo>
                    <a:pt x="56616" y="0"/>
                  </a:lnTo>
                  <a:lnTo>
                    <a:pt x="56616" y="122153"/>
                  </a:lnTo>
                  <a:lnTo>
                    <a:pt x="0" y="122153"/>
                  </a:lnTo>
                  <a:lnTo>
                    <a:pt x="0" y="234104"/>
                  </a:lnTo>
                  <a:lnTo>
                    <a:pt x="56616" y="234104"/>
                  </a:lnTo>
                  <a:lnTo>
                    <a:pt x="56616" y="516227"/>
                  </a:lnTo>
                  <a:lnTo>
                    <a:pt x="180500" y="516227"/>
                  </a:lnTo>
                  <a:lnTo>
                    <a:pt x="180500" y="234104"/>
                  </a:lnTo>
                  <a:lnTo>
                    <a:pt x="237045" y="234104"/>
                  </a:lnTo>
                  <a:lnTo>
                    <a:pt x="237045" y="122153"/>
                  </a:ln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6" name="Freeform 25">
              <a:extLst>
                <a:ext uri="{FF2B5EF4-FFF2-40B4-BE49-F238E27FC236}">
                  <a16:creationId xmlns:a16="http://schemas.microsoft.com/office/drawing/2014/main" id="{84104674-962B-8F41-8EF1-6FF833C5E51F}"/>
                </a:ext>
              </a:extLst>
            </p:cNvPr>
            <p:cNvSpPr/>
            <p:nvPr/>
          </p:nvSpPr>
          <p:spPr>
            <a:xfrm>
              <a:off x="23259093" y="12909044"/>
              <a:ext cx="123883" cy="394144"/>
            </a:xfrm>
            <a:custGeom>
              <a:avLst/>
              <a:gdLst>
                <a:gd name="connsiteX0" fmla="*/ 0 w 123883"/>
                <a:gd name="connsiteY0" fmla="*/ 0 h 394144"/>
                <a:gd name="connsiteX1" fmla="*/ 123884 w 123883"/>
                <a:gd name="connsiteY1" fmla="*/ 0 h 394144"/>
                <a:gd name="connsiteX2" fmla="*/ 123884 w 123883"/>
                <a:gd name="connsiteY2" fmla="*/ 394145 h 394144"/>
                <a:gd name="connsiteX3" fmla="*/ 0 w 123883"/>
                <a:gd name="connsiteY3" fmla="*/ 394145 h 394144"/>
              </a:gdLst>
              <a:ahLst/>
              <a:cxnLst>
                <a:cxn ang="0">
                  <a:pos x="connsiteX0" y="connsiteY0"/>
                </a:cxn>
                <a:cxn ang="0">
                  <a:pos x="connsiteX1" y="connsiteY1"/>
                </a:cxn>
                <a:cxn ang="0">
                  <a:pos x="connsiteX2" y="connsiteY2"/>
                </a:cxn>
                <a:cxn ang="0">
                  <a:pos x="connsiteX3" y="connsiteY3"/>
                </a:cxn>
              </a:cxnLst>
              <a:rect l="l" t="t" r="r" b="b"/>
              <a:pathLst>
                <a:path w="123883" h="394144">
                  <a:moveTo>
                    <a:pt x="0" y="0"/>
                  </a:moveTo>
                  <a:lnTo>
                    <a:pt x="123884" y="0"/>
                  </a:lnTo>
                  <a:lnTo>
                    <a:pt x="123884" y="394145"/>
                  </a:lnTo>
                  <a:lnTo>
                    <a:pt x="0" y="394145"/>
                  </a:ln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7" name="Freeform 26">
              <a:extLst>
                <a:ext uri="{FF2B5EF4-FFF2-40B4-BE49-F238E27FC236}">
                  <a16:creationId xmlns:a16="http://schemas.microsoft.com/office/drawing/2014/main" id="{4D6DC987-ED01-F344-953B-0FC4E0010A26}"/>
                </a:ext>
              </a:extLst>
            </p:cNvPr>
            <p:cNvSpPr/>
            <p:nvPr/>
          </p:nvSpPr>
          <p:spPr>
            <a:xfrm>
              <a:off x="23251944" y="12718037"/>
              <a:ext cx="138109" cy="137850"/>
            </a:xfrm>
            <a:custGeom>
              <a:avLst/>
              <a:gdLst>
                <a:gd name="connsiteX0" fmla="*/ 69055 w 138109"/>
                <a:gd name="connsiteY0" fmla="*/ 0 h 137850"/>
                <a:gd name="connsiteX1" fmla="*/ 0 w 138109"/>
                <a:gd name="connsiteY1" fmla="*/ 68925 h 137850"/>
                <a:gd name="connsiteX2" fmla="*/ 69055 w 138109"/>
                <a:gd name="connsiteY2" fmla="*/ 137851 h 137850"/>
                <a:gd name="connsiteX3" fmla="*/ 138110 w 138109"/>
                <a:gd name="connsiteY3" fmla="*/ 68925 h 137850"/>
                <a:gd name="connsiteX4" fmla="*/ 138110 w 138109"/>
                <a:gd name="connsiteY4" fmla="*/ 68854 h 137850"/>
                <a:gd name="connsiteX5" fmla="*/ 69055 w 138109"/>
                <a:gd name="connsiteY5" fmla="*/ 0 h 13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09" h="137850">
                  <a:moveTo>
                    <a:pt x="69055" y="0"/>
                  </a:moveTo>
                  <a:cubicBezTo>
                    <a:pt x="30917" y="0"/>
                    <a:pt x="0" y="30859"/>
                    <a:pt x="0" y="68925"/>
                  </a:cubicBezTo>
                  <a:cubicBezTo>
                    <a:pt x="0" y="106992"/>
                    <a:pt x="30917" y="137851"/>
                    <a:pt x="69055" y="137851"/>
                  </a:cubicBezTo>
                  <a:cubicBezTo>
                    <a:pt x="107193" y="137851"/>
                    <a:pt x="138110" y="106992"/>
                    <a:pt x="138110" y="68925"/>
                  </a:cubicBezTo>
                  <a:cubicBezTo>
                    <a:pt x="138110" y="68902"/>
                    <a:pt x="138110" y="68878"/>
                    <a:pt x="138110" y="68854"/>
                  </a:cubicBezTo>
                  <a:cubicBezTo>
                    <a:pt x="138070" y="30815"/>
                    <a:pt x="107165" y="0"/>
                    <a:pt x="69055" y="0"/>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8" name="Freeform 27">
              <a:extLst>
                <a:ext uri="{FF2B5EF4-FFF2-40B4-BE49-F238E27FC236}">
                  <a16:creationId xmlns:a16="http://schemas.microsoft.com/office/drawing/2014/main" id="{88DAF9D5-A242-604E-A7EA-1729DE19C42B}"/>
                </a:ext>
              </a:extLst>
            </p:cNvPr>
            <p:cNvSpPr/>
            <p:nvPr/>
          </p:nvSpPr>
          <p:spPr>
            <a:xfrm>
              <a:off x="23434303" y="12899126"/>
              <a:ext cx="432986" cy="413837"/>
            </a:xfrm>
            <a:custGeom>
              <a:avLst/>
              <a:gdLst>
                <a:gd name="connsiteX0" fmla="*/ 432986 w 432986"/>
                <a:gd name="connsiteY0" fmla="*/ 403991 h 413837"/>
                <a:gd name="connsiteX1" fmla="*/ 432986 w 432986"/>
                <a:gd name="connsiteY1" fmla="*/ 9847 h 413837"/>
                <a:gd name="connsiteX2" fmla="*/ 311890 w 432986"/>
                <a:gd name="connsiteY2" fmla="*/ 9847 h 413837"/>
                <a:gd name="connsiteX3" fmla="*/ 311890 w 432986"/>
                <a:gd name="connsiteY3" fmla="*/ 51230 h 413837"/>
                <a:gd name="connsiteX4" fmla="*/ 300739 w 432986"/>
                <a:gd name="connsiteY4" fmla="*/ 41241 h 413837"/>
                <a:gd name="connsiteX5" fmla="*/ 196656 w 432986"/>
                <a:gd name="connsiteY5" fmla="*/ 0 h 413837"/>
                <a:gd name="connsiteX6" fmla="*/ 0 w 432986"/>
                <a:gd name="connsiteY6" fmla="*/ 206919 h 413837"/>
                <a:gd name="connsiteX7" fmla="*/ 196656 w 432986"/>
                <a:gd name="connsiteY7" fmla="*/ 413838 h 413837"/>
                <a:gd name="connsiteX8" fmla="*/ 300739 w 432986"/>
                <a:gd name="connsiteY8" fmla="*/ 372597 h 413837"/>
                <a:gd name="connsiteX9" fmla="*/ 311890 w 432986"/>
                <a:gd name="connsiteY9" fmla="*/ 362607 h 413837"/>
                <a:gd name="connsiteX10" fmla="*/ 311890 w 432986"/>
                <a:gd name="connsiteY10" fmla="*/ 403991 h 413837"/>
                <a:gd name="connsiteX11" fmla="*/ 216243 w 432986"/>
                <a:gd name="connsiteY11" fmla="*/ 300032 h 413837"/>
                <a:gd name="connsiteX12" fmla="*/ 123312 w 432986"/>
                <a:gd name="connsiteY12" fmla="*/ 207276 h 413837"/>
                <a:gd name="connsiteX13" fmla="*/ 216243 w 432986"/>
                <a:gd name="connsiteY13" fmla="*/ 114519 h 413837"/>
                <a:gd name="connsiteX14" fmla="*/ 309174 w 432986"/>
                <a:gd name="connsiteY14" fmla="*/ 207276 h 413837"/>
                <a:gd name="connsiteX15" fmla="*/ 216243 w 432986"/>
                <a:gd name="connsiteY15" fmla="*/ 300032 h 41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2986" h="413837">
                  <a:moveTo>
                    <a:pt x="432986" y="403991"/>
                  </a:moveTo>
                  <a:lnTo>
                    <a:pt x="432986" y="9847"/>
                  </a:lnTo>
                  <a:lnTo>
                    <a:pt x="311890" y="9847"/>
                  </a:lnTo>
                  <a:lnTo>
                    <a:pt x="311890" y="51230"/>
                  </a:lnTo>
                  <a:lnTo>
                    <a:pt x="300739" y="41241"/>
                  </a:lnTo>
                  <a:cubicBezTo>
                    <a:pt x="272608" y="14710"/>
                    <a:pt x="235359" y="-50"/>
                    <a:pt x="196656" y="0"/>
                  </a:cubicBezTo>
                  <a:cubicBezTo>
                    <a:pt x="90072" y="0"/>
                    <a:pt x="0" y="94755"/>
                    <a:pt x="0" y="206919"/>
                  </a:cubicBezTo>
                  <a:cubicBezTo>
                    <a:pt x="0" y="319083"/>
                    <a:pt x="90072" y="413838"/>
                    <a:pt x="196656" y="413838"/>
                  </a:cubicBezTo>
                  <a:cubicBezTo>
                    <a:pt x="235359" y="413887"/>
                    <a:pt x="272608" y="399128"/>
                    <a:pt x="300739" y="372597"/>
                  </a:cubicBezTo>
                  <a:lnTo>
                    <a:pt x="311890" y="362607"/>
                  </a:lnTo>
                  <a:lnTo>
                    <a:pt x="311890" y="403991"/>
                  </a:lnTo>
                  <a:close/>
                  <a:moveTo>
                    <a:pt x="216243" y="300032"/>
                  </a:moveTo>
                  <a:cubicBezTo>
                    <a:pt x="164919" y="300032"/>
                    <a:pt x="123312" y="258504"/>
                    <a:pt x="123312" y="207276"/>
                  </a:cubicBezTo>
                  <a:cubicBezTo>
                    <a:pt x="123312" y="156047"/>
                    <a:pt x="164919" y="114519"/>
                    <a:pt x="216243" y="114519"/>
                  </a:cubicBezTo>
                  <a:cubicBezTo>
                    <a:pt x="267567" y="114519"/>
                    <a:pt x="309174" y="156047"/>
                    <a:pt x="309174" y="207276"/>
                  </a:cubicBezTo>
                  <a:cubicBezTo>
                    <a:pt x="308939" y="258406"/>
                    <a:pt x="267470" y="299798"/>
                    <a:pt x="216243" y="300032"/>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29" name="Freeform 28">
              <a:extLst>
                <a:ext uri="{FF2B5EF4-FFF2-40B4-BE49-F238E27FC236}">
                  <a16:creationId xmlns:a16="http://schemas.microsoft.com/office/drawing/2014/main" id="{B0415B9F-87EA-D548-B6DC-540E9033987B}"/>
                </a:ext>
              </a:extLst>
            </p:cNvPr>
            <p:cNvSpPr/>
            <p:nvPr/>
          </p:nvSpPr>
          <p:spPr>
            <a:xfrm>
              <a:off x="21712437" y="12718300"/>
              <a:ext cx="397343" cy="595020"/>
            </a:xfrm>
            <a:custGeom>
              <a:avLst/>
              <a:gdLst>
                <a:gd name="connsiteX0" fmla="*/ 384591 w 397343"/>
                <a:gd name="connsiteY0" fmla="*/ 478789 h 595020"/>
                <a:gd name="connsiteX1" fmla="*/ 397244 w 397343"/>
                <a:gd name="connsiteY1" fmla="*/ 406154 h 595020"/>
                <a:gd name="connsiteX2" fmla="*/ 362073 w 397343"/>
                <a:gd name="connsiteY2" fmla="*/ 306262 h 595020"/>
                <a:gd name="connsiteX3" fmla="*/ 227681 w 397343"/>
                <a:gd name="connsiteY3" fmla="*/ 234911 h 595020"/>
                <a:gd name="connsiteX4" fmla="*/ 192438 w 397343"/>
                <a:gd name="connsiteY4" fmla="*/ 221711 h 595020"/>
                <a:gd name="connsiteX5" fmla="*/ 166203 w 397343"/>
                <a:gd name="connsiteY5" fmla="*/ 202232 h 595020"/>
                <a:gd name="connsiteX6" fmla="*/ 154909 w 397343"/>
                <a:gd name="connsiteY6" fmla="*/ 170266 h 595020"/>
                <a:gd name="connsiteX7" fmla="*/ 180715 w 397343"/>
                <a:gd name="connsiteY7" fmla="*/ 129525 h 595020"/>
                <a:gd name="connsiteX8" fmla="*/ 278650 w 397343"/>
                <a:gd name="connsiteY8" fmla="*/ 130310 h 595020"/>
                <a:gd name="connsiteX9" fmla="*/ 318681 w 397343"/>
                <a:gd name="connsiteY9" fmla="*/ 149146 h 595020"/>
                <a:gd name="connsiteX10" fmla="*/ 371295 w 397343"/>
                <a:gd name="connsiteY10" fmla="*/ 44617 h 595020"/>
                <a:gd name="connsiteX11" fmla="*/ 295806 w 397343"/>
                <a:gd name="connsiteY11" fmla="*/ 10582 h 595020"/>
                <a:gd name="connsiteX12" fmla="*/ 211668 w 397343"/>
                <a:gd name="connsiteY12" fmla="*/ 22 h 595020"/>
                <a:gd name="connsiteX13" fmla="*/ 133034 w 397343"/>
                <a:gd name="connsiteY13" fmla="*/ 12937 h 595020"/>
                <a:gd name="connsiteX14" fmla="*/ 72844 w 397343"/>
                <a:gd name="connsiteY14" fmla="*/ 52109 h 595020"/>
                <a:gd name="connsiteX15" fmla="*/ 32812 w 397343"/>
                <a:gd name="connsiteY15" fmla="*/ 111901 h 595020"/>
                <a:gd name="connsiteX16" fmla="*/ 19587 w 397343"/>
                <a:gd name="connsiteY16" fmla="*/ 184751 h 595020"/>
                <a:gd name="connsiteX17" fmla="*/ 66267 w 397343"/>
                <a:gd name="connsiteY17" fmla="*/ 289209 h 595020"/>
                <a:gd name="connsiteX18" fmla="*/ 159698 w 397343"/>
                <a:gd name="connsiteY18" fmla="*/ 341295 h 595020"/>
                <a:gd name="connsiteX19" fmla="*/ 205878 w 397343"/>
                <a:gd name="connsiteY19" fmla="*/ 357635 h 595020"/>
                <a:gd name="connsiteX20" fmla="*/ 239833 w 397343"/>
                <a:gd name="connsiteY20" fmla="*/ 374902 h 595020"/>
                <a:gd name="connsiteX21" fmla="*/ 257847 w 397343"/>
                <a:gd name="connsiteY21" fmla="*/ 394952 h 595020"/>
                <a:gd name="connsiteX22" fmla="*/ 261708 w 397343"/>
                <a:gd name="connsiteY22" fmla="*/ 420067 h 595020"/>
                <a:gd name="connsiteX23" fmla="*/ 244122 w 397343"/>
                <a:gd name="connsiteY23" fmla="*/ 454030 h 595020"/>
                <a:gd name="connsiteX24" fmla="*/ 186934 w 397343"/>
                <a:gd name="connsiteY24" fmla="*/ 469728 h 595020"/>
                <a:gd name="connsiteX25" fmla="*/ 117951 w 397343"/>
                <a:gd name="connsiteY25" fmla="*/ 452817 h 595020"/>
                <a:gd name="connsiteX26" fmla="*/ 61835 w 397343"/>
                <a:gd name="connsiteY26" fmla="*/ 423135 h 595020"/>
                <a:gd name="connsiteX27" fmla="*/ 0 w 397343"/>
                <a:gd name="connsiteY27" fmla="*/ 530804 h 595020"/>
                <a:gd name="connsiteX28" fmla="*/ 175639 w 397343"/>
                <a:gd name="connsiteY28" fmla="*/ 595021 h 595020"/>
                <a:gd name="connsiteX29" fmla="*/ 268999 w 397343"/>
                <a:gd name="connsiteY29" fmla="*/ 580179 h 595020"/>
                <a:gd name="connsiteX30" fmla="*/ 339555 w 397343"/>
                <a:gd name="connsiteY30" fmla="*/ 540294 h 595020"/>
                <a:gd name="connsiteX31" fmla="*/ 384591 w 397343"/>
                <a:gd name="connsiteY31" fmla="*/ 478789 h 59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7343" h="595020">
                  <a:moveTo>
                    <a:pt x="384591" y="478789"/>
                  </a:moveTo>
                  <a:cubicBezTo>
                    <a:pt x="393762" y="455702"/>
                    <a:pt x="398069" y="430976"/>
                    <a:pt x="397244" y="406154"/>
                  </a:cubicBezTo>
                  <a:cubicBezTo>
                    <a:pt x="397244" y="366411"/>
                    <a:pt x="384805" y="330807"/>
                    <a:pt x="362073" y="306262"/>
                  </a:cubicBezTo>
                  <a:cubicBezTo>
                    <a:pt x="335623" y="277721"/>
                    <a:pt x="290588" y="253319"/>
                    <a:pt x="227681" y="234911"/>
                  </a:cubicBezTo>
                  <a:cubicBezTo>
                    <a:pt x="215582" y="231508"/>
                    <a:pt x="203793" y="227092"/>
                    <a:pt x="192438" y="221711"/>
                  </a:cubicBezTo>
                  <a:cubicBezTo>
                    <a:pt x="182528" y="216949"/>
                    <a:pt x="173622" y="210337"/>
                    <a:pt x="166203" y="202232"/>
                  </a:cubicBezTo>
                  <a:cubicBezTo>
                    <a:pt x="158329" y="193500"/>
                    <a:pt x="154264" y="181997"/>
                    <a:pt x="154909" y="170266"/>
                  </a:cubicBezTo>
                  <a:cubicBezTo>
                    <a:pt x="154909" y="152000"/>
                    <a:pt x="164774" y="139585"/>
                    <a:pt x="180715" y="129525"/>
                  </a:cubicBezTo>
                  <a:cubicBezTo>
                    <a:pt x="200731" y="116967"/>
                    <a:pt x="239261" y="115754"/>
                    <a:pt x="278650" y="130310"/>
                  </a:cubicBezTo>
                  <a:cubicBezTo>
                    <a:pt x="292534" y="135375"/>
                    <a:pt x="305932" y="141679"/>
                    <a:pt x="318681" y="149146"/>
                  </a:cubicBezTo>
                  <a:lnTo>
                    <a:pt x="371295" y="44617"/>
                  </a:lnTo>
                  <a:cubicBezTo>
                    <a:pt x="347844" y="29815"/>
                    <a:pt x="322435" y="18359"/>
                    <a:pt x="295806" y="10582"/>
                  </a:cubicBezTo>
                  <a:cubicBezTo>
                    <a:pt x="268324" y="3507"/>
                    <a:pt x="240050" y="-41"/>
                    <a:pt x="211668" y="22"/>
                  </a:cubicBezTo>
                  <a:cubicBezTo>
                    <a:pt x="184897" y="-352"/>
                    <a:pt x="158273" y="4021"/>
                    <a:pt x="133034" y="12937"/>
                  </a:cubicBezTo>
                  <a:cubicBezTo>
                    <a:pt x="110513" y="21778"/>
                    <a:pt x="90033" y="35106"/>
                    <a:pt x="72844" y="52109"/>
                  </a:cubicBezTo>
                  <a:cubicBezTo>
                    <a:pt x="55682" y="69212"/>
                    <a:pt x="42078" y="89532"/>
                    <a:pt x="32812" y="111901"/>
                  </a:cubicBezTo>
                  <a:cubicBezTo>
                    <a:pt x="23726" y="135102"/>
                    <a:pt x="19235" y="159842"/>
                    <a:pt x="19587" y="184751"/>
                  </a:cubicBezTo>
                  <a:cubicBezTo>
                    <a:pt x="21074" y="224274"/>
                    <a:pt x="37798" y="261698"/>
                    <a:pt x="66267" y="289209"/>
                  </a:cubicBezTo>
                  <a:cubicBezTo>
                    <a:pt x="102009" y="322958"/>
                    <a:pt x="143257" y="334945"/>
                    <a:pt x="159698" y="341295"/>
                  </a:cubicBezTo>
                  <a:cubicBezTo>
                    <a:pt x="176140" y="347646"/>
                    <a:pt x="194297" y="352997"/>
                    <a:pt x="205878" y="357635"/>
                  </a:cubicBezTo>
                  <a:cubicBezTo>
                    <a:pt x="217820" y="362076"/>
                    <a:pt x="229213" y="367869"/>
                    <a:pt x="239833" y="374902"/>
                  </a:cubicBezTo>
                  <a:cubicBezTo>
                    <a:pt x="247458" y="379936"/>
                    <a:pt x="253661" y="386839"/>
                    <a:pt x="257847" y="394952"/>
                  </a:cubicBezTo>
                  <a:cubicBezTo>
                    <a:pt x="261559" y="402769"/>
                    <a:pt x="262901" y="411499"/>
                    <a:pt x="261708" y="420067"/>
                  </a:cubicBezTo>
                  <a:cubicBezTo>
                    <a:pt x="260449" y="433227"/>
                    <a:pt x="254149" y="445394"/>
                    <a:pt x="244122" y="454030"/>
                  </a:cubicBezTo>
                  <a:cubicBezTo>
                    <a:pt x="233471" y="464020"/>
                    <a:pt x="214313" y="469728"/>
                    <a:pt x="186934" y="469728"/>
                  </a:cubicBezTo>
                  <a:cubicBezTo>
                    <a:pt x="163009" y="468956"/>
                    <a:pt x="139511" y="463196"/>
                    <a:pt x="117951" y="452817"/>
                  </a:cubicBezTo>
                  <a:cubicBezTo>
                    <a:pt x="98608" y="444173"/>
                    <a:pt x="79862" y="434258"/>
                    <a:pt x="61835" y="423135"/>
                  </a:cubicBezTo>
                  <a:lnTo>
                    <a:pt x="0" y="530804"/>
                  </a:lnTo>
                  <a:cubicBezTo>
                    <a:pt x="42891" y="569120"/>
                    <a:pt x="113304" y="595021"/>
                    <a:pt x="175639" y="595021"/>
                  </a:cubicBezTo>
                  <a:cubicBezTo>
                    <a:pt x="207351" y="595046"/>
                    <a:pt x="238864" y="590036"/>
                    <a:pt x="268999" y="580179"/>
                  </a:cubicBezTo>
                  <a:cubicBezTo>
                    <a:pt x="294828" y="571445"/>
                    <a:pt x="318768" y="557912"/>
                    <a:pt x="339555" y="540294"/>
                  </a:cubicBezTo>
                  <a:cubicBezTo>
                    <a:pt x="358721" y="523171"/>
                    <a:pt x="374065" y="502216"/>
                    <a:pt x="384591" y="478789"/>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30" name="Freeform 29">
              <a:extLst>
                <a:ext uri="{FF2B5EF4-FFF2-40B4-BE49-F238E27FC236}">
                  <a16:creationId xmlns:a16="http://schemas.microsoft.com/office/drawing/2014/main" id="{F78874D7-AA57-004A-ACA8-6BC5CA146FC0}"/>
                </a:ext>
              </a:extLst>
            </p:cNvPr>
            <p:cNvSpPr/>
            <p:nvPr/>
          </p:nvSpPr>
          <p:spPr>
            <a:xfrm>
              <a:off x="23915113" y="13165410"/>
              <a:ext cx="137966" cy="137707"/>
            </a:xfrm>
            <a:custGeom>
              <a:avLst/>
              <a:gdLst>
                <a:gd name="connsiteX0" fmla="*/ 68912 w 137966"/>
                <a:gd name="connsiteY0" fmla="*/ 0 h 137707"/>
                <a:gd name="connsiteX1" fmla="*/ 0 w 137966"/>
                <a:gd name="connsiteY1" fmla="*/ 68925 h 137707"/>
                <a:gd name="connsiteX2" fmla="*/ 69055 w 137966"/>
                <a:gd name="connsiteY2" fmla="*/ 137708 h 137707"/>
                <a:gd name="connsiteX3" fmla="*/ 137967 w 137966"/>
                <a:gd name="connsiteY3" fmla="*/ 68854 h 137707"/>
                <a:gd name="connsiteX4" fmla="*/ 68984 w 137966"/>
                <a:gd name="connsiteY4" fmla="*/ 0 h 137707"/>
                <a:gd name="connsiteX5" fmla="*/ 68912 w 137966"/>
                <a:gd name="connsiteY5" fmla="*/ 0 h 137707"/>
                <a:gd name="connsiteX6" fmla="*/ 68912 w 137966"/>
                <a:gd name="connsiteY6" fmla="*/ 123866 h 137707"/>
                <a:gd name="connsiteX7" fmla="*/ 13797 w 137966"/>
                <a:gd name="connsiteY7" fmla="*/ 68854 h 137707"/>
                <a:gd name="connsiteX8" fmla="*/ 68912 w 137966"/>
                <a:gd name="connsiteY8" fmla="*/ 13842 h 137707"/>
                <a:gd name="connsiteX9" fmla="*/ 124027 w 137966"/>
                <a:gd name="connsiteY9" fmla="*/ 68854 h 137707"/>
                <a:gd name="connsiteX10" fmla="*/ 68912 w 137966"/>
                <a:gd name="connsiteY10" fmla="*/ 123866 h 137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966" h="137707">
                  <a:moveTo>
                    <a:pt x="68912" y="0"/>
                  </a:moveTo>
                  <a:cubicBezTo>
                    <a:pt x="30813" y="39"/>
                    <a:pt x="-39" y="30898"/>
                    <a:pt x="0" y="68925"/>
                  </a:cubicBezTo>
                  <a:cubicBezTo>
                    <a:pt x="40" y="106952"/>
                    <a:pt x="30956" y="137747"/>
                    <a:pt x="69055" y="137708"/>
                  </a:cubicBezTo>
                  <a:cubicBezTo>
                    <a:pt x="107125" y="137668"/>
                    <a:pt x="137967" y="106853"/>
                    <a:pt x="137967" y="68854"/>
                  </a:cubicBezTo>
                  <a:cubicBezTo>
                    <a:pt x="137967" y="30827"/>
                    <a:pt x="107082" y="0"/>
                    <a:pt x="68984" y="0"/>
                  </a:cubicBezTo>
                  <a:cubicBezTo>
                    <a:pt x="68960" y="0"/>
                    <a:pt x="68936" y="0"/>
                    <a:pt x="68912" y="0"/>
                  </a:cubicBezTo>
                  <a:close/>
                  <a:moveTo>
                    <a:pt x="68912" y="123866"/>
                  </a:moveTo>
                  <a:cubicBezTo>
                    <a:pt x="38472" y="123866"/>
                    <a:pt x="13797" y="99236"/>
                    <a:pt x="13797" y="68854"/>
                  </a:cubicBezTo>
                  <a:cubicBezTo>
                    <a:pt x="13797" y="38472"/>
                    <a:pt x="38472" y="13842"/>
                    <a:pt x="68912" y="13842"/>
                  </a:cubicBezTo>
                  <a:cubicBezTo>
                    <a:pt x="99351" y="13842"/>
                    <a:pt x="124027" y="38472"/>
                    <a:pt x="124027" y="68854"/>
                  </a:cubicBezTo>
                  <a:cubicBezTo>
                    <a:pt x="124027" y="99236"/>
                    <a:pt x="99351" y="123866"/>
                    <a:pt x="68912" y="123866"/>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31" name="Freeform 30">
              <a:extLst>
                <a:ext uri="{FF2B5EF4-FFF2-40B4-BE49-F238E27FC236}">
                  <a16:creationId xmlns:a16="http://schemas.microsoft.com/office/drawing/2014/main" id="{80AB7655-CACF-B04D-A69C-FDF819C76484}"/>
                </a:ext>
              </a:extLst>
            </p:cNvPr>
            <p:cNvSpPr/>
            <p:nvPr/>
          </p:nvSpPr>
          <p:spPr>
            <a:xfrm>
              <a:off x="23959220" y="13196661"/>
              <a:ext cx="55544" cy="75346"/>
            </a:xfrm>
            <a:custGeom>
              <a:avLst/>
              <a:gdLst>
                <a:gd name="connsiteX0" fmla="*/ 24663 w 55544"/>
                <a:gd name="connsiteY0" fmla="*/ 49090 h 75346"/>
                <a:gd name="connsiteX1" fmla="*/ 13654 w 55544"/>
                <a:gd name="connsiteY1" fmla="*/ 49090 h 75346"/>
                <a:gd name="connsiteX2" fmla="*/ 13654 w 55544"/>
                <a:gd name="connsiteY2" fmla="*/ 75204 h 75346"/>
                <a:gd name="connsiteX3" fmla="*/ 0 w 55544"/>
                <a:gd name="connsiteY3" fmla="*/ 75204 h 75346"/>
                <a:gd name="connsiteX4" fmla="*/ 0 w 55544"/>
                <a:gd name="connsiteY4" fmla="*/ 0 h 75346"/>
                <a:gd name="connsiteX5" fmla="*/ 28952 w 55544"/>
                <a:gd name="connsiteY5" fmla="*/ 0 h 75346"/>
                <a:gd name="connsiteX6" fmla="*/ 53972 w 55544"/>
                <a:gd name="connsiteY6" fmla="*/ 24902 h 75346"/>
                <a:gd name="connsiteX7" fmla="*/ 39674 w 55544"/>
                <a:gd name="connsiteY7" fmla="*/ 46806 h 75346"/>
                <a:gd name="connsiteX8" fmla="*/ 55544 w 55544"/>
                <a:gd name="connsiteY8" fmla="*/ 75347 h 75346"/>
                <a:gd name="connsiteX9" fmla="*/ 39246 w 55544"/>
                <a:gd name="connsiteY9" fmla="*/ 75347 h 75346"/>
                <a:gd name="connsiteX10" fmla="*/ 13654 w 55544"/>
                <a:gd name="connsiteY10" fmla="*/ 36461 h 75346"/>
                <a:gd name="connsiteX11" fmla="*/ 29452 w 55544"/>
                <a:gd name="connsiteY11" fmla="*/ 36461 h 75346"/>
                <a:gd name="connsiteX12" fmla="*/ 39676 w 55544"/>
                <a:gd name="connsiteY12" fmla="*/ 23691 h 75346"/>
                <a:gd name="connsiteX13" fmla="*/ 29452 w 55544"/>
                <a:gd name="connsiteY13" fmla="*/ 13485 h 75346"/>
                <a:gd name="connsiteX14" fmla="*/ 13654 w 55544"/>
                <a:gd name="connsiteY14" fmla="*/ 13485 h 7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44" h="75346">
                  <a:moveTo>
                    <a:pt x="24663" y="49090"/>
                  </a:moveTo>
                  <a:lnTo>
                    <a:pt x="13654" y="49090"/>
                  </a:lnTo>
                  <a:lnTo>
                    <a:pt x="13654" y="75204"/>
                  </a:lnTo>
                  <a:lnTo>
                    <a:pt x="0" y="75204"/>
                  </a:lnTo>
                  <a:lnTo>
                    <a:pt x="0" y="0"/>
                  </a:lnTo>
                  <a:lnTo>
                    <a:pt x="28952" y="0"/>
                  </a:lnTo>
                  <a:cubicBezTo>
                    <a:pt x="42742" y="0"/>
                    <a:pt x="53932" y="11137"/>
                    <a:pt x="53972" y="24902"/>
                  </a:cubicBezTo>
                  <a:cubicBezTo>
                    <a:pt x="53874" y="34356"/>
                    <a:pt x="48299" y="42898"/>
                    <a:pt x="39674" y="46806"/>
                  </a:cubicBezTo>
                  <a:lnTo>
                    <a:pt x="55544" y="75347"/>
                  </a:lnTo>
                  <a:lnTo>
                    <a:pt x="39246" y="75347"/>
                  </a:lnTo>
                  <a:close/>
                  <a:moveTo>
                    <a:pt x="13654" y="36461"/>
                  </a:moveTo>
                  <a:lnTo>
                    <a:pt x="29452" y="36461"/>
                  </a:lnTo>
                  <a:cubicBezTo>
                    <a:pt x="35809" y="35752"/>
                    <a:pt x="40386" y="30035"/>
                    <a:pt x="39676" y="23691"/>
                  </a:cubicBezTo>
                  <a:cubicBezTo>
                    <a:pt x="39076" y="18322"/>
                    <a:pt x="34831" y="14085"/>
                    <a:pt x="29452" y="13485"/>
                  </a:cubicBezTo>
                  <a:lnTo>
                    <a:pt x="13654" y="13485"/>
                  </a:ln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sp>
          <p:nvSpPr>
            <p:cNvPr id="32" name="Freeform 31">
              <a:extLst>
                <a:ext uri="{FF2B5EF4-FFF2-40B4-BE49-F238E27FC236}">
                  <a16:creationId xmlns:a16="http://schemas.microsoft.com/office/drawing/2014/main" id="{5E2C2BFF-DCF8-4948-B070-72BE03D09C75}"/>
                </a:ext>
              </a:extLst>
            </p:cNvPr>
            <p:cNvSpPr/>
            <p:nvPr/>
          </p:nvSpPr>
          <p:spPr>
            <a:xfrm>
              <a:off x="22151357" y="12899269"/>
              <a:ext cx="367076" cy="413837"/>
            </a:xfrm>
            <a:custGeom>
              <a:avLst/>
              <a:gdLst>
                <a:gd name="connsiteX0" fmla="*/ 284940 w 367076"/>
                <a:gd name="connsiteY0" fmla="*/ 263928 h 413837"/>
                <a:gd name="connsiteX1" fmla="*/ 156416 w 367076"/>
                <a:gd name="connsiteY1" fmla="*/ 278050 h 413837"/>
                <a:gd name="connsiteX2" fmla="*/ 142267 w 367076"/>
                <a:gd name="connsiteY2" fmla="*/ 149766 h 413837"/>
                <a:gd name="connsiteX3" fmla="*/ 270792 w 367076"/>
                <a:gd name="connsiteY3" fmla="*/ 135645 h 413837"/>
                <a:gd name="connsiteX4" fmla="*/ 284940 w 367076"/>
                <a:gd name="connsiteY4" fmla="*/ 149766 h 413837"/>
                <a:gd name="connsiteX5" fmla="*/ 367077 w 367076"/>
                <a:gd name="connsiteY5" fmla="*/ 67784 h 413837"/>
                <a:gd name="connsiteX6" fmla="*/ 213812 w 367076"/>
                <a:gd name="connsiteY6" fmla="*/ 0 h 413837"/>
                <a:gd name="connsiteX7" fmla="*/ 0 w 367076"/>
                <a:gd name="connsiteY7" fmla="*/ 206919 h 413837"/>
                <a:gd name="connsiteX8" fmla="*/ 213812 w 367076"/>
                <a:gd name="connsiteY8" fmla="*/ 413838 h 413837"/>
                <a:gd name="connsiteX9" fmla="*/ 367077 w 367076"/>
                <a:gd name="connsiteY9" fmla="*/ 346054 h 41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076" h="413837">
                  <a:moveTo>
                    <a:pt x="284940" y="263928"/>
                  </a:moveTo>
                  <a:cubicBezTo>
                    <a:pt x="253356" y="303253"/>
                    <a:pt x="195814" y="309575"/>
                    <a:pt x="156416" y="278050"/>
                  </a:cubicBezTo>
                  <a:cubicBezTo>
                    <a:pt x="117018" y="246525"/>
                    <a:pt x="110683" y="189091"/>
                    <a:pt x="142267" y="149766"/>
                  </a:cubicBezTo>
                  <a:cubicBezTo>
                    <a:pt x="173851" y="110442"/>
                    <a:pt x="231394" y="104120"/>
                    <a:pt x="270792" y="135645"/>
                  </a:cubicBezTo>
                  <a:cubicBezTo>
                    <a:pt x="276012" y="139821"/>
                    <a:pt x="280756" y="144557"/>
                    <a:pt x="284940" y="149766"/>
                  </a:cubicBezTo>
                  <a:lnTo>
                    <a:pt x="367077" y="67784"/>
                  </a:lnTo>
                  <a:cubicBezTo>
                    <a:pt x="327876" y="24594"/>
                    <a:pt x="272200" y="-30"/>
                    <a:pt x="213812" y="0"/>
                  </a:cubicBezTo>
                  <a:cubicBezTo>
                    <a:pt x="99436" y="0"/>
                    <a:pt x="0" y="81198"/>
                    <a:pt x="0" y="206919"/>
                  </a:cubicBezTo>
                  <a:cubicBezTo>
                    <a:pt x="0" y="332640"/>
                    <a:pt x="99508" y="413838"/>
                    <a:pt x="213812" y="413838"/>
                  </a:cubicBezTo>
                  <a:cubicBezTo>
                    <a:pt x="272200" y="413867"/>
                    <a:pt x="327876" y="389244"/>
                    <a:pt x="367077" y="346054"/>
                  </a:cubicBezTo>
                  <a:close/>
                </a:path>
              </a:pathLst>
            </a:custGeom>
            <a:grpFill/>
            <a:ln w="7133" cap="flat">
              <a:noFill/>
              <a:prstDash val="solid"/>
              <a:miter/>
            </a:ln>
          </p:spPr>
          <p:txBody>
            <a:bodyPr rtlCol="0" anchor="ctr"/>
            <a:lstStyle/>
            <a:p>
              <a:pPr defTabSz="914355"/>
              <a:endParaRPr lang="en-US">
                <a:solidFill>
                  <a:srgbClr val="333333"/>
                </a:solidFill>
                <a:latin typeface="Calibri" panose="020F0502020204030204"/>
              </a:endParaRPr>
            </a:p>
          </p:txBody>
        </p:sp>
      </p:grpSp>
    </p:spTree>
    <p:extLst>
      <p:ext uri="{BB962C8B-B14F-4D97-AF65-F5344CB8AC3E}">
        <p14:creationId xmlns:p14="http://schemas.microsoft.com/office/powerpoint/2010/main" val="32068157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old header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5D9691C-8F92-1A48-B888-625B874E7C2E}"/>
              </a:ext>
            </a:extLst>
          </p:cNvPr>
          <p:cNvGrpSpPr/>
          <p:nvPr/>
        </p:nvGrpSpPr>
        <p:grpSpPr>
          <a:xfrm>
            <a:off x="11800685" y="6466711"/>
            <a:ext cx="391316" cy="391291"/>
            <a:chOff x="23599832" y="12933419"/>
            <a:chExt cx="782581" cy="782581"/>
          </a:xfrm>
        </p:grpSpPr>
        <p:sp>
          <p:nvSpPr>
            <p:cNvPr id="2" name="Rectangle 1">
              <a:extLst>
                <a:ext uri="{FF2B5EF4-FFF2-40B4-BE49-F238E27FC236}">
                  <a16:creationId xmlns:a16="http://schemas.microsoft.com/office/drawing/2014/main" id="{02C1215E-ACFF-E643-A41C-8B8E4269EDAD}"/>
                </a:ext>
              </a:extLst>
            </p:cNvPr>
            <p:cNvSpPr/>
            <p:nvPr/>
          </p:nvSpPr>
          <p:spPr>
            <a:xfrm>
              <a:off x="23599832" y="12933419"/>
              <a:ext cx="782581" cy="782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pic>
          <p:nvPicPr>
            <p:cNvPr id="7" name="Picture 6">
              <a:extLst>
                <a:ext uri="{FF2B5EF4-FFF2-40B4-BE49-F238E27FC236}">
                  <a16:creationId xmlns:a16="http://schemas.microsoft.com/office/drawing/2014/main" id="{839C6856-2C69-354E-9E2D-4255A7942768}"/>
                </a:ext>
              </a:extLst>
            </p:cNvPr>
            <p:cNvPicPr>
              <a:picLocks noChangeAspect="1"/>
            </p:cNvPicPr>
            <p:nvPr/>
          </p:nvPicPr>
          <p:blipFill>
            <a:blip r:embed="rId2"/>
            <a:stretch>
              <a:fillRect/>
            </a:stretch>
          </p:blipFill>
          <p:spPr>
            <a:xfrm>
              <a:off x="23829051" y="13147223"/>
              <a:ext cx="324143" cy="356158"/>
            </a:xfrm>
            <a:prstGeom prst="rect">
              <a:avLst/>
            </a:prstGeom>
          </p:spPr>
        </p:pic>
      </p:grpSp>
      <p:sp>
        <p:nvSpPr>
          <p:cNvPr id="8" name="TextBox 7">
            <a:extLst>
              <a:ext uri="{FF2B5EF4-FFF2-40B4-BE49-F238E27FC236}">
                <a16:creationId xmlns:a16="http://schemas.microsoft.com/office/drawing/2014/main" id="{7E69DB7C-5DCC-634C-B2F2-71D23971A166}"/>
              </a:ext>
            </a:extLst>
          </p:cNvPr>
          <p:cNvSpPr txBox="1">
            <a:spLocks/>
          </p:cNvSpPr>
          <p:nvPr/>
        </p:nvSpPr>
        <p:spPr>
          <a:xfrm>
            <a:off x="11575704" y="332531"/>
            <a:ext cx="233505"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600" smtClean="0">
                <a:solidFill>
                  <a:schemeClr val="tx1"/>
                </a:solidFill>
                <a:latin typeface="Scotia" panose="020B0503020203020204" pitchFamily="34" charset="0"/>
              </a:rPr>
              <a:pPr algn="r"/>
              <a:t>‹#›</a:t>
            </a:fld>
            <a:endParaRPr lang="en-CA" sz="600">
              <a:solidFill>
                <a:schemeClr val="tx1"/>
              </a:solidFill>
              <a:latin typeface="Scotia" panose="020B0503020203020204" pitchFamily="34" charset="0"/>
            </a:endParaRPr>
          </a:p>
        </p:txBody>
      </p:sp>
    </p:spTree>
    <p:extLst>
      <p:ext uri="{BB962C8B-B14F-4D97-AF65-F5344CB8AC3E}">
        <p14:creationId xmlns:p14="http://schemas.microsoft.com/office/powerpoint/2010/main" val="1854012129"/>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 Scotia Digi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pic>
        <p:nvPicPr>
          <p:cNvPr id="23" name="Graphic 22">
            <a:extLst>
              <a:ext uri="{FF2B5EF4-FFF2-40B4-BE49-F238E27FC236}">
                <a16:creationId xmlns:a16="http://schemas.microsoft.com/office/drawing/2014/main" id="{D6CC03D4-FEF3-AA4B-B6FD-2B5283CFAD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41571" y="6179130"/>
            <a:ext cx="2284116" cy="539882"/>
          </a:xfrm>
          <a:prstGeom prst="rect">
            <a:avLst/>
          </a:prstGeom>
        </p:spPr>
      </p:pic>
    </p:spTree>
    <p:extLst>
      <p:ext uri="{BB962C8B-B14F-4D97-AF65-F5344CB8AC3E}">
        <p14:creationId xmlns:p14="http://schemas.microsoft.com/office/powerpoint/2010/main" val="19668868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 Scotia Digital (White)">
    <p:bg>
      <p:bgPr>
        <a:solidFill>
          <a:schemeClr val="tx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1818379-8711-A74A-93D1-645FE341FFD3}"/>
              </a:ext>
            </a:extLst>
          </p:cNvPr>
          <p:cNvSpPr>
            <a:spLocks noGrp="1"/>
          </p:cNvSpPr>
          <p:nvPr>
            <p:ph type="pic" sz="quarter" idx="12"/>
          </p:nvPr>
        </p:nvSpPr>
        <p:spPr>
          <a:xfrm>
            <a:off x="0" y="0"/>
            <a:ext cx="12192000" cy="6858000"/>
          </a:xfrm>
        </p:spPr>
        <p:txBody>
          <a:bodyPr anchor="ctr"/>
          <a:lstStyle>
            <a:lvl1pPr marL="0" indent="0" algn="ctr">
              <a:buNone/>
              <a:defRPr>
                <a:solidFill>
                  <a:schemeClr val="bg1"/>
                </a:solidFill>
              </a:defRPr>
            </a:lvl1pPr>
          </a:lstStyle>
          <a:p>
            <a:endParaRPr lang="en-CA"/>
          </a:p>
        </p:txBody>
      </p:sp>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solidFill>
                  <a:schemeClr val="bg1"/>
                </a:solidFill>
              </a:defRPr>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pic>
        <p:nvPicPr>
          <p:cNvPr id="4" name="Graphic 3">
            <a:extLst>
              <a:ext uri="{FF2B5EF4-FFF2-40B4-BE49-F238E27FC236}">
                <a16:creationId xmlns:a16="http://schemas.microsoft.com/office/drawing/2014/main" id="{1F975E08-67A4-394D-8C63-71BBB8D36E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41567" y="6179129"/>
            <a:ext cx="2284120" cy="539883"/>
          </a:xfrm>
          <a:prstGeom prst="rect">
            <a:avLst/>
          </a:prstGeom>
        </p:spPr>
      </p:pic>
    </p:spTree>
    <p:extLst>
      <p:ext uri="{BB962C8B-B14F-4D97-AF65-F5344CB8AC3E}">
        <p14:creationId xmlns:p14="http://schemas.microsoft.com/office/powerpoint/2010/main" val="7722892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 Scotia Digital (brand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4AB69-0D50-B241-8F79-CC58F8EA2F3F}"/>
              </a:ext>
            </a:extLst>
          </p:cNvPr>
          <p:cNvSpPr>
            <a:spLocks noGrp="1"/>
          </p:cNvSpPr>
          <p:nvPr>
            <p:ph type="ctrTitle" hasCustomPrompt="1"/>
          </p:nvPr>
        </p:nvSpPr>
        <p:spPr>
          <a:xfrm>
            <a:off x="556885" y="1348451"/>
            <a:ext cx="9545053" cy="2387600"/>
          </a:xfrm>
        </p:spPr>
        <p:txBody>
          <a:bodyPr anchor="ctr">
            <a:noAutofit/>
          </a:bodyPr>
          <a:lstStyle>
            <a:lvl1pPr algn="l">
              <a:defRPr sz="6600"/>
            </a:lvl1pPr>
          </a:lstStyle>
          <a:p>
            <a:r>
              <a:rPr lang="en-US"/>
              <a:t>Scotiabank PowerPoint Template 2021</a:t>
            </a:r>
          </a:p>
        </p:txBody>
      </p:sp>
      <p:sp>
        <p:nvSpPr>
          <p:cNvPr id="11" name="Text Placeholder 10">
            <a:extLst>
              <a:ext uri="{FF2B5EF4-FFF2-40B4-BE49-F238E27FC236}">
                <a16:creationId xmlns:a16="http://schemas.microsoft.com/office/drawing/2014/main" id="{C734CE1A-74E1-F444-A105-282E54ADD018}"/>
              </a:ext>
            </a:extLst>
          </p:cNvPr>
          <p:cNvSpPr>
            <a:spLocks noGrp="1"/>
          </p:cNvSpPr>
          <p:nvPr>
            <p:ph type="body" sz="quarter" idx="10" hasCustomPrompt="1"/>
          </p:nvPr>
        </p:nvSpPr>
        <p:spPr>
          <a:xfrm>
            <a:off x="573088" y="3902070"/>
            <a:ext cx="4760912" cy="457777"/>
          </a:xfrm>
        </p:spPr>
        <p:txBody>
          <a:bodyPr>
            <a:no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Optional subtitle</a:t>
            </a:r>
          </a:p>
        </p:txBody>
      </p:sp>
      <p:sp>
        <p:nvSpPr>
          <p:cNvPr id="13" name="Text Placeholder 12">
            <a:extLst>
              <a:ext uri="{FF2B5EF4-FFF2-40B4-BE49-F238E27FC236}">
                <a16:creationId xmlns:a16="http://schemas.microsoft.com/office/drawing/2014/main" id="{D67E16F0-1C30-B641-B0FD-F4C8788F09F2}"/>
              </a:ext>
            </a:extLst>
          </p:cNvPr>
          <p:cNvSpPr>
            <a:spLocks noGrp="1"/>
          </p:cNvSpPr>
          <p:nvPr>
            <p:ph type="body" sz="quarter" idx="11" hasCustomPrompt="1"/>
          </p:nvPr>
        </p:nvSpPr>
        <p:spPr>
          <a:xfrm>
            <a:off x="573088" y="5500688"/>
            <a:ext cx="4899025" cy="387350"/>
          </a:xfrm>
        </p:spPr>
        <p:txBody>
          <a:bodyPr>
            <a:no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Month, day, year</a:t>
            </a:r>
          </a:p>
        </p:txBody>
      </p:sp>
      <p:pic>
        <p:nvPicPr>
          <p:cNvPr id="8" name="Graphic 7">
            <a:extLst>
              <a:ext uri="{FF2B5EF4-FFF2-40B4-BE49-F238E27FC236}">
                <a16:creationId xmlns:a16="http://schemas.microsoft.com/office/drawing/2014/main" id="{418E7133-1353-DE4B-AEEE-42197F0648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21078" y="6286684"/>
            <a:ext cx="2570922" cy="571316"/>
          </a:xfrm>
          <a:prstGeom prst="rect">
            <a:avLst/>
          </a:prstGeom>
        </p:spPr>
      </p:pic>
    </p:spTree>
    <p:extLst>
      <p:ext uri="{BB962C8B-B14F-4D97-AF65-F5344CB8AC3E}">
        <p14:creationId xmlns:p14="http://schemas.microsoft.com/office/powerpoint/2010/main" val="27553047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3" name="Text Placeholder 15">
            <a:extLst>
              <a:ext uri="{FF2B5EF4-FFF2-40B4-BE49-F238E27FC236}">
                <a16:creationId xmlns:a16="http://schemas.microsoft.com/office/drawing/2014/main" id="{4423622D-39C8-1646-A22B-F494435E66AD}"/>
              </a:ext>
            </a:extLst>
          </p:cNvPr>
          <p:cNvSpPr>
            <a:spLocks noGrp="1"/>
          </p:cNvSpPr>
          <p:nvPr>
            <p:ph type="body" sz="quarter" idx="12" hasCustomPrompt="1"/>
          </p:nvPr>
        </p:nvSpPr>
        <p:spPr>
          <a:xfrm>
            <a:off x="4989441" y="2158643"/>
            <a:ext cx="357474" cy="3637724"/>
          </a:xfrm>
        </p:spPr>
        <p:txBody>
          <a:bodyPr>
            <a:noAutofit/>
          </a:bodyPr>
          <a:lstStyle>
            <a:lvl1pPr marL="0" indent="0">
              <a:lnSpc>
                <a:spcPct val="120000"/>
              </a:lnSpc>
              <a:spcBef>
                <a:spcPts val="0"/>
              </a:spcBef>
              <a:spcAft>
                <a:spcPts val="2000"/>
              </a:spcAft>
              <a:buFont typeface="+mj-lt"/>
              <a:buNone/>
              <a:defRPr sz="2000" b="1" i="0">
                <a:solidFill>
                  <a:schemeClr val="accent6"/>
                </a:solidFill>
                <a:latin typeface="Scotia" panose="020B0503020203020204" pitchFamily="34" charset="0"/>
                <a:ea typeface="Scotia" panose="020B0503020203020204" pitchFamily="34" charset="0"/>
              </a:defRPr>
            </a:lvl1pPr>
            <a:lvl5pPr marL="1828800" indent="0">
              <a:spcAft>
                <a:spcPts val="2000"/>
              </a:spcAft>
              <a:buFont typeface="+mj-lt"/>
              <a:buNone/>
              <a:defRPr sz="2000" b="1" i="0">
                <a:solidFill>
                  <a:schemeClr val="accent6"/>
                </a:solidFill>
              </a:defRPr>
            </a:lvl5pPr>
          </a:lstStyle>
          <a:p>
            <a:pPr lvl="0"/>
            <a:r>
              <a:rPr lang="en-US"/>
              <a:t>1.</a:t>
            </a:r>
          </a:p>
          <a:p>
            <a:pPr lvl="0"/>
            <a:r>
              <a:rPr lang="en-US"/>
              <a:t>2.</a:t>
            </a:r>
          </a:p>
          <a:p>
            <a:pPr lvl="0"/>
            <a:r>
              <a:rPr lang="en-US"/>
              <a:t>3.</a:t>
            </a:r>
          </a:p>
          <a:p>
            <a:pPr lvl="0"/>
            <a:r>
              <a:rPr lang="en-US"/>
              <a:t>4.</a:t>
            </a:r>
          </a:p>
          <a:p>
            <a:pPr lvl="0"/>
            <a:r>
              <a:rPr lang="en-US"/>
              <a:t>5.</a:t>
            </a:r>
          </a:p>
          <a:p>
            <a:pPr lvl="0"/>
            <a:endParaRPr lang="en-US"/>
          </a:p>
          <a:p>
            <a:pPr lvl="4"/>
            <a:endParaRPr lang="en-CA"/>
          </a:p>
        </p:txBody>
      </p:sp>
      <p:sp>
        <p:nvSpPr>
          <p:cNvPr id="12" name="Text Placeholder 15">
            <a:extLst>
              <a:ext uri="{FF2B5EF4-FFF2-40B4-BE49-F238E27FC236}">
                <a16:creationId xmlns:a16="http://schemas.microsoft.com/office/drawing/2014/main" id="{2724C162-1C7D-A243-B5D0-BD36578ED691}"/>
              </a:ext>
            </a:extLst>
          </p:cNvPr>
          <p:cNvSpPr>
            <a:spLocks noGrp="1"/>
          </p:cNvSpPr>
          <p:nvPr>
            <p:ph type="body" sz="quarter" idx="11" hasCustomPrompt="1"/>
          </p:nvPr>
        </p:nvSpPr>
        <p:spPr>
          <a:xfrm>
            <a:off x="5531882" y="2158643"/>
            <a:ext cx="5394423" cy="3637724"/>
          </a:xfrm>
        </p:spPr>
        <p:txBody>
          <a:bodyPr>
            <a:noAutofit/>
          </a:bodyPr>
          <a:lstStyle>
            <a:lvl1pPr marL="0" indent="0">
              <a:lnSpc>
                <a:spcPct val="120000"/>
              </a:lnSpc>
              <a:spcBef>
                <a:spcPts val="0"/>
              </a:spcBef>
              <a:spcAft>
                <a:spcPts val="2000"/>
              </a:spcAft>
              <a:buFont typeface="+mj-lt"/>
              <a:buNone/>
              <a:defRPr sz="2000"/>
            </a:lvl1pPr>
            <a:lvl5pPr marL="1828800" indent="0">
              <a:spcAft>
                <a:spcPts val="2000"/>
              </a:spcAft>
              <a:buFont typeface="+mj-lt"/>
              <a:buNone/>
              <a:defRPr sz="2000"/>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endParaRPr lang="en-US"/>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a:p>
            <a:pPr lvl="0"/>
            <a:endParaRPr lang="en-US"/>
          </a:p>
          <a:p>
            <a:pPr lvl="4"/>
            <a:endParaRPr lang="en-CA"/>
          </a:p>
        </p:txBody>
      </p:sp>
      <p:sp>
        <p:nvSpPr>
          <p:cNvPr id="5" name="Rectangle">
            <a:extLst>
              <a:ext uri="{FF2B5EF4-FFF2-40B4-BE49-F238E27FC236}">
                <a16:creationId xmlns:a16="http://schemas.microsoft.com/office/drawing/2014/main" id="{56E7D5B8-FD7C-CF4D-9C12-9AA61CEAC5D7}"/>
              </a:ext>
            </a:extLst>
          </p:cNvPr>
          <p:cNvSpPr/>
          <p:nvPr userDrawn="1"/>
        </p:nvSpPr>
        <p:spPr>
          <a:xfrm flipH="1">
            <a:off x="397" y="0"/>
            <a:ext cx="4066768" cy="6858000"/>
          </a:xfrm>
          <a:prstGeom prst="rect">
            <a:avLst/>
          </a:prstGeom>
          <a:solidFill>
            <a:srgbClr val="F6F6F6"/>
          </a:solidFill>
          <a:ln w="12700">
            <a:miter lim="400000"/>
          </a:ln>
        </p:spPr>
        <p:txBody>
          <a:bodyPr lIns="45716" rIns="45716" anchor="ctr"/>
          <a:lstStyle/>
          <a:p>
            <a:pPr>
              <a:defRPr>
                <a:solidFill>
                  <a:srgbClr val="1FA2DC"/>
                </a:solidFill>
              </a:defRPr>
            </a:pPr>
            <a:endParaRPr sz="3600">
              <a:latin typeface="Scotia Regular" panose="020B0503020203020204" pitchFamily="34" charset="0"/>
            </a:endParaRPr>
          </a:p>
        </p:txBody>
      </p:sp>
      <p:sp>
        <p:nvSpPr>
          <p:cNvPr id="9" name="Title 1">
            <a:extLst>
              <a:ext uri="{FF2B5EF4-FFF2-40B4-BE49-F238E27FC236}">
                <a16:creationId xmlns:a16="http://schemas.microsoft.com/office/drawing/2014/main" id="{22611832-3C57-EF4D-853F-C55BF68E8DC6}"/>
              </a:ext>
            </a:extLst>
          </p:cNvPr>
          <p:cNvSpPr>
            <a:spLocks noGrp="1"/>
          </p:cNvSpPr>
          <p:nvPr>
            <p:ph type="title" hasCustomPrompt="1"/>
          </p:nvPr>
        </p:nvSpPr>
        <p:spPr>
          <a:xfrm>
            <a:off x="467422" y="816110"/>
            <a:ext cx="3400089" cy="795876"/>
          </a:xfrm>
        </p:spPr>
        <p:txBody>
          <a:bodyPr anchor="t">
            <a:noAutofit/>
          </a:bodyPr>
          <a:lstStyle/>
          <a:p>
            <a:r>
              <a:rPr lang="en-US"/>
              <a:t>Agenda</a:t>
            </a:r>
          </a:p>
        </p:txBody>
      </p:sp>
      <p:sp>
        <p:nvSpPr>
          <p:cNvPr id="10" name="TextBox 9">
            <a:extLst>
              <a:ext uri="{FF2B5EF4-FFF2-40B4-BE49-F238E27FC236}">
                <a16:creationId xmlns:a16="http://schemas.microsoft.com/office/drawing/2014/main" id="{744C7778-6BD9-C94B-9E03-DAD41DF624C0}"/>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1" name="Graphic 10">
            <a:extLst>
              <a:ext uri="{FF2B5EF4-FFF2-40B4-BE49-F238E27FC236}">
                <a16:creationId xmlns:a16="http://schemas.microsoft.com/office/drawing/2014/main" id="{E242851E-9708-BB4F-B672-1048A8549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Tree>
    <p:extLst>
      <p:ext uri="{BB962C8B-B14F-4D97-AF65-F5344CB8AC3E}">
        <p14:creationId xmlns:p14="http://schemas.microsoft.com/office/powerpoint/2010/main" val="8351815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v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2611832-3C57-EF4D-853F-C55BF68E8DC6}"/>
              </a:ext>
            </a:extLst>
          </p:cNvPr>
          <p:cNvSpPr>
            <a:spLocks noGrp="1"/>
          </p:cNvSpPr>
          <p:nvPr>
            <p:ph type="title" hasCustomPrompt="1"/>
          </p:nvPr>
        </p:nvSpPr>
        <p:spPr>
          <a:xfrm>
            <a:off x="6898195" y="2219327"/>
            <a:ext cx="3400089" cy="795876"/>
          </a:xfrm>
        </p:spPr>
        <p:txBody>
          <a:bodyPr anchor="t">
            <a:noAutofit/>
          </a:bodyPr>
          <a:lstStyle/>
          <a:p>
            <a:r>
              <a:rPr lang="en-US"/>
              <a:t>Agenda</a:t>
            </a:r>
          </a:p>
        </p:txBody>
      </p:sp>
      <p:sp>
        <p:nvSpPr>
          <p:cNvPr id="10" name="TextBox 9">
            <a:extLst>
              <a:ext uri="{FF2B5EF4-FFF2-40B4-BE49-F238E27FC236}">
                <a16:creationId xmlns:a16="http://schemas.microsoft.com/office/drawing/2014/main" id="{744C7778-6BD9-C94B-9E03-DAD41DF624C0}"/>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11" name="Graphic 10">
            <a:extLst>
              <a:ext uri="{FF2B5EF4-FFF2-40B4-BE49-F238E27FC236}">
                <a16:creationId xmlns:a16="http://schemas.microsoft.com/office/drawing/2014/main" id="{E242851E-9708-BB4F-B672-1048A85492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14" name="Rectangle">
            <a:extLst>
              <a:ext uri="{FF2B5EF4-FFF2-40B4-BE49-F238E27FC236}">
                <a16:creationId xmlns:a16="http://schemas.microsoft.com/office/drawing/2014/main" id="{7611ABB2-6638-514A-BB5A-A5C3945A6DDE}"/>
              </a:ext>
            </a:extLst>
          </p:cNvPr>
          <p:cNvSpPr/>
          <p:nvPr userDrawn="1"/>
        </p:nvSpPr>
        <p:spPr>
          <a:xfrm flipH="1">
            <a:off x="394" y="0"/>
            <a:ext cx="6095605" cy="6858000"/>
          </a:xfrm>
          <a:prstGeom prst="rect">
            <a:avLst/>
          </a:prstGeom>
          <a:solidFill>
            <a:srgbClr val="F6F6F6"/>
          </a:solidFill>
          <a:ln w="12700">
            <a:miter lim="400000"/>
          </a:ln>
        </p:spPr>
        <p:txBody>
          <a:bodyPr lIns="45716" rIns="45716" anchor="ctr"/>
          <a:lstStyle/>
          <a:p>
            <a:pPr>
              <a:defRPr>
                <a:solidFill>
                  <a:srgbClr val="1FA2DC"/>
                </a:solidFill>
              </a:defRPr>
            </a:pPr>
            <a:endParaRPr sz="3600">
              <a:latin typeface="Scotia Regular" panose="020B0503020203020204" pitchFamily="34" charset="0"/>
            </a:endParaRPr>
          </a:p>
        </p:txBody>
      </p:sp>
      <p:sp>
        <p:nvSpPr>
          <p:cNvPr id="3" name="Picture Placeholder 2">
            <a:extLst>
              <a:ext uri="{FF2B5EF4-FFF2-40B4-BE49-F238E27FC236}">
                <a16:creationId xmlns:a16="http://schemas.microsoft.com/office/drawing/2014/main" id="{14FDC2E6-C3FE-D74A-B8E3-E786F6745CCD}"/>
              </a:ext>
            </a:extLst>
          </p:cNvPr>
          <p:cNvSpPr>
            <a:spLocks noGrp="1"/>
          </p:cNvSpPr>
          <p:nvPr>
            <p:ph type="pic" sz="quarter" idx="10"/>
          </p:nvPr>
        </p:nvSpPr>
        <p:spPr>
          <a:xfrm>
            <a:off x="0" y="0"/>
            <a:ext cx="6096000" cy="6858000"/>
          </a:xfrm>
        </p:spPr>
        <p:txBody>
          <a:bodyPr anchor="ctr"/>
          <a:lstStyle>
            <a:lvl1pPr marL="0" indent="0" algn="ctr">
              <a:buNone/>
              <a:defRPr/>
            </a:lvl1pPr>
          </a:lstStyle>
          <a:p>
            <a:endParaRPr lang="en-CA"/>
          </a:p>
        </p:txBody>
      </p:sp>
      <p:sp>
        <p:nvSpPr>
          <p:cNvPr id="16" name="Text Placeholder 15">
            <a:extLst>
              <a:ext uri="{FF2B5EF4-FFF2-40B4-BE49-F238E27FC236}">
                <a16:creationId xmlns:a16="http://schemas.microsoft.com/office/drawing/2014/main" id="{998DE3D3-0450-CC4D-8E72-4DDA498C019C}"/>
              </a:ext>
            </a:extLst>
          </p:cNvPr>
          <p:cNvSpPr>
            <a:spLocks noGrp="1"/>
          </p:cNvSpPr>
          <p:nvPr>
            <p:ph type="body" sz="quarter" idx="11" hasCustomPrompt="1"/>
          </p:nvPr>
        </p:nvSpPr>
        <p:spPr>
          <a:xfrm>
            <a:off x="6897688" y="3109086"/>
            <a:ext cx="4579102" cy="2589213"/>
          </a:xfrm>
        </p:spPr>
        <p:txBody>
          <a:bodyPr>
            <a:noAutofit/>
          </a:bodyPr>
          <a:lstStyle>
            <a:lvl1pPr marL="342900" indent="-342900">
              <a:lnSpc>
                <a:spcPct val="120000"/>
              </a:lnSpc>
              <a:spcBef>
                <a:spcPts val="0"/>
              </a:spcBef>
              <a:spcAft>
                <a:spcPts val="1600"/>
              </a:spcAft>
              <a:buFont typeface="+mj-lt"/>
              <a:buAutoNum type="arabicPeriod"/>
              <a:defRPr sz="1600"/>
            </a:lvl1pPr>
            <a:lvl5pPr marL="2171700" indent="-342900">
              <a:buFont typeface="+mj-lt"/>
              <a:buAutoNum type="arabicPeriod"/>
              <a:defRPr/>
            </a:lvl5pPr>
          </a:lstStyle>
          <a:p>
            <a:pPr lvl="0"/>
            <a:r>
              <a:rPr lang="en-US" err="1"/>
              <a:t>Enim</a:t>
            </a:r>
            <a:r>
              <a:rPr lang="en-US"/>
              <a:t> </a:t>
            </a:r>
            <a:r>
              <a:rPr lang="en-US" err="1"/>
              <a:t>nec</a:t>
            </a:r>
            <a:r>
              <a:rPr lang="en-US"/>
              <a:t> dui </a:t>
            </a:r>
            <a:r>
              <a:rPr lang="en-US" err="1"/>
              <a:t>nunc</a:t>
            </a:r>
            <a:r>
              <a:rPr lang="en-US"/>
              <a:t> </a:t>
            </a:r>
            <a:r>
              <a:rPr lang="en-US" err="1"/>
              <a:t>mattis</a:t>
            </a:r>
            <a:r>
              <a:rPr lang="en-US"/>
              <a:t> </a:t>
            </a:r>
            <a:r>
              <a:rPr lang="en-US" err="1"/>
              <a:t>enim</a:t>
            </a:r>
            <a:r>
              <a:rPr lang="en-US"/>
              <a:t>. </a:t>
            </a:r>
          </a:p>
          <a:p>
            <a:pPr lvl="0"/>
            <a:r>
              <a:rPr lang="en-US" err="1"/>
              <a:t>Ultricies</a:t>
            </a:r>
            <a:r>
              <a:rPr lang="en-US"/>
              <a:t> mi </a:t>
            </a:r>
            <a:r>
              <a:rPr lang="en-US" err="1"/>
              <a:t>quis</a:t>
            </a:r>
            <a:r>
              <a:rPr lang="en-US"/>
              <a:t> </a:t>
            </a:r>
            <a:r>
              <a:rPr lang="en-US" err="1"/>
              <a:t>hendrerit</a:t>
            </a:r>
            <a:r>
              <a:rPr lang="en-US"/>
              <a:t> dolor magna </a:t>
            </a:r>
            <a:r>
              <a:rPr lang="en-US" err="1"/>
              <a:t>eget</a:t>
            </a:r>
            <a:r>
              <a:rPr lang="en-US"/>
              <a:t> </a:t>
            </a:r>
          </a:p>
          <a:p>
            <a:pPr lvl="0"/>
            <a:r>
              <a:rPr lang="en-US"/>
              <a:t>Id </a:t>
            </a:r>
            <a:r>
              <a:rPr lang="en-US" err="1"/>
              <a:t>donec</a:t>
            </a:r>
            <a:r>
              <a:rPr lang="en-US"/>
              <a:t> </a:t>
            </a:r>
            <a:r>
              <a:rPr lang="en-US" err="1"/>
              <a:t>ultrices</a:t>
            </a:r>
            <a:r>
              <a:rPr lang="en-US"/>
              <a:t> </a:t>
            </a:r>
            <a:r>
              <a:rPr lang="en-US" err="1"/>
              <a:t>tincidunt</a:t>
            </a:r>
            <a:r>
              <a:rPr lang="en-US"/>
              <a:t> </a:t>
            </a:r>
            <a:r>
              <a:rPr lang="en-US" err="1"/>
              <a:t>arcu</a:t>
            </a:r>
            <a:r>
              <a:rPr lang="en-US"/>
              <a:t> non. </a:t>
            </a:r>
          </a:p>
          <a:p>
            <a:pPr lvl="0"/>
            <a:r>
              <a:rPr lang="en-US"/>
              <a:t>Ut </a:t>
            </a:r>
            <a:r>
              <a:rPr lang="en-US" err="1"/>
              <a:t>faucibus</a:t>
            </a:r>
            <a:r>
              <a:rPr lang="en-US"/>
              <a:t> pulvinar </a:t>
            </a:r>
            <a:r>
              <a:rPr lang="en-US" err="1"/>
              <a:t>elementum</a:t>
            </a:r>
            <a:r>
              <a:rPr lang="en-US"/>
              <a:t> integer </a:t>
            </a:r>
            <a:r>
              <a:rPr lang="en-US" err="1"/>
              <a:t>enim</a:t>
            </a:r>
            <a:endParaRPr lang="en-US"/>
          </a:p>
          <a:p>
            <a:pPr lvl="0"/>
            <a:r>
              <a:rPr lang="en-US" err="1"/>
              <a:t>Odio</a:t>
            </a:r>
            <a:r>
              <a:rPr lang="en-US"/>
              <a:t> </a:t>
            </a:r>
            <a:r>
              <a:rPr lang="en-US" err="1"/>
              <a:t>tempor</a:t>
            </a:r>
            <a:r>
              <a:rPr lang="en-US"/>
              <a:t> </a:t>
            </a:r>
            <a:r>
              <a:rPr lang="en-US" err="1"/>
              <a:t>orci</a:t>
            </a:r>
            <a:r>
              <a:rPr lang="en-US"/>
              <a:t> </a:t>
            </a:r>
            <a:r>
              <a:rPr lang="en-US" err="1"/>
              <a:t>dapibus</a:t>
            </a:r>
            <a:r>
              <a:rPr lang="en-US"/>
              <a:t> </a:t>
            </a:r>
            <a:r>
              <a:rPr lang="en-US" err="1"/>
              <a:t>ultrices</a:t>
            </a:r>
            <a:r>
              <a:rPr lang="en-US"/>
              <a:t> in </a:t>
            </a:r>
            <a:r>
              <a:rPr lang="en-US" err="1"/>
              <a:t>iaculis</a:t>
            </a:r>
            <a:r>
              <a:rPr lang="en-US"/>
              <a:t> </a:t>
            </a:r>
            <a:r>
              <a:rPr lang="en-US" err="1"/>
              <a:t>nunc</a:t>
            </a:r>
            <a:r>
              <a:rPr lang="en-US"/>
              <a:t> sed </a:t>
            </a:r>
            <a:r>
              <a:rPr lang="en-US" err="1"/>
              <a:t>augue</a:t>
            </a:r>
            <a:r>
              <a:rPr lang="en-US"/>
              <a:t>. </a:t>
            </a:r>
          </a:p>
          <a:p>
            <a:pPr lvl="0"/>
            <a:endParaRPr lang="en-US"/>
          </a:p>
          <a:p>
            <a:pPr lvl="4"/>
            <a:endParaRPr lang="en-CA"/>
          </a:p>
        </p:txBody>
      </p:sp>
    </p:spTree>
    <p:extLst>
      <p:ext uri="{BB962C8B-B14F-4D97-AF65-F5344CB8AC3E}">
        <p14:creationId xmlns:p14="http://schemas.microsoft.com/office/powerpoint/2010/main" val="15745340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02887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with logo + page #">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Tree>
    <p:extLst>
      <p:ext uri="{BB962C8B-B14F-4D97-AF65-F5344CB8AC3E}">
        <p14:creationId xmlns:p14="http://schemas.microsoft.com/office/powerpoint/2010/main" val="19480344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lide title with logo + page # ">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8588013-BD5B-6B44-B067-A2FDD527F064}"/>
              </a:ext>
            </a:extLst>
          </p:cNvPr>
          <p:cNvSpPr txBox="1">
            <a:spLocks/>
          </p:cNvSpPr>
          <p:nvPr userDrawn="1"/>
        </p:nvSpPr>
        <p:spPr>
          <a:xfrm>
            <a:off x="11575702" y="332530"/>
            <a:ext cx="233506"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Bold"/>
                <a:ea typeface="Gotham Bold"/>
                <a:cs typeface="Gotham Bold"/>
                <a:sym typeface="Gotham"/>
              </a:defRPr>
            </a:lvl9pPr>
          </a:lstStyle>
          <a:p>
            <a:pPr algn="r"/>
            <a:fld id="{86CB4B4D-7CA3-9044-876B-883B54F8677D}" type="slidenum">
              <a:rPr lang="en-CA" sz="800" smtClean="0">
                <a:solidFill>
                  <a:schemeClr val="tx1"/>
                </a:solidFill>
                <a:latin typeface="Scotia" panose="020B0503020203020204" pitchFamily="34" charset="0"/>
              </a:rPr>
              <a:pPr algn="r"/>
              <a:t>‹#›</a:t>
            </a:fld>
            <a:endParaRPr lang="en-CA" sz="800">
              <a:solidFill>
                <a:schemeClr val="tx1"/>
              </a:solidFill>
              <a:latin typeface="Scotia" panose="020B0503020203020204" pitchFamily="34" charset="0"/>
            </a:endParaRPr>
          </a:p>
        </p:txBody>
      </p:sp>
      <p:pic>
        <p:nvPicPr>
          <p:cNvPr id="3" name="Graphic 2">
            <a:extLst>
              <a:ext uri="{FF2B5EF4-FFF2-40B4-BE49-F238E27FC236}">
                <a16:creationId xmlns:a16="http://schemas.microsoft.com/office/drawing/2014/main" id="{9D7326E6-22D6-8948-A5BD-95C05AC6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00288" y="6466685"/>
            <a:ext cx="391315" cy="391315"/>
          </a:xfrm>
          <a:prstGeom prst="rect">
            <a:avLst/>
          </a:prstGeom>
        </p:spPr>
      </p:pic>
      <p:sp>
        <p:nvSpPr>
          <p:cNvPr id="5" name="Text Placeholder 4">
            <a:extLst>
              <a:ext uri="{FF2B5EF4-FFF2-40B4-BE49-F238E27FC236}">
                <a16:creationId xmlns:a16="http://schemas.microsoft.com/office/drawing/2014/main" id="{ABB5B43B-1080-FA4C-B1D7-BBF7378FE498}"/>
              </a:ext>
            </a:extLst>
          </p:cNvPr>
          <p:cNvSpPr>
            <a:spLocks noGrp="1"/>
          </p:cNvSpPr>
          <p:nvPr>
            <p:ph type="body" sz="quarter" idx="10" hasCustomPrompt="1"/>
          </p:nvPr>
        </p:nvSpPr>
        <p:spPr>
          <a:xfrm>
            <a:off x="7607300" y="367114"/>
            <a:ext cx="3797300" cy="111610"/>
          </a:xfrm>
        </p:spPr>
        <p:txBody>
          <a:bodyPr>
            <a:noAutofit/>
          </a:bodyPr>
          <a:lstStyle>
            <a:lvl1pPr marL="0" indent="0" algn="r">
              <a:buNone/>
              <a:defRPr sz="800" cap="all" spc="50" baseline="0">
                <a:latin typeface="+mn-lt"/>
              </a:defRPr>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a:t>01 Section header</a:t>
            </a:r>
            <a:endParaRPr lang="en-CA"/>
          </a:p>
        </p:txBody>
      </p:sp>
      <p:sp>
        <p:nvSpPr>
          <p:cNvPr id="6" name="Title 1">
            <a:extLst>
              <a:ext uri="{FF2B5EF4-FFF2-40B4-BE49-F238E27FC236}">
                <a16:creationId xmlns:a16="http://schemas.microsoft.com/office/drawing/2014/main" id="{A7AC751A-AFB2-FE4E-A7F7-93515D224B92}"/>
              </a:ext>
            </a:extLst>
          </p:cNvPr>
          <p:cNvSpPr>
            <a:spLocks noGrp="1"/>
          </p:cNvSpPr>
          <p:nvPr>
            <p:ph type="title" hasCustomPrompt="1"/>
          </p:nvPr>
        </p:nvSpPr>
        <p:spPr>
          <a:xfrm>
            <a:off x="467422" y="816110"/>
            <a:ext cx="10937178" cy="530090"/>
          </a:xfrm>
        </p:spPr>
        <p:txBody>
          <a:bodyPr anchor="t">
            <a:noAutofit/>
          </a:bodyPr>
          <a:lstStyle>
            <a:lvl1pPr>
              <a:defRPr>
                <a:solidFill>
                  <a:schemeClr val="tx1"/>
                </a:solidFill>
              </a:defRPr>
            </a:lvl1pPr>
          </a:lstStyle>
          <a:p>
            <a:r>
              <a:rPr lang="en-US"/>
              <a:t>Slide title</a:t>
            </a:r>
          </a:p>
        </p:txBody>
      </p:sp>
      <p:sp>
        <p:nvSpPr>
          <p:cNvPr id="7" name="Text Placeholder 2">
            <a:extLst>
              <a:ext uri="{FF2B5EF4-FFF2-40B4-BE49-F238E27FC236}">
                <a16:creationId xmlns:a16="http://schemas.microsoft.com/office/drawing/2014/main" id="{373D12B5-11A4-8D40-933B-77D3B5369B0A}"/>
              </a:ext>
            </a:extLst>
          </p:cNvPr>
          <p:cNvSpPr>
            <a:spLocks noGrp="1"/>
          </p:cNvSpPr>
          <p:nvPr>
            <p:ph type="body" sz="quarter" idx="23" hasCustomPrompt="1"/>
          </p:nvPr>
        </p:nvSpPr>
        <p:spPr>
          <a:xfrm>
            <a:off x="471050" y="1389073"/>
            <a:ext cx="10933549" cy="384336"/>
          </a:xfrm>
        </p:spPr>
        <p:txBody>
          <a:bodyPr>
            <a:noAutofit/>
          </a:bodyPr>
          <a:lstStyle>
            <a:lvl1pPr marL="0" indent="0">
              <a:lnSpc>
                <a:spcPct val="110000"/>
              </a:lnSpc>
              <a:spcBef>
                <a:spcPts val="0"/>
              </a:spcBef>
              <a:spcAft>
                <a:spcPts val="1600"/>
              </a:spcAft>
              <a:buFont typeface="Arial" panose="020B0604020202020204" pitchFamily="34" charset="0"/>
              <a:buNone/>
              <a:defRPr sz="2400">
                <a:solidFill>
                  <a:srgbClr val="333333"/>
                </a:solidFill>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Important subheading goes here:</a:t>
            </a:r>
          </a:p>
        </p:txBody>
      </p:sp>
    </p:spTree>
    <p:extLst>
      <p:ext uri="{BB962C8B-B14F-4D97-AF65-F5344CB8AC3E}">
        <p14:creationId xmlns:p14="http://schemas.microsoft.com/office/powerpoint/2010/main" val="252528830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pter Title - Colour">
    <p:bg>
      <p:bgPr>
        <a:solidFill>
          <a:schemeClr val="accent6"/>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55E712C-73F7-894E-A37D-02C55456A67D}"/>
              </a:ext>
            </a:extLst>
          </p:cNvPr>
          <p:cNvSpPr>
            <a:spLocks noGrp="1"/>
          </p:cNvSpPr>
          <p:nvPr>
            <p:ph type="body" sz="quarter" idx="10" hasCustomPrompt="1"/>
          </p:nvPr>
        </p:nvSpPr>
        <p:spPr>
          <a:xfrm>
            <a:off x="622300" y="1777428"/>
            <a:ext cx="1193800" cy="455509"/>
          </a:xfrm>
          <a:ln w="12700">
            <a:miter lim="400000"/>
          </a:ln>
        </p:spPr>
        <p:txBody>
          <a:bodyPr wrap="square" lIns="0" tIns="0" rIns="0" bIns="0">
            <a:noAutofit/>
          </a:bodyPr>
          <a:lstStyle>
            <a:lvl1pPr marL="0" indent="0">
              <a:buNone/>
              <a:defRPr lang="en-US" sz="3200" smtClean="0">
                <a:solidFill>
                  <a:schemeClr val="bg1"/>
                </a:solidFill>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01</a:t>
            </a: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622300" y="2372518"/>
            <a:ext cx="7296404" cy="2074222"/>
          </a:xfrm>
        </p:spPr>
        <p:txBody>
          <a:bodyPr anchor="t">
            <a:noAutofit/>
          </a:bodyPr>
          <a:lstStyle>
            <a:lvl1pPr>
              <a:defRPr lang="es-ES_tradnl" sz="7500" b="1" kern="1200" dirty="0">
                <a:solidFill>
                  <a:schemeClr val="bg1"/>
                </a:solidFill>
                <a:latin typeface="Scotia Headline"/>
                <a:ea typeface="Gilroy ExtraBold Italic"/>
                <a:cs typeface="Gilroy ExtraBold Italic"/>
              </a:defRPr>
            </a:lvl1pPr>
          </a:lstStyle>
          <a:p>
            <a:r>
              <a:rPr lang="en-US"/>
              <a:t>Section title</a:t>
            </a:r>
            <a:endParaRPr lang="es-ES_tradnl"/>
          </a:p>
        </p:txBody>
      </p:sp>
    </p:spTree>
    <p:extLst>
      <p:ext uri="{BB962C8B-B14F-4D97-AF65-F5344CB8AC3E}">
        <p14:creationId xmlns:p14="http://schemas.microsoft.com/office/powerpoint/2010/main" val="24688853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hapter Title - Colour">
    <p:bg>
      <p:bgPr>
        <a:solidFill>
          <a:schemeClr val="accent3"/>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55E712C-73F7-894E-A37D-02C55456A67D}"/>
              </a:ext>
            </a:extLst>
          </p:cNvPr>
          <p:cNvSpPr>
            <a:spLocks noGrp="1"/>
          </p:cNvSpPr>
          <p:nvPr>
            <p:ph type="body" sz="quarter" idx="10" hasCustomPrompt="1"/>
          </p:nvPr>
        </p:nvSpPr>
        <p:spPr>
          <a:xfrm>
            <a:off x="5499100" y="2170339"/>
            <a:ext cx="1193800" cy="455509"/>
          </a:xfrm>
          <a:ln w="12700">
            <a:miter lim="400000"/>
          </a:ln>
        </p:spPr>
        <p:txBody>
          <a:bodyPr wrap="square" lIns="0" tIns="0" rIns="0" bIns="0">
            <a:noAutofit/>
          </a:bodyPr>
          <a:lstStyle>
            <a:lvl1pPr marL="0" indent="0" algn="ctr">
              <a:buNone/>
              <a:defRPr lang="en-US" sz="4000" smtClean="0">
                <a:solidFill>
                  <a:schemeClr val="bg1"/>
                </a:solidFill>
                <a:ea typeface="Gilroy ExtraBold Italic"/>
                <a:cs typeface="Gilroy ExtraBold Italic"/>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s-ES_tradnl" sz="1800">
                <a:latin typeface="+mn-lt"/>
              </a:defRPr>
            </a:lvl5pPr>
          </a:lstStyle>
          <a:p>
            <a:pPr marL="0" lvl="0"/>
            <a:r>
              <a:rPr lang="en-US"/>
              <a:t>01</a:t>
            </a:r>
          </a:p>
        </p:txBody>
      </p:sp>
      <p:sp>
        <p:nvSpPr>
          <p:cNvPr id="6" name="Title 1">
            <a:extLst>
              <a:ext uri="{FF2B5EF4-FFF2-40B4-BE49-F238E27FC236}">
                <a16:creationId xmlns:a16="http://schemas.microsoft.com/office/drawing/2014/main" id="{DB2E2B1F-EED5-1A4A-A753-1F1D3D966F09}"/>
              </a:ext>
            </a:extLst>
          </p:cNvPr>
          <p:cNvSpPr>
            <a:spLocks noGrp="1"/>
          </p:cNvSpPr>
          <p:nvPr>
            <p:ph type="title" hasCustomPrompt="1"/>
          </p:nvPr>
        </p:nvSpPr>
        <p:spPr>
          <a:xfrm>
            <a:off x="2447798" y="2965269"/>
            <a:ext cx="7296404" cy="2074222"/>
          </a:xfrm>
        </p:spPr>
        <p:txBody>
          <a:bodyPr anchor="t">
            <a:noAutofit/>
          </a:bodyPr>
          <a:lstStyle>
            <a:lvl1pPr algn="ctr">
              <a:defRPr lang="es-ES_tradnl" sz="6000" b="1" kern="1200" dirty="0">
                <a:solidFill>
                  <a:schemeClr val="bg1"/>
                </a:solidFill>
                <a:latin typeface="Scotia Headline"/>
                <a:ea typeface="Gilroy ExtraBold Italic"/>
                <a:cs typeface="Gilroy ExtraBold Italic"/>
              </a:defRPr>
            </a:lvl1pPr>
          </a:lstStyle>
          <a:p>
            <a:r>
              <a:rPr lang="en-US"/>
              <a:t>Section title </a:t>
            </a:r>
            <a:br>
              <a:rPr lang="en-US"/>
            </a:br>
            <a:r>
              <a:rPr lang="en-US"/>
              <a:t>on two lines</a:t>
            </a:r>
            <a:endParaRPr lang="es-ES_tradnl"/>
          </a:p>
        </p:txBody>
      </p:sp>
    </p:spTree>
    <p:extLst>
      <p:ext uri="{BB962C8B-B14F-4D97-AF65-F5344CB8AC3E}">
        <p14:creationId xmlns:p14="http://schemas.microsoft.com/office/powerpoint/2010/main" val="3850580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theme" Target="../theme/theme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4.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47" Type="http://schemas.openxmlformats.org/officeDocument/2006/relationships/slideLayout" Target="../slideLayouts/slideLayout131.xml"/><Relationship Id="rId50" Type="http://schemas.openxmlformats.org/officeDocument/2006/relationships/slideLayout" Target="../slideLayouts/slideLayout134.xml"/><Relationship Id="rId55" Type="http://schemas.openxmlformats.org/officeDocument/2006/relationships/slideLayout" Target="../slideLayouts/slideLayout139.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9" Type="http://schemas.openxmlformats.org/officeDocument/2006/relationships/slideLayout" Target="../slideLayouts/slideLayout113.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53" Type="http://schemas.openxmlformats.org/officeDocument/2006/relationships/slideLayout" Target="../slideLayouts/slideLayout137.xml"/><Relationship Id="rId58" Type="http://schemas.openxmlformats.org/officeDocument/2006/relationships/slideLayout" Target="../slideLayouts/slideLayout142.xml"/><Relationship Id="rId5" Type="http://schemas.openxmlformats.org/officeDocument/2006/relationships/slideLayout" Target="../slideLayouts/slideLayout89.xml"/><Relationship Id="rId61" Type="http://schemas.openxmlformats.org/officeDocument/2006/relationships/theme" Target="../theme/theme5.xml"/><Relationship Id="rId19" Type="http://schemas.openxmlformats.org/officeDocument/2006/relationships/slideLayout" Target="../slideLayouts/slideLayout10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 Id="rId48" Type="http://schemas.openxmlformats.org/officeDocument/2006/relationships/slideLayout" Target="../slideLayouts/slideLayout132.xml"/><Relationship Id="rId56" Type="http://schemas.openxmlformats.org/officeDocument/2006/relationships/slideLayout" Target="../slideLayouts/slideLayout140.xml"/><Relationship Id="rId8" Type="http://schemas.openxmlformats.org/officeDocument/2006/relationships/slideLayout" Target="../slideLayouts/slideLayout92.xml"/><Relationship Id="rId51" Type="http://schemas.openxmlformats.org/officeDocument/2006/relationships/slideLayout" Target="../slideLayouts/slideLayout135.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slideLayout" Target="../slideLayouts/slideLayout130.xml"/><Relationship Id="rId59" Type="http://schemas.openxmlformats.org/officeDocument/2006/relationships/slideLayout" Target="../slideLayouts/slideLayout143.xml"/><Relationship Id="rId20" Type="http://schemas.openxmlformats.org/officeDocument/2006/relationships/slideLayout" Target="../slideLayouts/slideLayout104.xml"/><Relationship Id="rId41" Type="http://schemas.openxmlformats.org/officeDocument/2006/relationships/slideLayout" Target="../slideLayouts/slideLayout125.xml"/><Relationship Id="rId54" Type="http://schemas.openxmlformats.org/officeDocument/2006/relationships/slideLayout" Target="../slideLayouts/slideLayout138.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slideLayout" Target="../slideLayouts/slideLayout133.xml"/><Relationship Id="rId57" Type="http://schemas.openxmlformats.org/officeDocument/2006/relationships/slideLayout" Target="../slideLayouts/slideLayout141.xml"/><Relationship Id="rId10" Type="http://schemas.openxmlformats.org/officeDocument/2006/relationships/slideLayout" Target="../slideLayouts/slideLayout94.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52" Type="http://schemas.openxmlformats.org/officeDocument/2006/relationships/slideLayout" Target="../slideLayouts/slideLayout136.xml"/><Relationship Id="rId60" Type="http://schemas.openxmlformats.org/officeDocument/2006/relationships/slideLayout" Target="../slideLayouts/slideLayout14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511360"/>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5" r:id="rId3"/>
    <p:sldLayoutId id="2147483680" r:id="rId4"/>
    <p:sldLayoutId id="2147483681" r:id="rId5"/>
    <p:sldLayoutId id="2147483682" r:id="rId6"/>
    <p:sldLayoutId id="2147483825" r:id="rId7"/>
  </p:sldLayoutIdLst>
  <p:txStyles>
    <p:titleStyle>
      <a:lvl1pPr algn="l" defTabSz="914400" rtl="0" eaLnBrk="1" latinLnBrk="0" hangingPunct="1">
        <a:lnSpc>
          <a:spcPct val="90000"/>
        </a:lnSpc>
        <a:spcBef>
          <a:spcPct val="0"/>
        </a:spcBef>
        <a:buNone/>
        <a:defRPr sz="4400" b="0" i="0" kern="1200">
          <a:solidFill>
            <a:schemeClr val="tx1"/>
          </a:solidFill>
          <a:latin typeface="Scotia Regular" panose="020B0503020203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cotia Regular" panose="020B0503020203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cotia Regular" panose="020B0503020203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cotia Regular" panose="020B0503020203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cotia Regular" panose="020B0503020203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cotia Regular" panose="020B05030202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8E47FCBB-0E56-5A42-A87E-CE53267A6FB4}"/>
              </a:ext>
            </a:extLst>
          </p:cNvPr>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10509954" y="6569429"/>
            <a:ext cx="1546577" cy="254703"/>
          </a:xfrm>
          <a:prstGeom prst="rect">
            <a:avLst/>
          </a:prstGeom>
        </p:spPr>
      </p:pic>
    </p:spTree>
    <p:extLst>
      <p:ext uri="{BB962C8B-B14F-4D97-AF65-F5344CB8AC3E}">
        <p14:creationId xmlns:p14="http://schemas.microsoft.com/office/powerpoint/2010/main" val="326906822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ftr="0" dt="0"/>
  <p:txStyles>
    <p:titleStyle>
      <a:lvl1pPr algn="l" defTabSz="685766" rtl="0" eaLnBrk="1" latinLnBrk="0" hangingPunct="1">
        <a:lnSpc>
          <a:spcPct val="90000"/>
        </a:lnSpc>
        <a:spcBef>
          <a:spcPct val="0"/>
        </a:spcBef>
        <a:buNone/>
        <a:defRPr sz="3300" b="1" i="0" kern="1200">
          <a:solidFill>
            <a:schemeClr val="tx1"/>
          </a:solidFill>
          <a:latin typeface="Scotia Headline" panose="020B0503020203020204" pitchFamily="34" charset="0"/>
          <a:ea typeface="+mj-ea"/>
          <a:cs typeface="+mj-cs"/>
        </a:defRPr>
      </a:lvl1pPr>
    </p:titleStyle>
    <p:bodyStyle>
      <a:lvl1pPr marL="171441" indent="-171441" algn="l" defTabSz="685766" rtl="0" eaLnBrk="1" latinLnBrk="0" hangingPunct="1">
        <a:lnSpc>
          <a:spcPct val="90000"/>
        </a:lnSpc>
        <a:spcBef>
          <a:spcPts val="750"/>
        </a:spcBef>
        <a:buFont typeface="Arial" panose="020B0604020202020204" pitchFamily="34" charset="0"/>
        <a:buChar char="•"/>
        <a:defRPr sz="2100" b="1" kern="1200">
          <a:solidFill>
            <a:schemeClr val="tx1"/>
          </a:solidFill>
          <a:latin typeface="Scotia" panose="020B0503020203020204" pitchFamily="34" charset="0"/>
          <a:ea typeface="+mn-ea"/>
          <a:cs typeface="+mn-cs"/>
        </a:defRPr>
      </a:lvl1pPr>
      <a:lvl2pPr marL="514324" indent="-171441"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Scotia" panose="020B0503020203020204" pitchFamily="34" charset="0"/>
          <a:ea typeface="+mn-ea"/>
          <a:cs typeface="+mn-cs"/>
        </a:defRPr>
      </a:lvl2pPr>
      <a:lvl3pPr marL="857207" indent="-171441"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Scotia" panose="020B0503020203020204" pitchFamily="34" charset="0"/>
          <a:ea typeface="+mn-ea"/>
          <a:cs typeface="+mn-cs"/>
        </a:defRPr>
      </a:lvl3pPr>
      <a:lvl4pPr marL="1200090" indent="-171441"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Scotia" panose="020B0503020203020204" pitchFamily="34" charset="0"/>
          <a:ea typeface="+mn-ea"/>
          <a:cs typeface="+mn-cs"/>
        </a:defRPr>
      </a:lvl4pPr>
      <a:lvl5pPr marL="1542973" indent="-171441"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Scotia" panose="020B0503020203020204" pitchFamily="34" charset="0"/>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3"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1" algn="l" defTabSz="685766" rtl="0" eaLnBrk="1" latinLnBrk="0" hangingPunct="1">
        <a:defRPr sz="1350" kern="1200">
          <a:solidFill>
            <a:schemeClr val="tx1"/>
          </a:solidFill>
          <a:latin typeface="+mn-lt"/>
          <a:ea typeface="+mn-ea"/>
          <a:cs typeface="+mn-cs"/>
        </a:defRPr>
      </a:lvl5pPr>
      <a:lvl6pPr marL="1714414"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3" algn="l" defTabSz="685766"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475C52-A2BD-AE43-87D5-3AB2EDFBFCAC}"/>
              </a:ext>
            </a:extLst>
          </p:cNvPr>
          <p:cNvSpPr>
            <a:spLocks noGrp="1"/>
          </p:cNvSpPr>
          <p:nvPr>
            <p:ph type="title"/>
          </p:nvPr>
        </p:nvSpPr>
        <p:spPr>
          <a:xfrm>
            <a:off x="467422" y="866042"/>
            <a:ext cx="11319766" cy="938701"/>
          </a:xfrm>
          <a:prstGeom prst="rect">
            <a:avLst/>
          </a:prstGeom>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5A6C0038-CF7B-094E-AC83-F67CE6027FAB}"/>
              </a:ext>
            </a:extLst>
          </p:cNvPr>
          <p:cNvSpPr>
            <a:spLocks noGrp="1"/>
          </p:cNvSpPr>
          <p:nvPr>
            <p:ph type="body" idx="1"/>
          </p:nvPr>
        </p:nvSpPr>
        <p:spPr>
          <a:xfrm>
            <a:off x="467422" y="2173495"/>
            <a:ext cx="11319766"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00853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 id="2147483733" r:id="rId36"/>
    <p:sldLayoutId id="2147483734" r:id="rId37"/>
    <p:sldLayoutId id="2147483735" r:id="rId38"/>
    <p:sldLayoutId id="2147483736" r:id="rId39"/>
    <p:sldLayoutId id="2147483737" r:id="rId40"/>
    <p:sldLayoutId id="2147483738" r:id="rId41"/>
    <p:sldLayoutId id="2147483739" r:id="rId42"/>
    <p:sldLayoutId id="2147483740" r:id="rId43"/>
    <p:sldLayoutId id="2147483741" r:id="rId44"/>
    <p:sldLayoutId id="2147483742" r:id="rId45"/>
    <p:sldLayoutId id="2147483743" r:id="rId46"/>
    <p:sldLayoutId id="2147483744" r:id="rId47"/>
    <p:sldLayoutId id="2147483745" r:id="rId48"/>
    <p:sldLayoutId id="2147483746" r:id="rId49"/>
    <p:sldLayoutId id="2147483747" r:id="rId50"/>
    <p:sldLayoutId id="2147483748" r:id="rId51"/>
    <p:sldLayoutId id="2147483749" r:id="rId52"/>
    <p:sldLayoutId id="2147483824" r:id="rId53"/>
  </p:sldLayoutIdLst>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186556"/>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355" rtl="0" eaLnBrk="1" latinLnBrk="0" hangingPunct="1">
        <a:lnSpc>
          <a:spcPct val="90000"/>
        </a:lnSpc>
        <a:spcBef>
          <a:spcPct val="0"/>
        </a:spcBef>
        <a:buNone/>
        <a:defRPr sz="4400" b="1" i="0" kern="1200">
          <a:solidFill>
            <a:schemeClr val="tx1"/>
          </a:solidFill>
          <a:latin typeface="Scotia Headline" panose="020B0503020203020204" pitchFamily="34" charset="0"/>
          <a:ea typeface="+mj-ea"/>
          <a:cs typeface="+mj-cs"/>
        </a:defRPr>
      </a:lvl1pPr>
    </p:titleStyle>
    <p:bodyStyle>
      <a:lvl1pPr marL="228589" indent="-228589" algn="l" defTabSz="914355" rtl="0" eaLnBrk="1" latinLnBrk="0" hangingPunct="1">
        <a:lnSpc>
          <a:spcPct val="90000"/>
        </a:lnSpc>
        <a:spcBef>
          <a:spcPts val="1000"/>
        </a:spcBef>
        <a:buFont typeface="Arial" panose="020B0604020202020204" pitchFamily="34" charset="0"/>
        <a:buChar char="•"/>
        <a:defRPr sz="2800" b="1" kern="1200">
          <a:solidFill>
            <a:schemeClr val="tx1"/>
          </a:solidFill>
          <a:latin typeface="Scotia" panose="020B0503020203020204" pitchFamily="34" charset="0"/>
          <a:ea typeface="+mn-ea"/>
          <a:cs typeface="+mn-cs"/>
        </a:defRPr>
      </a:lvl1pPr>
      <a:lvl2pPr marL="685766" indent="-228589" algn="l" defTabSz="914355" rtl="0" eaLnBrk="1" latinLnBrk="0" hangingPunct="1">
        <a:lnSpc>
          <a:spcPct val="90000"/>
        </a:lnSpc>
        <a:spcBef>
          <a:spcPts val="500"/>
        </a:spcBef>
        <a:buFont typeface="Arial" panose="020B0604020202020204" pitchFamily="34" charset="0"/>
        <a:buChar char="•"/>
        <a:defRPr sz="2400" kern="1200">
          <a:solidFill>
            <a:schemeClr val="tx1"/>
          </a:solidFill>
          <a:latin typeface="Scotia" panose="020B0503020203020204" pitchFamily="34" charset="0"/>
          <a:ea typeface="+mn-ea"/>
          <a:cs typeface="+mn-cs"/>
        </a:defRPr>
      </a:lvl2pPr>
      <a:lvl3pPr marL="1142943" indent="-228589" algn="l" defTabSz="914355" rtl="0" eaLnBrk="1" latinLnBrk="0" hangingPunct="1">
        <a:lnSpc>
          <a:spcPct val="90000"/>
        </a:lnSpc>
        <a:spcBef>
          <a:spcPts val="500"/>
        </a:spcBef>
        <a:buFont typeface="Arial" panose="020B0604020202020204" pitchFamily="34" charset="0"/>
        <a:buChar char="•"/>
        <a:defRPr sz="2000" kern="1200">
          <a:solidFill>
            <a:schemeClr val="tx1"/>
          </a:solidFill>
          <a:latin typeface="Scotia" panose="020B0503020203020204" pitchFamily="34" charset="0"/>
          <a:ea typeface="+mn-ea"/>
          <a:cs typeface="+mn-cs"/>
        </a:defRPr>
      </a:lvl3pPr>
      <a:lvl4pPr marL="1600120" indent="-228589" algn="l" defTabSz="914355" rtl="0" eaLnBrk="1" latinLnBrk="0" hangingPunct="1">
        <a:lnSpc>
          <a:spcPct val="90000"/>
        </a:lnSpc>
        <a:spcBef>
          <a:spcPts val="500"/>
        </a:spcBef>
        <a:buFont typeface="Arial" panose="020B0604020202020204" pitchFamily="34" charset="0"/>
        <a:buChar char="•"/>
        <a:defRPr sz="1600" kern="1200">
          <a:solidFill>
            <a:schemeClr val="tx1"/>
          </a:solidFill>
          <a:latin typeface="Scotia" panose="020B0503020203020204" pitchFamily="34" charset="0"/>
          <a:ea typeface="+mn-ea"/>
          <a:cs typeface="+mn-cs"/>
        </a:defRPr>
      </a:lvl4pPr>
      <a:lvl5pPr marL="2057297" indent="-228589" algn="l" defTabSz="914355" rtl="0" eaLnBrk="1" latinLnBrk="0" hangingPunct="1">
        <a:lnSpc>
          <a:spcPct val="90000"/>
        </a:lnSpc>
        <a:spcBef>
          <a:spcPts val="500"/>
        </a:spcBef>
        <a:buFont typeface="Arial" panose="020B0604020202020204" pitchFamily="34" charset="0"/>
        <a:buChar char="•"/>
        <a:defRPr sz="1400" kern="1200">
          <a:solidFill>
            <a:schemeClr val="tx1"/>
          </a:solidFill>
          <a:latin typeface="Scotia" panose="020B0503020203020204" pitchFamily="34" charset="0"/>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475C52-A2BD-AE43-87D5-3AB2EDFBFCAC}"/>
              </a:ext>
            </a:extLst>
          </p:cNvPr>
          <p:cNvSpPr>
            <a:spLocks noGrp="1"/>
          </p:cNvSpPr>
          <p:nvPr>
            <p:ph type="title"/>
          </p:nvPr>
        </p:nvSpPr>
        <p:spPr>
          <a:xfrm>
            <a:off x="467422" y="866042"/>
            <a:ext cx="11319766" cy="938701"/>
          </a:xfrm>
          <a:prstGeom prst="rect">
            <a:avLst/>
          </a:prstGeom>
        </p:spPr>
        <p:txBody>
          <a:bodyPr vert="horz" lIns="0" tIns="0" rIns="0" bIns="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5A6C0038-CF7B-094E-AC83-F67CE6027FAB}"/>
              </a:ext>
            </a:extLst>
          </p:cNvPr>
          <p:cNvSpPr>
            <a:spLocks noGrp="1"/>
          </p:cNvSpPr>
          <p:nvPr>
            <p:ph type="body" idx="1"/>
          </p:nvPr>
        </p:nvSpPr>
        <p:spPr>
          <a:xfrm>
            <a:off x="467422" y="2173495"/>
            <a:ext cx="11319766"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809755"/>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 id="2147483795" r:id="rId32"/>
    <p:sldLayoutId id="2147483796" r:id="rId33"/>
    <p:sldLayoutId id="2147483797" r:id="rId34"/>
    <p:sldLayoutId id="2147483798" r:id="rId35"/>
    <p:sldLayoutId id="2147483799" r:id="rId36"/>
    <p:sldLayoutId id="2147483800" r:id="rId37"/>
    <p:sldLayoutId id="2147483801" r:id="rId38"/>
    <p:sldLayoutId id="2147483802" r:id="rId39"/>
    <p:sldLayoutId id="2147483803" r:id="rId40"/>
    <p:sldLayoutId id="2147483804" r:id="rId41"/>
    <p:sldLayoutId id="2147483805" r:id="rId42"/>
    <p:sldLayoutId id="2147483806" r:id="rId43"/>
    <p:sldLayoutId id="2147483807" r:id="rId44"/>
    <p:sldLayoutId id="2147483808" r:id="rId45"/>
    <p:sldLayoutId id="2147483809" r:id="rId46"/>
    <p:sldLayoutId id="2147483810" r:id="rId47"/>
    <p:sldLayoutId id="2147483811" r:id="rId48"/>
    <p:sldLayoutId id="2147483812" r:id="rId49"/>
    <p:sldLayoutId id="2147483813" r:id="rId50"/>
    <p:sldLayoutId id="2147483814" r:id="rId51"/>
    <p:sldLayoutId id="2147483815" r:id="rId52"/>
    <p:sldLayoutId id="2147483816" r:id="rId53"/>
    <p:sldLayoutId id="2147483817" r:id="rId54"/>
    <p:sldLayoutId id="2147483818" r:id="rId55"/>
    <p:sldLayoutId id="2147483819" r:id="rId56"/>
    <p:sldLayoutId id="2147483820" r:id="rId57"/>
    <p:sldLayoutId id="2147483821" r:id="rId58"/>
    <p:sldLayoutId id="2147483822" r:id="rId59"/>
    <p:sldLayoutId id="2147483823" r:id="rId60"/>
  </p:sldLayoutIdLst>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1.xml"/><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emf"/><Relationship Id="rId10" Type="http://schemas.openxmlformats.org/officeDocument/2006/relationships/image" Target="../media/image34.png"/><Relationship Id="rId4" Type="http://schemas.openxmlformats.org/officeDocument/2006/relationships/oleObject" Target="../embeddings/oleObject2.bin"/><Relationship Id="rId9" Type="http://schemas.openxmlformats.org/officeDocument/2006/relationships/image" Target="../media/image33.jpeg"/></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39.sv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xml"/><Relationship Id="rId1" Type="http://schemas.openxmlformats.org/officeDocument/2006/relationships/slideLayout" Target="../slideLayouts/slideLayout83.xml"/><Relationship Id="rId5" Type="http://schemas.openxmlformats.org/officeDocument/2006/relationships/image" Target="../media/image23.png"/><Relationship Id="rId4" Type="http://schemas.openxmlformats.org/officeDocument/2006/relationships/image" Target="../media/image22.tiff"/></Relationships>
</file>

<file path=ppt/slides/_rels/slide2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23.png"/><Relationship Id="rId7"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48.jpe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118.xml"/><Relationship Id="rId5" Type="http://schemas.openxmlformats.org/officeDocument/2006/relationships/image" Target="../media/image23.png"/><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124.xml"/><Relationship Id="rId4" Type="http://schemas.openxmlformats.org/officeDocument/2006/relationships/image" Target="../media/image23.png"/></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24.xml"/><Relationship Id="rId4" Type="http://schemas.openxmlformats.org/officeDocument/2006/relationships/image" Target="../media/image48.jpeg"/></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128.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128.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31.xml"/><Relationship Id="rId5" Type="http://schemas.openxmlformats.org/officeDocument/2006/relationships/image" Target="../media/image23.png"/><Relationship Id="rId4" Type="http://schemas.openxmlformats.org/officeDocument/2006/relationships/image" Target="../media/image52.svg"/></Relationships>
</file>

<file path=ppt/slides/_rels/slide31.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jpeg"/><Relationship Id="rId7"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143.xml"/><Relationship Id="rId6" Type="http://schemas.openxmlformats.org/officeDocument/2006/relationships/image" Target="../media/image23.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8.png"/></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9.png"/><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2.xml"/><Relationship Id="rId1" Type="http://schemas.openxmlformats.org/officeDocument/2006/relationships/slideLayout" Target="../slideLayouts/slideLayout143.xml"/><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4.png"/><Relationship Id="rId1" Type="http://schemas.openxmlformats.org/officeDocument/2006/relationships/slideLayout" Target="../slideLayouts/slideLayout143.xml"/></Relationships>
</file>

<file path=ppt/slides/_rels/slide3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3.xml"/><Relationship Id="rId1" Type="http://schemas.openxmlformats.org/officeDocument/2006/relationships/slideLayout" Target="../slideLayouts/slideLayout143.xml"/><Relationship Id="rId4" Type="http://schemas.openxmlformats.org/officeDocument/2006/relationships/image" Target="../media/image23.png"/></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2.png"/><Relationship Id="rId1" Type="http://schemas.openxmlformats.org/officeDocument/2006/relationships/slideLayout" Target="../slideLayouts/slideLayout143.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4.xml"/><Relationship Id="rId1" Type="http://schemas.openxmlformats.org/officeDocument/2006/relationships/slideLayout" Target="../slideLayouts/slideLayout144.xml"/><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4.png"/><Relationship Id="rId1" Type="http://schemas.openxmlformats.org/officeDocument/2006/relationships/slideLayout" Target="../slideLayouts/slideLayout143.xml"/></Relationships>
</file>

<file path=ppt/slides/_rels/slide3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5.xml"/><Relationship Id="rId1" Type="http://schemas.openxmlformats.org/officeDocument/2006/relationships/slideLayout" Target="../slideLayouts/slideLayout143.xml"/><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3.xml"/><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72.xml"/><Relationship Id="rId7" Type="http://schemas.openxmlformats.org/officeDocument/2006/relationships/image" Target="../media/image2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72.xml"/><Relationship Id="rId5" Type="http://schemas.openxmlformats.org/officeDocument/2006/relationships/image" Target="../media/image23.pn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63.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6">
            <a:extLst>
              <a:ext uri="{FF2B5EF4-FFF2-40B4-BE49-F238E27FC236}">
                <a16:creationId xmlns:a16="http://schemas.microsoft.com/office/drawing/2014/main" id="{C41934B6-418D-944D-A11E-C932DDFAF0B6}"/>
              </a:ext>
            </a:extLst>
          </p:cNvPr>
          <p:cNvSpPr txBox="1"/>
          <p:nvPr/>
        </p:nvSpPr>
        <p:spPr>
          <a:xfrm>
            <a:off x="922779" y="2608952"/>
            <a:ext cx="11113339" cy="101566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7200">
                <a:solidFill>
                  <a:srgbClr val="FFFFFF"/>
                </a:solidFill>
                <a:latin typeface="Gilroy ExtraBold"/>
                <a:ea typeface="Gilroy ExtraBold"/>
                <a:cs typeface="Gilroy ExtraBold"/>
                <a:sym typeface="Gilroy ExtraBold"/>
              </a:defRPr>
            </a:lvl1pPr>
          </a:lstStyle>
          <a:p>
            <a:r>
              <a:rPr lang="es-CO" sz="6600" b="1">
                <a:latin typeface="Scotia Headline"/>
              </a:rPr>
              <a:t>Conceptos Ágiles Clave</a:t>
            </a:r>
            <a:endParaRPr lang="es-CO" sz="6600"/>
          </a:p>
        </p:txBody>
      </p:sp>
      <p:sp>
        <p:nvSpPr>
          <p:cNvPr id="7" name="TextBox 7">
            <a:extLst>
              <a:ext uri="{FF2B5EF4-FFF2-40B4-BE49-F238E27FC236}">
                <a16:creationId xmlns:a16="http://schemas.microsoft.com/office/drawing/2014/main" id="{537D594E-8297-EB49-82CC-BE4FEFA623DD}"/>
              </a:ext>
            </a:extLst>
          </p:cNvPr>
          <p:cNvSpPr txBox="1"/>
          <p:nvPr/>
        </p:nvSpPr>
        <p:spPr>
          <a:xfrm>
            <a:off x="719999" y="5775665"/>
            <a:ext cx="405560"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t">
            <a:spAutoFit/>
          </a:bodyPr>
          <a:lstStyle>
            <a:lvl1pPr algn="r">
              <a:defRPr sz="1400">
                <a:solidFill>
                  <a:srgbClr val="E81D2E"/>
                </a:solidFill>
                <a:latin typeface="Frutiger LT for BNS Light"/>
                <a:ea typeface="Frutiger LT for BNS Light"/>
                <a:cs typeface="Frutiger LT for BNS Light"/>
                <a:sym typeface="Frutiger LT for BNS Light"/>
              </a:defRPr>
            </a:lvl1pPr>
          </a:lstStyle>
          <a:p>
            <a:pPr algn="l"/>
            <a:r>
              <a:rPr lang="en-CA" b="1">
                <a:solidFill>
                  <a:schemeClr val="bg2"/>
                </a:solidFill>
                <a:latin typeface="Scotia Bold"/>
              </a:rPr>
              <a:t>2025</a:t>
            </a:r>
          </a:p>
        </p:txBody>
      </p:sp>
      <p:sp>
        <p:nvSpPr>
          <p:cNvPr id="9" name="Rectangle 8">
            <a:extLst>
              <a:ext uri="{FF2B5EF4-FFF2-40B4-BE49-F238E27FC236}">
                <a16:creationId xmlns:a16="http://schemas.microsoft.com/office/drawing/2014/main" id="{81B438C1-BDBD-824A-BF34-4559DEE26184}"/>
              </a:ext>
            </a:extLst>
          </p:cNvPr>
          <p:cNvSpPr/>
          <p:nvPr/>
        </p:nvSpPr>
        <p:spPr>
          <a:xfrm>
            <a:off x="10084906" y="6147568"/>
            <a:ext cx="2107094" cy="710432"/>
          </a:xfrm>
          <a:prstGeom prst="rect">
            <a:avLst/>
          </a:prstGeom>
          <a:solidFill>
            <a:schemeClr val="tx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323232"/>
              </a:solidFill>
              <a:effectLst/>
              <a:uFillTx/>
              <a:latin typeface="Gotham"/>
              <a:ea typeface="Gotham"/>
              <a:cs typeface="Gotham"/>
              <a:sym typeface="Gotham"/>
            </a:endParaRPr>
          </a:p>
        </p:txBody>
      </p:sp>
      <p:pic>
        <p:nvPicPr>
          <p:cNvPr id="10" name="Picture 9">
            <a:extLst>
              <a:ext uri="{FF2B5EF4-FFF2-40B4-BE49-F238E27FC236}">
                <a16:creationId xmlns:a16="http://schemas.microsoft.com/office/drawing/2014/main" id="{7F1CF4D1-7A4E-204A-A5B3-E970589325F3}"/>
              </a:ext>
            </a:extLst>
          </p:cNvPr>
          <p:cNvPicPr>
            <a:picLocks noChangeAspect="1"/>
          </p:cNvPicPr>
          <p:nvPr/>
        </p:nvPicPr>
        <p:blipFill>
          <a:blip r:embed="rId3"/>
          <a:stretch>
            <a:fillRect/>
          </a:stretch>
        </p:blipFill>
        <p:spPr>
          <a:xfrm>
            <a:off x="10313129" y="6372146"/>
            <a:ext cx="1671568" cy="238796"/>
          </a:xfrm>
          <a:prstGeom prst="rect">
            <a:avLst/>
          </a:prstGeom>
        </p:spPr>
      </p:pic>
      <p:sp>
        <p:nvSpPr>
          <p:cNvPr id="11" name="TextBox 10">
            <a:extLst>
              <a:ext uri="{FF2B5EF4-FFF2-40B4-BE49-F238E27FC236}">
                <a16:creationId xmlns:a16="http://schemas.microsoft.com/office/drawing/2014/main" id="{9DD18193-E424-BF4F-9CBD-762968C2B654}"/>
              </a:ext>
            </a:extLst>
          </p:cNvPr>
          <p:cNvSpPr txBox="1"/>
          <p:nvPr/>
        </p:nvSpPr>
        <p:spPr>
          <a:xfrm>
            <a:off x="5698435" y="1338470"/>
            <a:ext cx="65" cy="2769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spAutoFit/>
          </a:bodyPr>
          <a:lstStyle/>
          <a:p>
            <a:pPr algn="l"/>
            <a:endParaRPr lang="en-US">
              <a:latin typeface="Scotia Regular" panose="020B0503020203020204" pitchFamily="34" charset="0"/>
            </a:endParaRPr>
          </a:p>
        </p:txBody>
      </p:sp>
      <p:sp>
        <p:nvSpPr>
          <p:cNvPr id="3" name="Oval 2">
            <a:extLst>
              <a:ext uri="{FF2B5EF4-FFF2-40B4-BE49-F238E27FC236}">
                <a16:creationId xmlns:a16="http://schemas.microsoft.com/office/drawing/2014/main" id="{250262BF-84B9-6633-DF0B-16D91C59E2DD}"/>
              </a:ext>
            </a:extLst>
          </p:cNvPr>
          <p:cNvSpPr/>
          <p:nvPr/>
        </p:nvSpPr>
        <p:spPr>
          <a:xfrm>
            <a:off x="9439037" y="6531796"/>
            <a:ext cx="161925" cy="149735"/>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9876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7849B8"/>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E7C276A7-953D-264B-B6C1-980F86637883}"/>
              </a:ext>
            </a:extLst>
          </p:cNvPr>
          <p:cNvSpPr txBox="1"/>
          <p:nvPr/>
        </p:nvSpPr>
        <p:spPr>
          <a:xfrm>
            <a:off x="719999" y="1933206"/>
            <a:ext cx="5538188" cy="366741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90000"/>
              </a:lnSpc>
              <a:defRPr sz="4900">
                <a:solidFill>
                  <a:srgbClr val="FFFFFF"/>
                </a:solidFill>
                <a:latin typeface="Gilroy ExtraBold"/>
                <a:ea typeface="Gilroy ExtraBold"/>
                <a:cs typeface="Gilroy ExtraBold"/>
                <a:sym typeface="Gilroy ExtraBold"/>
              </a:defRPr>
            </a:pPr>
            <a:r>
              <a:rPr lang="en-US" sz="6600" b="1" err="1">
                <a:solidFill>
                  <a:schemeClr val="bg2"/>
                </a:solidFill>
                <a:latin typeface="Scotia Headline" panose="020B0503020203020204" pitchFamily="34" charset="0"/>
              </a:rPr>
              <a:t>Qué</a:t>
            </a:r>
            <a:r>
              <a:rPr lang="en-US" sz="6600" b="1">
                <a:solidFill>
                  <a:schemeClr val="bg2"/>
                </a:solidFill>
                <a:latin typeface="Scotia Headline" panose="020B0503020203020204" pitchFamily="34" charset="0"/>
              </a:rPr>
              <a:t> es </a:t>
            </a:r>
            <a:r>
              <a:rPr lang="en-US" sz="6600" b="1" err="1">
                <a:solidFill>
                  <a:schemeClr val="bg2"/>
                </a:solidFill>
                <a:latin typeface="Scotia Headline" panose="020B0503020203020204" pitchFamily="34" charset="0"/>
              </a:rPr>
              <a:t>una</a:t>
            </a:r>
            <a:r>
              <a:rPr lang="en-US" sz="6600" b="1">
                <a:solidFill>
                  <a:schemeClr val="bg2"/>
                </a:solidFill>
                <a:latin typeface="Scotia Headline" panose="020B0503020203020204" pitchFamily="34" charset="0"/>
              </a:rPr>
              <a:t> </a:t>
            </a:r>
          </a:p>
          <a:p>
            <a:pPr>
              <a:lnSpc>
                <a:spcPct val="90000"/>
              </a:lnSpc>
              <a:defRPr sz="4900">
                <a:solidFill>
                  <a:srgbClr val="FFFFFF"/>
                </a:solidFill>
                <a:latin typeface="Gilroy ExtraBold"/>
                <a:ea typeface="Gilroy ExtraBold"/>
                <a:cs typeface="Gilroy ExtraBold"/>
                <a:sym typeface="Gilroy ExtraBold"/>
              </a:defRPr>
            </a:pPr>
            <a:r>
              <a:rPr lang="en-US" sz="6600" b="1">
                <a:solidFill>
                  <a:schemeClr val="bg2"/>
                </a:solidFill>
                <a:latin typeface="Scotia Headline" panose="020B0503020203020204" pitchFamily="34" charset="0"/>
              </a:rPr>
              <a:t>Historia de </a:t>
            </a:r>
            <a:r>
              <a:rPr lang="en-US" sz="6600" b="1" err="1">
                <a:solidFill>
                  <a:schemeClr val="bg2"/>
                </a:solidFill>
                <a:latin typeface="Scotia Headline" panose="020B0503020203020204" pitchFamily="34" charset="0"/>
              </a:rPr>
              <a:t>Usuario</a:t>
            </a:r>
            <a:r>
              <a:rPr lang="en-US" sz="6600" b="1">
                <a:solidFill>
                  <a:schemeClr val="bg2"/>
                </a:solidFill>
                <a:latin typeface="Scotia Headline" panose="020B0503020203020204" pitchFamily="34" charset="0"/>
              </a:rPr>
              <a:t>/User Story?</a:t>
            </a:r>
          </a:p>
        </p:txBody>
      </p:sp>
      <p:sp>
        <p:nvSpPr>
          <p:cNvPr id="9" name="TextBox 8">
            <a:extLst>
              <a:ext uri="{FF2B5EF4-FFF2-40B4-BE49-F238E27FC236}">
                <a16:creationId xmlns:a16="http://schemas.microsoft.com/office/drawing/2014/main" id="{EC287874-23C2-8C48-BA87-4AD1986920D3}"/>
              </a:ext>
            </a:extLst>
          </p:cNvPr>
          <p:cNvSpPr txBox="1"/>
          <p:nvPr/>
        </p:nvSpPr>
        <p:spPr>
          <a:xfrm>
            <a:off x="719998" y="1355035"/>
            <a:ext cx="1023077" cy="4924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defRPr sz="4900">
                <a:solidFill>
                  <a:srgbClr val="FFFFFF"/>
                </a:solidFill>
                <a:latin typeface="Gilroy ExtraBold"/>
                <a:ea typeface="Gilroy ExtraBold"/>
                <a:cs typeface="Gilroy ExtraBold"/>
                <a:sym typeface="Gilroy ExtraBold"/>
              </a:defRPr>
            </a:pPr>
            <a:r>
              <a:rPr lang="en-US" sz="3200" b="1">
                <a:solidFill>
                  <a:schemeClr val="bg2"/>
                </a:solidFill>
                <a:latin typeface="Scotia Headline" panose="020B0503020203020204" pitchFamily="34" charset="0"/>
              </a:rPr>
              <a:t>02</a:t>
            </a:r>
            <a:endParaRPr sz="3200" b="1">
              <a:solidFill>
                <a:schemeClr val="bg2"/>
              </a:solidFill>
              <a:latin typeface="Scotia Headline" panose="020B0503020203020204" pitchFamily="34" charset="0"/>
            </a:endParaRPr>
          </a:p>
        </p:txBody>
      </p:sp>
      <p:sp>
        <p:nvSpPr>
          <p:cNvPr id="5" name="Shape 2536"/>
          <p:cNvSpPr/>
          <p:nvPr/>
        </p:nvSpPr>
        <p:spPr>
          <a:xfrm>
            <a:off x="7266039" y="1847478"/>
            <a:ext cx="2910347" cy="3284961"/>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bg2"/>
          </a:solidFill>
          <a:ln w="12700">
            <a:solidFill>
              <a:schemeClr val="bg2"/>
            </a:solidFill>
            <a:miter lim="400000"/>
          </a:ln>
        </p:spPr>
        <p:txBody>
          <a:bodyPr lIns="38091" tIns="38091" rIns="38091" bIns="38091" anchor="ctr"/>
          <a:lstStyle/>
          <a:p>
            <a:pPr defTabSz="457051">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pic>
        <p:nvPicPr>
          <p:cNvPr id="2" name="Picture 2">
            <a:extLst>
              <a:ext uri="{FF2B5EF4-FFF2-40B4-BE49-F238E27FC236}">
                <a16:creationId xmlns:a16="http://schemas.microsoft.com/office/drawing/2014/main" id="{012DA47F-40A5-C9D9-309D-5F2AEC8AAB86}"/>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9FCF82D6-AA35-867F-913F-1B92FD54AA39}"/>
              </a:ext>
            </a:extLst>
          </p:cNvPr>
          <p:cNvSpPr/>
          <p:nvPr/>
        </p:nvSpPr>
        <p:spPr>
          <a:xfrm>
            <a:off x="11068933" y="6587825"/>
            <a:ext cx="161925" cy="149735"/>
          </a:xfrm>
          <a:prstGeom prst="ellipse">
            <a:avLst/>
          </a:prstGeom>
          <a:solidFill>
            <a:schemeClr val="accent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8127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p:cNvGraphicFramePr>
          <p:nvPr>
            <p:custDataLst>
              <p:tags r:id="rId1"/>
            </p:custDataLst>
          </p:nvPr>
        </p:nvGraphicFramePr>
        <p:xfrm>
          <a:off x="1524000" y="0"/>
          <a:ext cx="161984" cy="16197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7" name="Object 36" hidden="1"/>
                      <p:cNvPicPr/>
                      <p:nvPr/>
                    </p:nvPicPr>
                    <p:blipFill>
                      <a:blip r:embed="rId5"/>
                      <a:stretch>
                        <a:fillRect/>
                      </a:stretch>
                    </p:blipFill>
                    <p:spPr>
                      <a:xfrm>
                        <a:off x="1524000" y="0"/>
                        <a:ext cx="161984" cy="161974"/>
                      </a:xfrm>
                      <a:prstGeom prst="rect">
                        <a:avLst/>
                      </a:prstGeom>
                    </p:spPr>
                  </p:pic>
                </p:oleObj>
              </mc:Fallback>
            </mc:AlternateContent>
          </a:graphicData>
        </a:graphic>
      </p:graphicFrame>
      <p:sp>
        <p:nvSpPr>
          <p:cNvPr id="87" name="TextBox 86">
            <a:extLst>
              <a:ext uri="{FF2B5EF4-FFF2-40B4-BE49-F238E27FC236}">
                <a16:creationId xmlns:a16="http://schemas.microsoft.com/office/drawing/2014/main" id="{1B8E2A43-FB59-3D49-B36B-5D1A321AF8D3}"/>
              </a:ext>
            </a:extLst>
          </p:cNvPr>
          <p:cNvSpPr txBox="1"/>
          <p:nvPr/>
        </p:nvSpPr>
        <p:spPr>
          <a:xfrm>
            <a:off x="2090057" y="23751"/>
            <a:ext cx="65" cy="5924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spAutoFit/>
          </a:bodyPr>
          <a:lstStyle/>
          <a:p>
            <a:pPr algn="l">
              <a:lnSpc>
                <a:spcPct val="150000"/>
              </a:lnSpc>
              <a:buClr>
                <a:schemeClr val="accent5"/>
              </a:buClr>
              <a:buSzPct val="80000"/>
            </a:pPr>
            <a:endParaRPr lang="en-US" sz="2800">
              <a:latin typeface="Scotia" panose="020B0503020203020204" pitchFamily="34" charset="0"/>
            </a:endParaRPr>
          </a:p>
        </p:txBody>
      </p:sp>
      <p:sp>
        <p:nvSpPr>
          <p:cNvPr id="88" name="Rectangle 87">
            <a:extLst>
              <a:ext uri="{FF2B5EF4-FFF2-40B4-BE49-F238E27FC236}">
                <a16:creationId xmlns:a16="http://schemas.microsoft.com/office/drawing/2014/main" id="{EB78942E-247B-C84C-9618-AC7A8A3A6781}"/>
              </a:ext>
            </a:extLst>
          </p:cNvPr>
          <p:cNvSpPr/>
          <p:nvPr/>
        </p:nvSpPr>
        <p:spPr>
          <a:xfrm>
            <a:off x="397" y="224"/>
            <a:ext cx="12191206" cy="1927566"/>
          </a:xfrm>
          <a:prstGeom prst="rect">
            <a:avLst/>
          </a:prstGeom>
          <a:solidFill>
            <a:schemeClr val="accent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hangingPunct="0"/>
            <a:endParaRPr lang="en-US" sz="800">
              <a:solidFill>
                <a:srgbClr val="323232"/>
              </a:solidFill>
              <a:latin typeface="Gotham"/>
              <a:ea typeface="Gotham"/>
              <a:cs typeface="Gotham"/>
              <a:sym typeface="Gotham"/>
            </a:endParaRPr>
          </a:p>
        </p:txBody>
      </p:sp>
      <p:sp>
        <p:nvSpPr>
          <p:cNvPr id="94" name="TextBox 6">
            <a:extLst>
              <a:ext uri="{FF2B5EF4-FFF2-40B4-BE49-F238E27FC236}">
                <a16:creationId xmlns:a16="http://schemas.microsoft.com/office/drawing/2014/main" id="{641750D5-1C2A-C840-8D6D-9869EF42887F}"/>
              </a:ext>
            </a:extLst>
          </p:cNvPr>
          <p:cNvSpPr txBox="1"/>
          <p:nvPr/>
        </p:nvSpPr>
        <p:spPr>
          <a:xfrm>
            <a:off x="394925" y="986561"/>
            <a:ext cx="11621235"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lvl1pPr>
              <a:defRPr sz="4900">
                <a:solidFill>
                  <a:srgbClr val="E8111C"/>
                </a:solidFill>
                <a:latin typeface="Gilroy ExtraBold"/>
                <a:ea typeface="Gilroy ExtraBold"/>
                <a:cs typeface="Gilroy ExtraBold"/>
                <a:sym typeface="Gilroy ExtraBold"/>
              </a:defRPr>
            </a:lvl1pPr>
          </a:lstStyle>
          <a:p>
            <a:r>
              <a:rPr lang="es-ES" sz="4400" b="1">
                <a:solidFill>
                  <a:schemeClr val="bg2"/>
                </a:solidFill>
                <a:latin typeface="Scotia Headline"/>
              </a:rPr>
              <a:t>Definición y conceptos</a:t>
            </a:r>
            <a:endParaRPr lang="en-US" sz="4400" b="1">
              <a:solidFill>
                <a:schemeClr val="bg2"/>
              </a:solidFill>
              <a:latin typeface="Scotia Headline" panose="020B0503020203020204" pitchFamily="34" charset="0"/>
            </a:endParaRPr>
          </a:p>
        </p:txBody>
      </p:sp>
      <p:sp>
        <p:nvSpPr>
          <p:cNvPr id="100" name="TextBox 99">
            <a:extLst>
              <a:ext uri="{FF2B5EF4-FFF2-40B4-BE49-F238E27FC236}">
                <a16:creationId xmlns:a16="http://schemas.microsoft.com/office/drawing/2014/main" id="{D62ECCEA-6576-D64D-82B5-25D60585FE9A}"/>
              </a:ext>
            </a:extLst>
          </p:cNvPr>
          <p:cNvSpPr txBox="1">
            <a:spLocks/>
          </p:cNvSpPr>
          <p:nvPr/>
        </p:nvSpPr>
        <p:spPr>
          <a:xfrm>
            <a:off x="11575346" y="332530"/>
            <a:ext cx="233491"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a:solidFill>
                  <a:schemeClr val="bg1"/>
                </a:solidFill>
                <a:latin typeface="Scotia" panose="020B0503020203020204" pitchFamily="34" charset="0"/>
              </a:rPr>
              <a:pPr algn="r"/>
              <a:t>11</a:t>
            </a:fld>
            <a:endParaRPr lang="en-CA" sz="800">
              <a:solidFill>
                <a:schemeClr val="bg1"/>
              </a:solidFill>
              <a:latin typeface="Scotia" panose="020B0503020203020204" pitchFamily="34" charset="0"/>
            </a:endParaRPr>
          </a:p>
        </p:txBody>
      </p:sp>
      <p:sp>
        <p:nvSpPr>
          <p:cNvPr id="102" name="TextBox 7">
            <a:extLst>
              <a:ext uri="{FF2B5EF4-FFF2-40B4-BE49-F238E27FC236}">
                <a16:creationId xmlns:a16="http://schemas.microsoft.com/office/drawing/2014/main" id="{4B3C6C7C-1DE2-D64F-9B02-3CADB8F63681}"/>
              </a:ext>
            </a:extLst>
          </p:cNvPr>
          <p:cNvSpPr txBox="1">
            <a:spLocks/>
          </p:cNvSpPr>
          <p:nvPr/>
        </p:nvSpPr>
        <p:spPr>
          <a:xfrm>
            <a:off x="11575346" y="332306"/>
            <a:ext cx="233491"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a:solidFill>
                  <a:schemeClr val="bg1"/>
                </a:solidFill>
                <a:latin typeface="Scotia" panose="020B0503020203020204" pitchFamily="34" charset="0"/>
              </a:rPr>
              <a:pPr algn="r"/>
              <a:t>11</a:t>
            </a:fld>
            <a:endParaRPr lang="en-CA" sz="800">
              <a:solidFill>
                <a:schemeClr val="bg1"/>
              </a:solidFill>
              <a:latin typeface="Scotia" panose="020B0503020203020204" pitchFamily="34" charset="0"/>
            </a:endParaRPr>
          </a:p>
        </p:txBody>
      </p:sp>
      <p:sp>
        <p:nvSpPr>
          <p:cNvPr id="31" name="Oval 30">
            <a:extLst>
              <a:ext uri="{FF2B5EF4-FFF2-40B4-BE49-F238E27FC236}">
                <a16:creationId xmlns:a16="http://schemas.microsoft.com/office/drawing/2014/main" id="{01DA72AD-D098-8D8A-C342-351E8CD17F25}"/>
              </a:ext>
            </a:extLst>
          </p:cNvPr>
          <p:cNvSpPr/>
          <p:nvPr/>
        </p:nvSpPr>
        <p:spPr>
          <a:xfrm>
            <a:off x="11024757" y="6587825"/>
            <a:ext cx="161925" cy="14973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2">
            <a:extLst>
              <a:ext uri="{FF2B5EF4-FFF2-40B4-BE49-F238E27FC236}">
                <a16:creationId xmlns:a16="http://schemas.microsoft.com/office/drawing/2014/main" id="{359C5BA7-0B95-290B-1BD8-B7CB8866291B}"/>
              </a:ext>
            </a:extLst>
          </p:cNvPr>
          <p:cNvPicPr>
            <a:picLocks noChangeAspect="1" noChangeArrowheads="1"/>
          </p:cNvPicPr>
          <p:nvPr/>
        </p:nvPicPr>
        <p:blipFill rotWithShape="1">
          <a:blip r:embed="rId6" cstate="email">
            <a:extLst>
              <a:ext uri="{28A0092B-C50C-407E-A947-70E740481C1C}">
                <a14:useLocalDpi xmlns:a14="http://schemas.microsoft.com/office/drawing/2010/main" val="0"/>
              </a:ext>
            </a:extLst>
          </a:blip>
          <a:srcRect t="1136" b="2124"/>
          <a:stretch/>
        </p:blipFill>
        <p:spPr bwMode="auto">
          <a:xfrm>
            <a:off x="11317045" y="6464468"/>
            <a:ext cx="885316" cy="404067"/>
          </a:xfrm>
          <a:prstGeom prst="rect">
            <a:avLst/>
          </a:prstGeom>
          <a:noFill/>
          <a:extLst>
            <a:ext uri="{909E8E84-426E-40DD-AFC4-6F175D3DCCD1}">
              <a14:hiddenFill xmlns:a14="http://schemas.microsoft.com/office/drawing/2010/main">
                <a:solidFill>
                  <a:srgbClr val="FFFFFF"/>
                </a:solidFill>
              </a14:hiddenFill>
            </a:ext>
          </a:extLst>
        </p:spPr>
      </p:pic>
      <p:sp>
        <p:nvSpPr>
          <p:cNvPr id="2" name="Rounded Rectangle 29">
            <a:extLst>
              <a:ext uri="{FF2B5EF4-FFF2-40B4-BE49-F238E27FC236}">
                <a16:creationId xmlns:a16="http://schemas.microsoft.com/office/drawing/2014/main" id="{2F141F27-0153-124B-8FEE-4493AEF522C6}"/>
              </a:ext>
            </a:extLst>
          </p:cNvPr>
          <p:cNvSpPr/>
          <p:nvPr/>
        </p:nvSpPr>
        <p:spPr>
          <a:xfrm>
            <a:off x="449570" y="3436111"/>
            <a:ext cx="2050261" cy="1794591"/>
          </a:xfrm>
          <a:prstGeom prst="roundRect">
            <a:avLst>
              <a:gd name="adj" fmla="val 5687"/>
            </a:avLst>
          </a:prstGeom>
          <a:solidFill>
            <a:schemeClr val="bg2">
              <a:lumMod val="8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22860" tIns="22860" rIns="22860" bIns="22860" numCol="1" spcCol="38100" rtlCol="0" anchor="ctr">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pPr defTabSz="914354" hangingPunct="0"/>
            <a:endParaRPr lang="en-CA">
              <a:solidFill>
                <a:srgbClr val="333333"/>
              </a:solidFill>
              <a:latin typeface="+mn-lt"/>
              <a:ea typeface="+mj-ea"/>
              <a:cs typeface="+mj-cs"/>
              <a:sym typeface="Scotia Regular"/>
            </a:endParaRPr>
          </a:p>
        </p:txBody>
      </p:sp>
      <p:sp>
        <p:nvSpPr>
          <p:cNvPr id="3" name="Rectangle 2">
            <a:extLst>
              <a:ext uri="{FF2B5EF4-FFF2-40B4-BE49-F238E27FC236}">
                <a16:creationId xmlns:a16="http://schemas.microsoft.com/office/drawing/2014/main" id="{05A25246-064F-4983-84E5-AD2CD213892E}"/>
              </a:ext>
            </a:extLst>
          </p:cNvPr>
          <p:cNvSpPr/>
          <p:nvPr/>
        </p:nvSpPr>
        <p:spPr>
          <a:xfrm>
            <a:off x="419882" y="4186526"/>
            <a:ext cx="2079949" cy="381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66481" algn="l" rtl="0" fontAlgn="base">
              <a:spcBef>
                <a:spcPct val="0"/>
              </a:spcBef>
              <a:spcAft>
                <a:spcPct val="0"/>
              </a:spcAft>
              <a:defRPr sz="1600" kern="1200">
                <a:solidFill>
                  <a:schemeClr val="lt1"/>
                </a:solidFill>
                <a:latin typeface="+mn-lt"/>
                <a:ea typeface="+mn-ea"/>
                <a:cs typeface="+mn-cs"/>
              </a:defRPr>
            </a:lvl2pPr>
            <a:lvl3pPr marL="932962" algn="l" rtl="0" fontAlgn="base">
              <a:spcBef>
                <a:spcPct val="0"/>
              </a:spcBef>
              <a:spcAft>
                <a:spcPct val="0"/>
              </a:spcAft>
              <a:defRPr sz="1600" kern="1200">
                <a:solidFill>
                  <a:schemeClr val="lt1"/>
                </a:solidFill>
                <a:latin typeface="+mn-lt"/>
                <a:ea typeface="+mn-ea"/>
                <a:cs typeface="+mn-cs"/>
              </a:defRPr>
            </a:lvl3pPr>
            <a:lvl4pPr marL="1399443" algn="l" rtl="0" fontAlgn="base">
              <a:spcBef>
                <a:spcPct val="0"/>
              </a:spcBef>
              <a:spcAft>
                <a:spcPct val="0"/>
              </a:spcAft>
              <a:defRPr sz="1600" kern="1200">
                <a:solidFill>
                  <a:schemeClr val="lt1"/>
                </a:solidFill>
                <a:latin typeface="+mn-lt"/>
                <a:ea typeface="+mn-ea"/>
                <a:cs typeface="+mn-cs"/>
              </a:defRPr>
            </a:lvl4pPr>
            <a:lvl5pPr marL="1865925" algn="l" rtl="0" fontAlgn="base">
              <a:spcBef>
                <a:spcPct val="0"/>
              </a:spcBef>
              <a:spcAft>
                <a:spcPct val="0"/>
              </a:spcAft>
              <a:defRPr sz="1600" kern="1200">
                <a:solidFill>
                  <a:schemeClr val="lt1"/>
                </a:solidFill>
                <a:latin typeface="+mn-lt"/>
                <a:ea typeface="+mn-ea"/>
                <a:cs typeface="+mn-cs"/>
              </a:defRPr>
            </a:lvl5pPr>
            <a:lvl6pPr marL="2332406" algn="l" defTabSz="932962" rtl="0" eaLnBrk="1" latinLnBrk="0" hangingPunct="1">
              <a:defRPr sz="1600" kern="1200">
                <a:solidFill>
                  <a:schemeClr val="lt1"/>
                </a:solidFill>
                <a:latin typeface="+mn-lt"/>
                <a:ea typeface="+mn-ea"/>
                <a:cs typeface="+mn-cs"/>
              </a:defRPr>
            </a:lvl6pPr>
            <a:lvl7pPr marL="2798887" algn="l" defTabSz="932962" rtl="0" eaLnBrk="1" latinLnBrk="0" hangingPunct="1">
              <a:defRPr sz="1600" kern="1200">
                <a:solidFill>
                  <a:schemeClr val="lt1"/>
                </a:solidFill>
                <a:latin typeface="+mn-lt"/>
                <a:ea typeface="+mn-ea"/>
                <a:cs typeface="+mn-cs"/>
              </a:defRPr>
            </a:lvl7pPr>
            <a:lvl8pPr marL="3265368" algn="l" defTabSz="932962" rtl="0" eaLnBrk="1" latinLnBrk="0" hangingPunct="1">
              <a:defRPr sz="1600" kern="1200">
                <a:solidFill>
                  <a:schemeClr val="lt1"/>
                </a:solidFill>
                <a:latin typeface="+mn-lt"/>
                <a:ea typeface="+mn-ea"/>
                <a:cs typeface="+mn-cs"/>
              </a:defRPr>
            </a:lvl8pPr>
            <a:lvl9pPr marL="3731849" algn="l" defTabSz="932962" rtl="0" eaLnBrk="1" latinLnBrk="0" hangingPunct="1">
              <a:defRPr sz="1600" kern="1200">
                <a:solidFill>
                  <a:schemeClr val="lt1"/>
                </a:solidFill>
                <a:latin typeface="+mn-lt"/>
                <a:ea typeface="+mn-ea"/>
                <a:cs typeface="+mn-cs"/>
              </a:defRPr>
            </a:lvl9pPr>
          </a:lstStyle>
          <a:p>
            <a:pPr algn="ctr" defTabSz="914355"/>
            <a:r>
              <a:rPr lang="es-CO" b="1">
                <a:solidFill>
                  <a:srgbClr val="333333"/>
                </a:solidFill>
                <a:latin typeface="Calibri"/>
                <a:ea typeface="Calibri"/>
                <a:cs typeface="Calibri"/>
              </a:rPr>
              <a:t>Unidad de trabajo más pequeña</a:t>
            </a:r>
            <a:endParaRPr lang="es-CO" b="1">
              <a:solidFill>
                <a:srgbClr val="333333"/>
              </a:solidFill>
              <a:ea typeface="Calibri"/>
              <a:cs typeface="Calibri"/>
            </a:endParaRPr>
          </a:p>
        </p:txBody>
      </p:sp>
      <p:sp>
        <p:nvSpPr>
          <p:cNvPr id="4" name="Rectangle 3">
            <a:extLst>
              <a:ext uri="{FF2B5EF4-FFF2-40B4-BE49-F238E27FC236}">
                <a16:creationId xmlns:a16="http://schemas.microsoft.com/office/drawing/2014/main" id="{6B2ABEDD-92ED-4C83-B57F-A2AFEAA1BDCA}"/>
              </a:ext>
            </a:extLst>
          </p:cNvPr>
          <p:cNvSpPr/>
          <p:nvPr/>
        </p:nvSpPr>
        <p:spPr>
          <a:xfrm>
            <a:off x="1771704" y="1937452"/>
            <a:ext cx="2009077" cy="911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66481" algn="l" rtl="0" fontAlgn="base">
              <a:spcBef>
                <a:spcPct val="0"/>
              </a:spcBef>
              <a:spcAft>
                <a:spcPct val="0"/>
              </a:spcAft>
              <a:defRPr sz="1600" kern="1200">
                <a:solidFill>
                  <a:schemeClr val="lt1"/>
                </a:solidFill>
                <a:latin typeface="+mn-lt"/>
                <a:ea typeface="+mn-ea"/>
                <a:cs typeface="+mn-cs"/>
              </a:defRPr>
            </a:lvl2pPr>
            <a:lvl3pPr marL="932962" algn="l" rtl="0" fontAlgn="base">
              <a:spcBef>
                <a:spcPct val="0"/>
              </a:spcBef>
              <a:spcAft>
                <a:spcPct val="0"/>
              </a:spcAft>
              <a:defRPr sz="1600" kern="1200">
                <a:solidFill>
                  <a:schemeClr val="lt1"/>
                </a:solidFill>
                <a:latin typeface="+mn-lt"/>
                <a:ea typeface="+mn-ea"/>
                <a:cs typeface="+mn-cs"/>
              </a:defRPr>
            </a:lvl3pPr>
            <a:lvl4pPr marL="1399443" algn="l" rtl="0" fontAlgn="base">
              <a:spcBef>
                <a:spcPct val="0"/>
              </a:spcBef>
              <a:spcAft>
                <a:spcPct val="0"/>
              </a:spcAft>
              <a:defRPr sz="1600" kern="1200">
                <a:solidFill>
                  <a:schemeClr val="lt1"/>
                </a:solidFill>
                <a:latin typeface="+mn-lt"/>
                <a:ea typeface="+mn-ea"/>
                <a:cs typeface="+mn-cs"/>
              </a:defRPr>
            </a:lvl4pPr>
            <a:lvl5pPr marL="1865925" algn="l" rtl="0" fontAlgn="base">
              <a:spcBef>
                <a:spcPct val="0"/>
              </a:spcBef>
              <a:spcAft>
                <a:spcPct val="0"/>
              </a:spcAft>
              <a:defRPr sz="1600" kern="1200">
                <a:solidFill>
                  <a:schemeClr val="lt1"/>
                </a:solidFill>
                <a:latin typeface="+mn-lt"/>
                <a:ea typeface="+mn-ea"/>
                <a:cs typeface="+mn-cs"/>
              </a:defRPr>
            </a:lvl5pPr>
            <a:lvl6pPr marL="2332406" algn="l" defTabSz="932962" rtl="0" eaLnBrk="1" latinLnBrk="0" hangingPunct="1">
              <a:defRPr sz="1600" kern="1200">
                <a:solidFill>
                  <a:schemeClr val="lt1"/>
                </a:solidFill>
                <a:latin typeface="+mn-lt"/>
                <a:ea typeface="+mn-ea"/>
                <a:cs typeface="+mn-cs"/>
              </a:defRPr>
            </a:lvl6pPr>
            <a:lvl7pPr marL="2798887" algn="l" defTabSz="932962" rtl="0" eaLnBrk="1" latinLnBrk="0" hangingPunct="1">
              <a:defRPr sz="1600" kern="1200">
                <a:solidFill>
                  <a:schemeClr val="lt1"/>
                </a:solidFill>
                <a:latin typeface="+mn-lt"/>
                <a:ea typeface="+mn-ea"/>
                <a:cs typeface="+mn-cs"/>
              </a:defRPr>
            </a:lvl7pPr>
            <a:lvl8pPr marL="3265368" algn="l" defTabSz="932962" rtl="0" eaLnBrk="1" latinLnBrk="0" hangingPunct="1">
              <a:defRPr sz="1600" kern="1200">
                <a:solidFill>
                  <a:schemeClr val="lt1"/>
                </a:solidFill>
                <a:latin typeface="+mn-lt"/>
                <a:ea typeface="+mn-ea"/>
                <a:cs typeface="+mn-cs"/>
              </a:defRPr>
            </a:lvl8pPr>
            <a:lvl9pPr marL="3731849" algn="l" defTabSz="932962" rtl="0" eaLnBrk="1" latinLnBrk="0" hangingPunct="1">
              <a:defRPr sz="1600" kern="1200">
                <a:solidFill>
                  <a:schemeClr val="lt1"/>
                </a:solidFill>
                <a:latin typeface="+mn-lt"/>
                <a:ea typeface="+mn-ea"/>
                <a:cs typeface="+mn-cs"/>
              </a:defRPr>
            </a:lvl9pPr>
          </a:lstStyle>
          <a:p>
            <a:pPr algn="ctr" defTabSz="914355"/>
            <a:endParaRPr lang="en-CA" sz="1600" b="1">
              <a:solidFill>
                <a:srgbClr val="333333"/>
              </a:solidFill>
              <a:latin typeface="Scotia"/>
            </a:endParaRPr>
          </a:p>
        </p:txBody>
      </p:sp>
      <p:sp>
        <p:nvSpPr>
          <p:cNvPr id="5" name="Text Placeholder 20">
            <a:extLst>
              <a:ext uri="{FF2B5EF4-FFF2-40B4-BE49-F238E27FC236}">
                <a16:creationId xmlns:a16="http://schemas.microsoft.com/office/drawing/2014/main" id="{BF840E12-50BB-8D46-9DE8-8F800FD32FA7}"/>
              </a:ext>
            </a:extLst>
          </p:cNvPr>
          <p:cNvSpPr>
            <a:spLocks noGrp="1"/>
          </p:cNvSpPr>
          <p:nvPr/>
        </p:nvSpPr>
        <p:spPr>
          <a:xfrm>
            <a:off x="7305411" y="3436111"/>
            <a:ext cx="2079949" cy="1776579"/>
          </a:xfrm>
          <a:prstGeom prst="roundRect">
            <a:avLst>
              <a:gd name="adj" fmla="val 7360"/>
            </a:avLst>
          </a:prstGeom>
          <a:solidFill>
            <a:schemeClr val="bg2">
              <a:lumMod val="85000"/>
            </a:schemeClr>
          </a:solidFill>
        </p:spPr>
        <p:txBody>
          <a:bodyPr vert="horz" lIns="144000" tIns="792000" rIns="144000" bIns="144000" rtlCol="0" anchor="t">
            <a:noAutofit/>
          </a:bodyPr>
          <a:lstStyle>
            <a:lvl1pPr marL="0" indent="0" algn="ctr" defTabSz="685766" rtl="0" eaLnBrk="1" latinLnBrk="0" hangingPunct="1">
              <a:lnSpc>
                <a:spcPct val="90000"/>
              </a:lnSpc>
              <a:spcBef>
                <a:spcPts val="0"/>
              </a:spcBef>
              <a:buFont typeface="Arial" panose="020B0604020202020204" pitchFamily="34" charset="0"/>
              <a:buNone/>
              <a:defRPr sz="1600" b="1" i="0" kern="1200">
                <a:solidFill>
                  <a:schemeClr val="tx1"/>
                </a:solidFill>
                <a:latin typeface="Scotia Headline" panose="020B0503020203020204" pitchFamily="34" charset="0"/>
                <a:ea typeface="Scotia Headline" panose="020B0503020203020204" pitchFamily="34" charset="0"/>
                <a:cs typeface="+mn-cs"/>
              </a:defRPr>
            </a:lvl1pPr>
            <a:lvl2pPr marL="457200" indent="0" algn="l" defTabSz="685766" rtl="0" eaLnBrk="1" latinLnBrk="0" hangingPunct="1">
              <a:lnSpc>
                <a:spcPct val="90000"/>
              </a:lnSpc>
              <a:spcBef>
                <a:spcPts val="375"/>
              </a:spcBef>
              <a:buFont typeface="Arial" panose="020B0604020202020204" pitchFamily="34" charset="0"/>
              <a:buNone/>
              <a:defRPr sz="1800" kern="1200">
                <a:solidFill>
                  <a:schemeClr val="tx1"/>
                </a:solidFill>
                <a:latin typeface="Scotia" panose="020B0503020203020204" pitchFamily="34" charset="0"/>
                <a:ea typeface="+mn-ea"/>
                <a:cs typeface="+mn-cs"/>
              </a:defRPr>
            </a:lvl2pPr>
            <a:lvl3pPr marL="914400" indent="0" algn="l" defTabSz="685766" rtl="0" eaLnBrk="1" latinLnBrk="0" hangingPunct="1">
              <a:lnSpc>
                <a:spcPct val="90000"/>
              </a:lnSpc>
              <a:spcBef>
                <a:spcPts val="375"/>
              </a:spcBef>
              <a:buFont typeface="Arial" panose="020B0604020202020204" pitchFamily="34" charset="0"/>
              <a:buNone/>
              <a:defRPr sz="1500" kern="1200">
                <a:solidFill>
                  <a:schemeClr val="tx1"/>
                </a:solidFill>
                <a:latin typeface="Scotia" panose="020B0503020203020204" pitchFamily="34" charset="0"/>
                <a:ea typeface="+mn-ea"/>
                <a:cs typeface="+mn-cs"/>
              </a:defRPr>
            </a:lvl3pPr>
            <a:lvl4pPr marL="1371600" indent="0" algn="l" defTabSz="685766" rtl="0" eaLnBrk="1" latinLnBrk="0" hangingPunct="1">
              <a:lnSpc>
                <a:spcPct val="90000"/>
              </a:lnSpc>
              <a:spcBef>
                <a:spcPts val="375"/>
              </a:spcBef>
              <a:buFont typeface="Arial" panose="020B0604020202020204" pitchFamily="34" charset="0"/>
              <a:buNone/>
              <a:defRPr sz="1200" kern="1200">
                <a:solidFill>
                  <a:schemeClr val="tx1"/>
                </a:solidFill>
                <a:latin typeface="Scotia" panose="020B0503020203020204" pitchFamily="34" charset="0"/>
                <a:ea typeface="+mn-ea"/>
                <a:cs typeface="+mn-cs"/>
              </a:defRPr>
            </a:lvl4pPr>
            <a:lvl5pPr marL="1828800" indent="0" algn="l" defTabSz="685766" rtl="0" eaLnBrk="1" latinLnBrk="0" hangingPunct="1">
              <a:lnSpc>
                <a:spcPct val="90000"/>
              </a:lnSpc>
              <a:spcBef>
                <a:spcPts val="375"/>
              </a:spcBef>
              <a:buFont typeface="Arial" panose="020B0604020202020204" pitchFamily="34" charset="0"/>
              <a:buNone/>
              <a:defRPr sz="1050" kern="1200">
                <a:solidFill>
                  <a:schemeClr val="tx1"/>
                </a:solidFill>
                <a:latin typeface="Scotia" panose="020B0503020203020204" pitchFamily="34" charset="0"/>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s-ES">
                <a:solidFill>
                  <a:srgbClr val="333333"/>
                </a:solidFill>
                <a:latin typeface="Calibri"/>
                <a:ea typeface="Calibri"/>
                <a:cs typeface="Calibri"/>
              </a:rPr>
              <a:t>Captura la descripción de una característica del software</a:t>
            </a:r>
            <a:endParaRPr lang="en-US"/>
          </a:p>
        </p:txBody>
      </p:sp>
      <p:sp>
        <p:nvSpPr>
          <p:cNvPr id="6" name="Text Placeholder 30">
            <a:extLst>
              <a:ext uri="{FF2B5EF4-FFF2-40B4-BE49-F238E27FC236}">
                <a16:creationId xmlns:a16="http://schemas.microsoft.com/office/drawing/2014/main" id="{B4F4C75D-0C7E-BE8A-8E65-C430C481D93E}"/>
              </a:ext>
            </a:extLst>
          </p:cNvPr>
          <p:cNvSpPr>
            <a:spLocks noGrp="1"/>
          </p:cNvSpPr>
          <p:nvPr/>
        </p:nvSpPr>
        <p:spPr>
          <a:xfrm>
            <a:off x="9579061" y="3436111"/>
            <a:ext cx="2079949" cy="1781289"/>
          </a:xfrm>
          <a:prstGeom prst="roundRect">
            <a:avLst>
              <a:gd name="adj" fmla="val 7360"/>
            </a:avLst>
          </a:prstGeom>
          <a:solidFill>
            <a:schemeClr val="bg2">
              <a:lumMod val="85000"/>
            </a:schemeClr>
          </a:solidFill>
        </p:spPr>
        <p:txBody>
          <a:bodyPr vert="horz" lIns="144000" tIns="792000" rIns="144000" bIns="144000" rtlCol="0" anchor="t">
            <a:noAutofit/>
          </a:bodyPr>
          <a:lstStyle>
            <a:lvl1pPr marL="0" indent="0" algn="ctr" defTabSz="685766" rtl="0" eaLnBrk="1" latinLnBrk="0" hangingPunct="1">
              <a:lnSpc>
                <a:spcPct val="90000"/>
              </a:lnSpc>
              <a:spcBef>
                <a:spcPts val="0"/>
              </a:spcBef>
              <a:buFont typeface="Arial" panose="020B0604020202020204" pitchFamily="34" charset="0"/>
              <a:buNone/>
              <a:defRPr sz="1600" b="1" i="0" kern="1200">
                <a:solidFill>
                  <a:schemeClr val="tx1"/>
                </a:solidFill>
                <a:latin typeface="Scotia Headline" panose="020B0503020203020204" pitchFamily="34" charset="0"/>
                <a:ea typeface="Scotia Headline" panose="020B0503020203020204" pitchFamily="34" charset="0"/>
                <a:cs typeface="+mn-cs"/>
              </a:defRPr>
            </a:lvl1pPr>
            <a:lvl2pPr marL="457200" indent="0" algn="l" defTabSz="685766" rtl="0" eaLnBrk="1" latinLnBrk="0" hangingPunct="1">
              <a:lnSpc>
                <a:spcPct val="90000"/>
              </a:lnSpc>
              <a:spcBef>
                <a:spcPts val="375"/>
              </a:spcBef>
              <a:buFont typeface="Arial" panose="020B0604020202020204" pitchFamily="34" charset="0"/>
              <a:buNone/>
              <a:defRPr sz="1800" kern="1200">
                <a:solidFill>
                  <a:schemeClr val="tx1"/>
                </a:solidFill>
                <a:latin typeface="Scotia" panose="020B0503020203020204" pitchFamily="34" charset="0"/>
                <a:ea typeface="+mn-ea"/>
                <a:cs typeface="+mn-cs"/>
              </a:defRPr>
            </a:lvl2pPr>
            <a:lvl3pPr marL="914400" indent="0" algn="l" defTabSz="685766" rtl="0" eaLnBrk="1" latinLnBrk="0" hangingPunct="1">
              <a:lnSpc>
                <a:spcPct val="90000"/>
              </a:lnSpc>
              <a:spcBef>
                <a:spcPts val="375"/>
              </a:spcBef>
              <a:buFont typeface="Arial" panose="020B0604020202020204" pitchFamily="34" charset="0"/>
              <a:buNone/>
              <a:defRPr sz="1500" kern="1200">
                <a:solidFill>
                  <a:schemeClr val="tx1"/>
                </a:solidFill>
                <a:latin typeface="Scotia" panose="020B0503020203020204" pitchFamily="34" charset="0"/>
                <a:ea typeface="+mn-ea"/>
                <a:cs typeface="+mn-cs"/>
              </a:defRPr>
            </a:lvl3pPr>
            <a:lvl4pPr marL="1371600" indent="0" algn="l" defTabSz="685766" rtl="0" eaLnBrk="1" latinLnBrk="0" hangingPunct="1">
              <a:lnSpc>
                <a:spcPct val="90000"/>
              </a:lnSpc>
              <a:spcBef>
                <a:spcPts val="375"/>
              </a:spcBef>
              <a:buFont typeface="Arial" panose="020B0604020202020204" pitchFamily="34" charset="0"/>
              <a:buNone/>
              <a:defRPr sz="1200" kern="1200">
                <a:solidFill>
                  <a:schemeClr val="tx1"/>
                </a:solidFill>
                <a:latin typeface="Scotia" panose="020B0503020203020204" pitchFamily="34" charset="0"/>
                <a:ea typeface="+mn-ea"/>
                <a:cs typeface="+mn-cs"/>
              </a:defRPr>
            </a:lvl4pPr>
            <a:lvl5pPr marL="1828800" indent="0" algn="l" defTabSz="685766" rtl="0" eaLnBrk="1" latinLnBrk="0" hangingPunct="1">
              <a:lnSpc>
                <a:spcPct val="90000"/>
              </a:lnSpc>
              <a:spcBef>
                <a:spcPts val="375"/>
              </a:spcBef>
              <a:buFont typeface="Arial" panose="020B0604020202020204" pitchFamily="34" charset="0"/>
              <a:buNone/>
              <a:defRPr sz="1050" kern="1200">
                <a:solidFill>
                  <a:schemeClr val="tx1"/>
                </a:solidFill>
                <a:latin typeface="Scotia" panose="020B0503020203020204" pitchFamily="34" charset="0"/>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s-CO">
                <a:solidFill>
                  <a:srgbClr val="333333"/>
                </a:solidFill>
                <a:latin typeface="Calibri"/>
                <a:ea typeface="Calibri"/>
                <a:cs typeface="Calibri"/>
              </a:rPr>
              <a:t>Describe el requerimiento: </a:t>
            </a:r>
          </a:p>
          <a:p>
            <a:r>
              <a:rPr lang="es-CO">
                <a:solidFill>
                  <a:srgbClr val="333333"/>
                </a:solidFill>
                <a:latin typeface="Calibri"/>
                <a:ea typeface="Calibri"/>
                <a:cs typeface="Calibri"/>
              </a:rPr>
              <a:t> "</a:t>
            </a:r>
            <a:r>
              <a:rPr lang="es-ES">
                <a:solidFill>
                  <a:schemeClr val="accent3"/>
                </a:solidFill>
                <a:latin typeface="Calibri"/>
                <a:ea typeface="Calibri"/>
                <a:cs typeface="Calibri"/>
              </a:rPr>
              <a:t>Quién</a:t>
            </a:r>
            <a:r>
              <a:rPr lang="es-ES">
                <a:solidFill>
                  <a:srgbClr val="333333"/>
                </a:solidFill>
                <a:latin typeface="Calibri"/>
                <a:ea typeface="Calibri"/>
                <a:cs typeface="Calibri"/>
              </a:rPr>
              <a:t>", "</a:t>
            </a:r>
            <a:r>
              <a:rPr lang="es-ES">
                <a:solidFill>
                  <a:schemeClr val="accent3"/>
                </a:solidFill>
                <a:latin typeface="Calibri"/>
                <a:ea typeface="Calibri"/>
                <a:cs typeface="Calibri"/>
              </a:rPr>
              <a:t>Qué</a:t>
            </a:r>
            <a:r>
              <a:rPr lang="es-ES">
                <a:solidFill>
                  <a:srgbClr val="333333"/>
                </a:solidFill>
                <a:latin typeface="Calibri"/>
                <a:ea typeface="Calibri"/>
                <a:cs typeface="Calibri"/>
              </a:rPr>
              <a:t>" y  "</a:t>
            </a:r>
            <a:r>
              <a:rPr lang="es-ES">
                <a:solidFill>
                  <a:schemeClr val="accent3"/>
                </a:solidFill>
                <a:latin typeface="Calibri"/>
                <a:ea typeface="Calibri"/>
                <a:cs typeface="Calibri"/>
              </a:rPr>
              <a:t>Por qué</a:t>
            </a:r>
            <a:r>
              <a:rPr lang="es-ES">
                <a:solidFill>
                  <a:srgbClr val="333333"/>
                </a:solidFill>
                <a:latin typeface="Calibri"/>
                <a:ea typeface="Calibri"/>
                <a:cs typeface="Calibri"/>
              </a:rPr>
              <a:t>" </a:t>
            </a:r>
            <a:endParaRPr lang="es-ES">
              <a:latin typeface="+mn-lt"/>
              <a:ea typeface="Calibri"/>
              <a:cs typeface="Calibri"/>
            </a:endParaRPr>
          </a:p>
        </p:txBody>
      </p:sp>
      <p:sp>
        <p:nvSpPr>
          <p:cNvPr id="7" name="Text Placeholder 36">
            <a:extLst>
              <a:ext uri="{FF2B5EF4-FFF2-40B4-BE49-F238E27FC236}">
                <a16:creationId xmlns:a16="http://schemas.microsoft.com/office/drawing/2014/main" id="{89F3795B-CDE8-0F03-FF79-D777C4BE7D61}"/>
              </a:ext>
            </a:extLst>
          </p:cNvPr>
          <p:cNvSpPr>
            <a:spLocks noGrp="1"/>
          </p:cNvSpPr>
          <p:nvPr/>
        </p:nvSpPr>
        <p:spPr>
          <a:xfrm>
            <a:off x="2739860" y="3451528"/>
            <a:ext cx="2079949" cy="1785673"/>
          </a:xfrm>
          <a:prstGeom prst="roundRect">
            <a:avLst>
              <a:gd name="adj" fmla="val 7360"/>
            </a:avLst>
          </a:prstGeom>
          <a:solidFill>
            <a:schemeClr val="bg2">
              <a:lumMod val="85000"/>
            </a:schemeClr>
          </a:solidFill>
        </p:spPr>
        <p:txBody>
          <a:bodyPr vert="horz" lIns="144000" tIns="792000" rIns="144000" bIns="144000" rtlCol="0" anchor="t">
            <a:noAutofit/>
          </a:bodyPr>
          <a:lstStyle>
            <a:lvl1pPr marL="0" indent="0" algn="ctr" defTabSz="685766" rtl="0" eaLnBrk="1" latinLnBrk="0" hangingPunct="1">
              <a:lnSpc>
                <a:spcPct val="90000"/>
              </a:lnSpc>
              <a:spcBef>
                <a:spcPts val="0"/>
              </a:spcBef>
              <a:buFont typeface="Arial" panose="020B0604020202020204" pitchFamily="34" charset="0"/>
              <a:buNone/>
              <a:defRPr sz="1600" b="1" i="0" kern="1200">
                <a:solidFill>
                  <a:schemeClr val="tx1"/>
                </a:solidFill>
                <a:latin typeface="Scotia Headline" panose="020B0503020203020204" pitchFamily="34" charset="0"/>
                <a:ea typeface="Scotia Headline" panose="020B0503020203020204" pitchFamily="34" charset="0"/>
                <a:cs typeface="+mn-cs"/>
              </a:defRPr>
            </a:lvl1pPr>
            <a:lvl2pPr marL="457200" indent="0" algn="l" defTabSz="685766" rtl="0" eaLnBrk="1" latinLnBrk="0" hangingPunct="1">
              <a:lnSpc>
                <a:spcPct val="90000"/>
              </a:lnSpc>
              <a:spcBef>
                <a:spcPts val="375"/>
              </a:spcBef>
              <a:buFont typeface="Arial" panose="020B0604020202020204" pitchFamily="34" charset="0"/>
              <a:buNone/>
              <a:defRPr sz="1800" kern="1200">
                <a:solidFill>
                  <a:schemeClr val="tx1"/>
                </a:solidFill>
                <a:latin typeface="Scotia" panose="020B0503020203020204" pitchFamily="34" charset="0"/>
                <a:ea typeface="+mn-ea"/>
                <a:cs typeface="+mn-cs"/>
              </a:defRPr>
            </a:lvl2pPr>
            <a:lvl3pPr marL="914400" indent="0" algn="l" defTabSz="685766" rtl="0" eaLnBrk="1" latinLnBrk="0" hangingPunct="1">
              <a:lnSpc>
                <a:spcPct val="90000"/>
              </a:lnSpc>
              <a:spcBef>
                <a:spcPts val="375"/>
              </a:spcBef>
              <a:buFont typeface="Arial" panose="020B0604020202020204" pitchFamily="34" charset="0"/>
              <a:buNone/>
              <a:defRPr sz="1500" kern="1200">
                <a:solidFill>
                  <a:schemeClr val="tx1"/>
                </a:solidFill>
                <a:latin typeface="Scotia" panose="020B0503020203020204" pitchFamily="34" charset="0"/>
                <a:ea typeface="+mn-ea"/>
                <a:cs typeface="+mn-cs"/>
              </a:defRPr>
            </a:lvl3pPr>
            <a:lvl4pPr marL="1371600" indent="0" algn="l" defTabSz="685766" rtl="0" eaLnBrk="1" latinLnBrk="0" hangingPunct="1">
              <a:lnSpc>
                <a:spcPct val="90000"/>
              </a:lnSpc>
              <a:spcBef>
                <a:spcPts val="375"/>
              </a:spcBef>
              <a:buFont typeface="Arial" panose="020B0604020202020204" pitchFamily="34" charset="0"/>
              <a:buNone/>
              <a:defRPr sz="1200" kern="1200">
                <a:solidFill>
                  <a:schemeClr val="tx1"/>
                </a:solidFill>
                <a:latin typeface="Scotia" panose="020B0503020203020204" pitchFamily="34" charset="0"/>
                <a:ea typeface="+mn-ea"/>
                <a:cs typeface="+mn-cs"/>
              </a:defRPr>
            </a:lvl4pPr>
            <a:lvl5pPr marL="1828800" indent="0" algn="l" defTabSz="685766" rtl="0" eaLnBrk="1" latinLnBrk="0" hangingPunct="1">
              <a:lnSpc>
                <a:spcPct val="90000"/>
              </a:lnSpc>
              <a:spcBef>
                <a:spcPts val="375"/>
              </a:spcBef>
              <a:buFont typeface="Arial" panose="020B0604020202020204" pitchFamily="34" charset="0"/>
              <a:buNone/>
              <a:defRPr sz="1050" kern="1200">
                <a:solidFill>
                  <a:schemeClr val="tx1"/>
                </a:solidFill>
                <a:latin typeface="Scotia" panose="020B0503020203020204" pitchFamily="34" charset="0"/>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s-ES">
                <a:solidFill>
                  <a:srgbClr val="333333"/>
                </a:solidFill>
                <a:latin typeface="Calibri"/>
                <a:ea typeface="Calibri"/>
                <a:cs typeface="Calibri"/>
              </a:rPr>
              <a:t>Ideas que expresan lo que los usuarios necesitan</a:t>
            </a:r>
            <a:endParaRPr lang="en-US"/>
          </a:p>
        </p:txBody>
      </p:sp>
      <p:sp>
        <p:nvSpPr>
          <p:cNvPr id="8" name="Text Placeholder 38">
            <a:extLst>
              <a:ext uri="{FF2B5EF4-FFF2-40B4-BE49-F238E27FC236}">
                <a16:creationId xmlns:a16="http://schemas.microsoft.com/office/drawing/2014/main" id="{D62DD0B5-7077-7C7B-D1F2-F08DB4969187}"/>
              </a:ext>
            </a:extLst>
          </p:cNvPr>
          <p:cNvSpPr>
            <a:spLocks noGrp="1"/>
          </p:cNvSpPr>
          <p:nvPr/>
        </p:nvSpPr>
        <p:spPr>
          <a:xfrm>
            <a:off x="5048622" y="3436120"/>
            <a:ext cx="2050261" cy="1801081"/>
          </a:xfrm>
          <a:prstGeom prst="roundRect">
            <a:avLst>
              <a:gd name="adj" fmla="val 7360"/>
            </a:avLst>
          </a:prstGeom>
          <a:solidFill>
            <a:schemeClr val="bg2">
              <a:lumMod val="85000"/>
            </a:schemeClr>
          </a:solidFill>
        </p:spPr>
        <p:txBody>
          <a:bodyPr vert="horz" lIns="144000" tIns="792000" rIns="144000" bIns="144000" rtlCol="0" anchor="t">
            <a:noAutofit/>
          </a:bodyPr>
          <a:lstStyle>
            <a:lvl1pPr marL="0" indent="0" algn="ctr" defTabSz="685766" rtl="0" eaLnBrk="1" latinLnBrk="0" hangingPunct="1">
              <a:lnSpc>
                <a:spcPct val="90000"/>
              </a:lnSpc>
              <a:spcBef>
                <a:spcPts val="0"/>
              </a:spcBef>
              <a:buFont typeface="Arial" panose="020B0604020202020204" pitchFamily="34" charset="0"/>
              <a:buNone/>
              <a:defRPr sz="1600" b="1" i="0" kern="1200">
                <a:solidFill>
                  <a:schemeClr val="tx1"/>
                </a:solidFill>
                <a:latin typeface="Scotia Headline" panose="020B0503020203020204" pitchFamily="34" charset="0"/>
                <a:ea typeface="Scotia Headline" panose="020B0503020203020204" pitchFamily="34" charset="0"/>
                <a:cs typeface="+mn-cs"/>
              </a:defRPr>
            </a:lvl1pPr>
            <a:lvl2pPr marL="457200" indent="0" algn="l" defTabSz="685766" rtl="0" eaLnBrk="1" latinLnBrk="0" hangingPunct="1">
              <a:lnSpc>
                <a:spcPct val="90000"/>
              </a:lnSpc>
              <a:spcBef>
                <a:spcPts val="375"/>
              </a:spcBef>
              <a:buFont typeface="Arial" panose="020B0604020202020204" pitchFamily="34" charset="0"/>
              <a:buNone/>
              <a:defRPr sz="1800" kern="1200">
                <a:solidFill>
                  <a:schemeClr val="tx1"/>
                </a:solidFill>
                <a:latin typeface="Scotia" panose="020B0503020203020204" pitchFamily="34" charset="0"/>
                <a:ea typeface="+mn-ea"/>
                <a:cs typeface="+mn-cs"/>
              </a:defRPr>
            </a:lvl2pPr>
            <a:lvl3pPr marL="914400" indent="0" algn="l" defTabSz="685766" rtl="0" eaLnBrk="1" latinLnBrk="0" hangingPunct="1">
              <a:lnSpc>
                <a:spcPct val="90000"/>
              </a:lnSpc>
              <a:spcBef>
                <a:spcPts val="375"/>
              </a:spcBef>
              <a:buFont typeface="Arial" panose="020B0604020202020204" pitchFamily="34" charset="0"/>
              <a:buNone/>
              <a:defRPr sz="1500" kern="1200">
                <a:solidFill>
                  <a:schemeClr val="tx1"/>
                </a:solidFill>
                <a:latin typeface="Scotia" panose="020B0503020203020204" pitchFamily="34" charset="0"/>
                <a:ea typeface="+mn-ea"/>
                <a:cs typeface="+mn-cs"/>
              </a:defRPr>
            </a:lvl3pPr>
            <a:lvl4pPr marL="1371600" indent="0" algn="l" defTabSz="685766" rtl="0" eaLnBrk="1" latinLnBrk="0" hangingPunct="1">
              <a:lnSpc>
                <a:spcPct val="90000"/>
              </a:lnSpc>
              <a:spcBef>
                <a:spcPts val="375"/>
              </a:spcBef>
              <a:buFont typeface="Arial" panose="020B0604020202020204" pitchFamily="34" charset="0"/>
              <a:buNone/>
              <a:defRPr sz="1200" kern="1200">
                <a:solidFill>
                  <a:schemeClr val="tx1"/>
                </a:solidFill>
                <a:latin typeface="Scotia" panose="020B0503020203020204" pitchFamily="34" charset="0"/>
                <a:ea typeface="+mn-ea"/>
                <a:cs typeface="+mn-cs"/>
              </a:defRPr>
            </a:lvl4pPr>
            <a:lvl5pPr marL="1828800" indent="0" algn="l" defTabSz="685766" rtl="0" eaLnBrk="1" latinLnBrk="0" hangingPunct="1">
              <a:lnSpc>
                <a:spcPct val="90000"/>
              </a:lnSpc>
              <a:spcBef>
                <a:spcPts val="375"/>
              </a:spcBef>
              <a:buFont typeface="Arial" panose="020B0604020202020204" pitchFamily="34" charset="0"/>
              <a:buNone/>
              <a:defRPr sz="1050" kern="1200">
                <a:solidFill>
                  <a:schemeClr val="tx1"/>
                </a:solidFill>
                <a:latin typeface="Scotia" panose="020B0503020203020204" pitchFamily="34" charset="0"/>
                <a:ea typeface="+mn-ea"/>
                <a:cs typeface="+mn-cs"/>
              </a:defRPr>
            </a:lvl5pPr>
            <a:lvl6pPr marL="1885856"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1"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4" indent="-171441"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s-ES">
                <a:solidFill>
                  <a:srgbClr val="333333"/>
                </a:solidFill>
                <a:latin typeface="Calibri"/>
                <a:ea typeface="Calibri"/>
                <a:cs typeface="Calibri"/>
              </a:rPr>
              <a:t>Son breves, con menos de 10 o 15 palabras cada una.</a:t>
            </a:r>
            <a:endParaRPr lang="en-US"/>
          </a:p>
        </p:txBody>
      </p:sp>
      <p:pic>
        <p:nvPicPr>
          <p:cNvPr id="10" name="Picture 9">
            <a:extLst>
              <a:ext uri="{FF2B5EF4-FFF2-40B4-BE49-F238E27FC236}">
                <a16:creationId xmlns:a16="http://schemas.microsoft.com/office/drawing/2014/main" id="{789D8703-4B4A-074B-87BD-93F15BD906A3}"/>
              </a:ext>
            </a:extLst>
          </p:cNvPr>
          <p:cNvPicPr>
            <a:picLocks noChangeAspect="1"/>
          </p:cNvPicPr>
          <p:nvPr/>
        </p:nvPicPr>
        <p:blipFill>
          <a:blip r:embed="rId7"/>
          <a:stretch>
            <a:fillRect/>
          </a:stretch>
        </p:blipFill>
        <p:spPr>
          <a:xfrm>
            <a:off x="5245528" y="2995373"/>
            <a:ext cx="1626758" cy="1108082"/>
          </a:xfrm>
          <a:prstGeom prst="rect">
            <a:avLst/>
          </a:prstGeom>
        </p:spPr>
      </p:pic>
      <p:pic>
        <p:nvPicPr>
          <p:cNvPr id="12" name="Picture 11" descr="Icon&#10;&#10;Description automatically generated">
            <a:extLst>
              <a:ext uri="{FF2B5EF4-FFF2-40B4-BE49-F238E27FC236}">
                <a16:creationId xmlns:a16="http://schemas.microsoft.com/office/drawing/2014/main" id="{63754B30-24A7-B5CB-B969-743FFFCE8C3E}"/>
              </a:ext>
            </a:extLst>
          </p:cNvPr>
          <p:cNvPicPr>
            <a:picLocks noChangeAspect="1"/>
          </p:cNvPicPr>
          <p:nvPr/>
        </p:nvPicPr>
        <p:blipFill>
          <a:blip r:embed="rId8"/>
          <a:stretch>
            <a:fillRect/>
          </a:stretch>
        </p:blipFill>
        <p:spPr>
          <a:xfrm>
            <a:off x="9891219" y="2437919"/>
            <a:ext cx="1370565" cy="1702122"/>
          </a:xfrm>
          <a:prstGeom prst="rect">
            <a:avLst/>
          </a:prstGeom>
        </p:spPr>
      </p:pic>
      <p:pic>
        <p:nvPicPr>
          <p:cNvPr id="14" name="Picture 13">
            <a:extLst>
              <a:ext uri="{FF2B5EF4-FFF2-40B4-BE49-F238E27FC236}">
                <a16:creationId xmlns:a16="http://schemas.microsoft.com/office/drawing/2014/main" id="{71B50E16-A5CE-9555-7D8B-058866D81A05}"/>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483413" y="2864946"/>
            <a:ext cx="1872812" cy="1067538"/>
          </a:xfrm>
          <a:prstGeom prst="rect">
            <a:avLst/>
          </a:prstGeom>
        </p:spPr>
      </p:pic>
      <p:pic>
        <p:nvPicPr>
          <p:cNvPr id="16" name="Graphic 15">
            <a:extLst>
              <a:ext uri="{FF2B5EF4-FFF2-40B4-BE49-F238E27FC236}">
                <a16:creationId xmlns:a16="http://schemas.microsoft.com/office/drawing/2014/main" id="{C2616037-0665-7443-E230-94DA857154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87415" y="2923538"/>
            <a:ext cx="1157017" cy="1127437"/>
          </a:xfrm>
          <a:prstGeom prst="rect">
            <a:avLst/>
          </a:prstGeom>
        </p:spPr>
      </p:pic>
      <p:pic>
        <p:nvPicPr>
          <p:cNvPr id="17" name="Picture 16" descr="A picture containing toy&#10;&#10;Description automatically generated">
            <a:extLst>
              <a:ext uri="{FF2B5EF4-FFF2-40B4-BE49-F238E27FC236}">
                <a16:creationId xmlns:a16="http://schemas.microsoft.com/office/drawing/2014/main" id="{E89210E8-8674-997A-5BF1-43F37E496367}"/>
              </a:ext>
            </a:extLst>
          </p:cNvPr>
          <p:cNvPicPr>
            <a:picLocks noChangeAspect="1"/>
          </p:cNvPicPr>
          <p:nvPr/>
        </p:nvPicPr>
        <p:blipFill>
          <a:blip r:embed="rId12"/>
          <a:stretch>
            <a:fillRect/>
          </a:stretch>
        </p:blipFill>
        <p:spPr>
          <a:xfrm>
            <a:off x="2899718" y="2541693"/>
            <a:ext cx="1768607" cy="1548693"/>
          </a:xfrm>
          <a:prstGeom prst="rect">
            <a:avLst/>
          </a:prstGeom>
        </p:spPr>
      </p:pic>
    </p:spTree>
    <p:extLst>
      <p:ext uri="{BB962C8B-B14F-4D97-AF65-F5344CB8AC3E}">
        <p14:creationId xmlns:p14="http://schemas.microsoft.com/office/powerpoint/2010/main" val="3415381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91E925A-D390-9E7A-713F-868559713685}"/>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6D6BADEF-B8CD-AAE5-06E6-9A8BB837DE23}"/>
              </a:ext>
            </a:extLst>
          </p:cNvPr>
          <p:cNvSpPr/>
          <p:nvPr/>
        </p:nvSpPr>
        <p:spPr>
          <a:xfrm>
            <a:off x="397" y="224"/>
            <a:ext cx="12191206" cy="1927566"/>
          </a:xfrm>
          <a:prstGeom prst="rect">
            <a:avLst/>
          </a:prstGeom>
          <a:solidFill>
            <a:schemeClr val="accent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hangingPunct="0"/>
            <a:endParaRPr lang="en-US" sz="800">
              <a:solidFill>
                <a:srgbClr val="323232"/>
              </a:solidFill>
              <a:latin typeface="Gotham"/>
              <a:ea typeface="Gotham"/>
              <a:cs typeface="Gotham"/>
              <a:sym typeface="Gotham"/>
            </a:endParaRPr>
          </a:p>
        </p:txBody>
      </p:sp>
      <p:pic>
        <p:nvPicPr>
          <p:cNvPr id="5" name="Picture 6" descr="Diagram&#10;&#10;Description automatically generated">
            <a:extLst>
              <a:ext uri="{FF2B5EF4-FFF2-40B4-BE49-F238E27FC236}">
                <a16:creationId xmlns:a16="http://schemas.microsoft.com/office/drawing/2014/main" id="{CE3CD802-109B-A561-B249-2B43B1C995D3}"/>
              </a:ext>
            </a:extLst>
          </p:cNvPr>
          <p:cNvPicPr>
            <a:picLocks noChangeAspect="1"/>
          </p:cNvPicPr>
          <p:nvPr/>
        </p:nvPicPr>
        <p:blipFill>
          <a:blip r:embed="rId3"/>
          <a:stretch>
            <a:fillRect/>
          </a:stretch>
        </p:blipFill>
        <p:spPr>
          <a:xfrm>
            <a:off x="1997400" y="1121582"/>
            <a:ext cx="8197200" cy="5376287"/>
          </a:xfrm>
          <a:prstGeom prst="rect">
            <a:avLst/>
          </a:prstGeom>
        </p:spPr>
      </p:pic>
      <p:sp>
        <p:nvSpPr>
          <p:cNvPr id="10" name="Title 3">
            <a:extLst>
              <a:ext uri="{FF2B5EF4-FFF2-40B4-BE49-F238E27FC236}">
                <a16:creationId xmlns:a16="http://schemas.microsoft.com/office/drawing/2014/main" id="{49772698-EF3A-490F-B276-FD5C71FD89B6}"/>
              </a:ext>
            </a:extLst>
          </p:cNvPr>
          <p:cNvSpPr txBox="1">
            <a:spLocks/>
          </p:cNvSpPr>
          <p:nvPr/>
        </p:nvSpPr>
        <p:spPr bwMode="gray">
          <a:xfrm>
            <a:off x="411870" y="224449"/>
            <a:ext cx="10515600" cy="469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defTabSz="685766" rtl="0" eaLnBrk="1" latinLnBrk="0" hangingPunct="1">
              <a:lnSpc>
                <a:spcPct val="90000"/>
              </a:lnSpc>
              <a:spcBef>
                <a:spcPct val="0"/>
              </a:spcBef>
              <a:buNone/>
              <a:defRPr sz="3300" b="1" i="0" kern="1200">
                <a:solidFill>
                  <a:schemeClr val="tx1"/>
                </a:solidFill>
                <a:latin typeface="Scotia Headline" panose="020B0503020203020204" pitchFamily="34" charset="0"/>
                <a:ea typeface="+mj-ea"/>
                <a:cs typeface="+mj-cs"/>
              </a:defRPr>
            </a:lvl1pPr>
          </a:lstStyle>
          <a:p>
            <a:pPr fontAlgn="auto">
              <a:spcAft>
                <a:spcPts val="0"/>
              </a:spcAft>
            </a:pPr>
            <a:r>
              <a:rPr lang="en-CA">
                <a:solidFill>
                  <a:schemeClr val="bg2"/>
                </a:solidFill>
                <a:latin typeface="Scotia"/>
              </a:rPr>
              <a:t>Product Backlog</a:t>
            </a:r>
            <a:endParaRPr lang="en-US">
              <a:solidFill>
                <a:schemeClr val="bg2"/>
              </a:solidFill>
              <a:latin typeface="Scotia"/>
            </a:endParaRPr>
          </a:p>
        </p:txBody>
      </p:sp>
      <p:sp>
        <p:nvSpPr>
          <p:cNvPr id="2" name="Rectangle: Rounded Corners 1">
            <a:extLst>
              <a:ext uri="{FF2B5EF4-FFF2-40B4-BE49-F238E27FC236}">
                <a16:creationId xmlns:a16="http://schemas.microsoft.com/office/drawing/2014/main" id="{E5C77AD7-8584-07AC-DA6A-FD43F792B58B}"/>
              </a:ext>
            </a:extLst>
          </p:cNvPr>
          <p:cNvSpPr/>
          <p:nvPr/>
        </p:nvSpPr>
        <p:spPr>
          <a:xfrm>
            <a:off x="8483600" y="1219200"/>
            <a:ext cx="1635760" cy="568960"/>
          </a:xfrm>
          <a:prstGeom prst="roundRect">
            <a:avLst/>
          </a:prstGeom>
          <a:solidFill>
            <a:srgbClr val="E8F4F8"/>
          </a:solidFill>
          <a:ln>
            <a:solidFill>
              <a:srgbClr val="E8F4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400" b="1">
                <a:solidFill>
                  <a:schemeClr val="tx1"/>
                </a:solidFill>
              </a:rPr>
              <a:t>Backlog actualizado</a:t>
            </a:r>
          </a:p>
        </p:txBody>
      </p:sp>
      <p:sp>
        <p:nvSpPr>
          <p:cNvPr id="6" name="Rectangle: Rounded Corners 5">
            <a:extLst>
              <a:ext uri="{FF2B5EF4-FFF2-40B4-BE49-F238E27FC236}">
                <a16:creationId xmlns:a16="http://schemas.microsoft.com/office/drawing/2014/main" id="{A71BCBAC-5291-4A08-1854-33160771A664}"/>
              </a:ext>
            </a:extLst>
          </p:cNvPr>
          <p:cNvSpPr/>
          <p:nvPr/>
        </p:nvSpPr>
        <p:spPr>
          <a:xfrm>
            <a:off x="6421120" y="1109191"/>
            <a:ext cx="1635760" cy="56896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400" b="1">
                <a:solidFill>
                  <a:schemeClr val="tx1"/>
                </a:solidFill>
              </a:rPr>
              <a:t>Talla del Ítem</a:t>
            </a:r>
          </a:p>
        </p:txBody>
      </p:sp>
      <p:sp>
        <p:nvSpPr>
          <p:cNvPr id="7" name="Rectangle: Rounded Corners 6">
            <a:extLst>
              <a:ext uri="{FF2B5EF4-FFF2-40B4-BE49-F238E27FC236}">
                <a16:creationId xmlns:a16="http://schemas.microsoft.com/office/drawing/2014/main" id="{4C8A44C6-D20D-24C4-B646-6DC12E6EB379}"/>
              </a:ext>
            </a:extLst>
          </p:cNvPr>
          <p:cNvSpPr/>
          <p:nvPr/>
        </p:nvSpPr>
        <p:spPr>
          <a:xfrm>
            <a:off x="4856480" y="2916701"/>
            <a:ext cx="2381347" cy="216329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400" b="1">
                <a:solidFill>
                  <a:srgbClr val="333333"/>
                </a:solidFill>
                <a:ea typeface="+mn-lt"/>
                <a:cs typeface="+mn-lt"/>
              </a:rPr>
              <a:t>El Product Backlog </a:t>
            </a:r>
            <a:r>
              <a:rPr lang="es-CO" sz="1400">
                <a:solidFill>
                  <a:srgbClr val="333333"/>
                </a:solidFill>
                <a:ea typeface="+mn-lt"/>
                <a:cs typeface="+mn-lt"/>
              </a:rPr>
              <a:t>es una lista </a:t>
            </a:r>
            <a:r>
              <a:rPr lang="es-CO" sz="1400" b="1">
                <a:solidFill>
                  <a:srgbClr val="333333"/>
                </a:solidFill>
                <a:ea typeface="+mn-lt"/>
                <a:cs typeface="+mn-lt"/>
              </a:rPr>
              <a:t>priorizada </a:t>
            </a:r>
            <a:r>
              <a:rPr lang="es-CO" sz="1400">
                <a:solidFill>
                  <a:srgbClr val="333333"/>
                </a:solidFill>
                <a:ea typeface="+mn-lt"/>
                <a:cs typeface="+mn-lt"/>
              </a:rPr>
              <a:t>de todos los work-ítems </a:t>
            </a:r>
            <a:r>
              <a:rPr lang="es-CO" sz="1400" b="1">
                <a:solidFill>
                  <a:srgbClr val="333333"/>
                </a:solidFill>
                <a:ea typeface="+mn-lt"/>
                <a:cs typeface="+mn-lt"/>
              </a:rPr>
              <a:t>necesarios </a:t>
            </a:r>
            <a:r>
              <a:rPr lang="es-CO" sz="1400">
                <a:solidFill>
                  <a:srgbClr val="333333"/>
                </a:solidFill>
                <a:ea typeface="+mn-lt"/>
                <a:cs typeface="+mn-lt"/>
              </a:rPr>
              <a:t>para el desarrollo del producto, </a:t>
            </a:r>
            <a:r>
              <a:rPr lang="es-CO" sz="1400" b="1">
                <a:solidFill>
                  <a:srgbClr val="333333"/>
                </a:solidFill>
                <a:ea typeface="+mn-lt"/>
                <a:cs typeface="+mn-lt"/>
              </a:rPr>
              <a:t>centralizando </a:t>
            </a:r>
            <a:r>
              <a:rPr lang="es-CO" sz="1400">
                <a:solidFill>
                  <a:srgbClr val="333333"/>
                </a:solidFill>
                <a:ea typeface="+mn-lt"/>
                <a:cs typeface="+mn-lt"/>
              </a:rPr>
              <a:t>y </a:t>
            </a:r>
            <a:r>
              <a:rPr lang="es-CO" sz="1400" b="1">
                <a:solidFill>
                  <a:srgbClr val="333333"/>
                </a:solidFill>
                <a:ea typeface="+mn-lt"/>
                <a:cs typeface="+mn-lt"/>
              </a:rPr>
              <a:t>organizando </a:t>
            </a:r>
            <a:r>
              <a:rPr lang="es-CO" sz="1400">
                <a:solidFill>
                  <a:srgbClr val="333333"/>
                </a:solidFill>
                <a:ea typeface="+mn-lt"/>
                <a:cs typeface="+mn-lt"/>
              </a:rPr>
              <a:t>todas las características y requisitos según su valor.</a:t>
            </a:r>
            <a:endParaRPr lang="en-US"/>
          </a:p>
        </p:txBody>
      </p:sp>
      <p:sp>
        <p:nvSpPr>
          <p:cNvPr id="8" name="Rectangle: Rounded Corners 7">
            <a:extLst>
              <a:ext uri="{FF2B5EF4-FFF2-40B4-BE49-F238E27FC236}">
                <a16:creationId xmlns:a16="http://schemas.microsoft.com/office/drawing/2014/main" id="{E3753F1B-44CE-136E-405B-022E02506B3E}"/>
              </a:ext>
            </a:extLst>
          </p:cNvPr>
          <p:cNvSpPr/>
          <p:nvPr/>
        </p:nvSpPr>
        <p:spPr>
          <a:xfrm>
            <a:off x="4043680" y="1635760"/>
            <a:ext cx="1635760" cy="32512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a:solidFill>
                  <a:schemeClr val="tx1"/>
                </a:solidFill>
              </a:rPr>
              <a:t>Menos	Más</a:t>
            </a:r>
          </a:p>
        </p:txBody>
      </p:sp>
      <p:sp>
        <p:nvSpPr>
          <p:cNvPr id="9" name="Rectangle: Rounded Corners 8">
            <a:extLst>
              <a:ext uri="{FF2B5EF4-FFF2-40B4-BE49-F238E27FC236}">
                <a16:creationId xmlns:a16="http://schemas.microsoft.com/office/drawing/2014/main" id="{54E2F29F-8CAB-30EF-4DC6-8199FD8A5FD4}"/>
              </a:ext>
            </a:extLst>
          </p:cNvPr>
          <p:cNvSpPr/>
          <p:nvPr/>
        </p:nvSpPr>
        <p:spPr>
          <a:xfrm>
            <a:off x="6421120" y="1574800"/>
            <a:ext cx="1635760" cy="32512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a:solidFill>
                  <a:schemeClr val="tx1"/>
                </a:solidFill>
              </a:rPr>
              <a:t>Pequeño	Grande</a:t>
            </a:r>
          </a:p>
        </p:txBody>
      </p:sp>
      <p:sp>
        <p:nvSpPr>
          <p:cNvPr id="11" name="Rectangle: Rounded Corners 10">
            <a:extLst>
              <a:ext uri="{FF2B5EF4-FFF2-40B4-BE49-F238E27FC236}">
                <a16:creationId xmlns:a16="http://schemas.microsoft.com/office/drawing/2014/main" id="{5849857D-9F90-DE4E-E01C-E57FB187E52E}"/>
              </a:ext>
            </a:extLst>
          </p:cNvPr>
          <p:cNvSpPr/>
          <p:nvPr/>
        </p:nvSpPr>
        <p:spPr>
          <a:xfrm>
            <a:off x="4043680" y="1168400"/>
            <a:ext cx="1635760" cy="56896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400" b="1">
                <a:solidFill>
                  <a:schemeClr val="tx1"/>
                </a:solidFill>
              </a:rPr>
              <a:t>Nivel de detalle en los ítems </a:t>
            </a:r>
          </a:p>
        </p:txBody>
      </p:sp>
      <p:sp>
        <p:nvSpPr>
          <p:cNvPr id="3" name="Oval 2">
            <a:extLst>
              <a:ext uri="{FF2B5EF4-FFF2-40B4-BE49-F238E27FC236}">
                <a16:creationId xmlns:a16="http://schemas.microsoft.com/office/drawing/2014/main" id="{2FB38735-D804-B4B4-6CFC-AFCEB9986E28}"/>
              </a:ext>
            </a:extLst>
          </p:cNvPr>
          <p:cNvSpPr/>
          <p:nvPr/>
        </p:nvSpPr>
        <p:spPr>
          <a:xfrm>
            <a:off x="11084808" y="6587825"/>
            <a:ext cx="161925" cy="14973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2">
            <a:extLst>
              <a:ext uri="{FF2B5EF4-FFF2-40B4-BE49-F238E27FC236}">
                <a16:creationId xmlns:a16="http://schemas.microsoft.com/office/drawing/2014/main" id="{59E49102-0195-116A-79BF-08ACF3E11439}"/>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1136" b="2124"/>
          <a:stretch/>
        </p:blipFill>
        <p:spPr bwMode="auto">
          <a:xfrm>
            <a:off x="11318637" y="6459388"/>
            <a:ext cx="873363" cy="398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29569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02FBAD62-F045-4448-A1EE-7CF4F8AD182F}"/>
              </a:ext>
            </a:extLst>
          </p:cNvPr>
          <p:cNvSpPr>
            <a:spLocks noGrp="1"/>
          </p:cNvSpPr>
          <p:nvPr>
            <p:ph type="body" sz="quarter" idx="34"/>
          </p:nvPr>
        </p:nvSpPr>
        <p:spPr>
          <a:xfrm>
            <a:off x="8211657" y="2409825"/>
            <a:ext cx="3503613" cy="4081061"/>
          </a:xfrm>
        </p:spPr>
        <p:txBody>
          <a:bodyPr/>
          <a:lstStyle/>
          <a:p>
            <a:r>
              <a:rPr lang="en-CA"/>
              <a:t>3</a:t>
            </a:r>
          </a:p>
        </p:txBody>
      </p:sp>
      <p:sp>
        <p:nvSpPr>
          <p:cNvPr id="10" name="Text Placeholder 9">
            <a:extLst>
              <a:ext uri="{FF2B5EF4-FFF2-40B4-BE49-F238E27FC236}">
                <a16:creationId xmlns:a16="http://schemas.microsoft.com/office/drawing/2014/main" id="{A2361C8A-6A50-4147-9E05-B695268AB70D}"/>
              </a:ext>
            </a:extLst>
          </p:cNvPr>
          <p:cNvSpPr>
            <a:spLocks noGrp="1"/>
          </p:cNvSpPr>
          <p:nvPr>
            <p:ph type="body" sz="quarter" idx="33"/>
          </p:nvPr>
        </p:nvSpPr>
        <p:spPr>
          <a:xfrm>
            <a:off x="4339539" y="2409824"/>
            <a:ext cx="3503613" cy="4081061"/>
          </a:xfrm>
        </p:spPr>
        <p:txBody>
          <a:bodyPr/>
          <a:lstStyle/>
          <a:p>
            <a:r>
              <a:rPr lang="en-CA"/>
              <a:t>2</a:t>
            </a:r>
          </a:p>
        </p:txBody>
      </p:sp>
      <p:sp>
        <p:nvSpPr>
          <p:cNvPr id="6" name="Text Placeholder 5">
            <a:extLst>
              <a:ext uri="{FF2B5EF4-FFF2-40B4-BE49-F238E27FC236}">
                <a16:creationId xmlns:a16="http://schemas.microsoft.com/office/drawing/2014/main" id="{B2737733-5F33-D24F-B461-F732188119E8}"/>
              </a:ext>
            </a:extLst>
          </p:cNvPr>
          <p:cNvSpPr>
            <a:spLocks noGrp="1"/>
          </p:cNvSpPr>
          <p:nvPr>
            <p:ph type="body" sz="quarter" idx="24"/>
          </p:nvPr>
        </p:nvSpPr>
        <p:spPr>
          <a:xfrm>
            <a:off x="467421" y="2409824"/>
            <a:ext cx="3503613" cy="4081061"/>
          </a:xfrm>
        </p:spPr>
        <p:txBody>
          <a:bodyPr/>
          <a:lstStyle/>
          <a:p>
            <a:r>
              <a:rPr lang="en-CA"/>
              <a:t>1</a:t>
            </a:r>
          </a:p>
        </p:txBody>
      </p:sp>
      <p:sp>
        <p:nvSpPr>
          <p:cNvPr id="4" name="Title 3">
            <a:extLst>
              <a:ext uri="{FF2B5EF4-FFF2-40B4-BE49-F238E27FC236}">
                <a16:creationId xmlns:a16="http://schemas.microsoft.com/office/drawing/2014/main" id="{A79FF30C-9B0C-2E4F-B5D2-C3A9B798498E}"/>
              </a:ext>
            </a:extLst>
          </p:cNvPr>
          <p:cNvSpPr>
            <a:spLocks noGrp="1"/>
          </p:cNvSpPr>
          <p:nvPr>
            <p:ph type="title"/>
          </p:nvPr>
        </p:nvSpPr>
        <p:spPr/>
        <p:txBody>
          <a:bodyPr/>
          <a:lstStyle/>
          <a:p>
            <a:r>
              <a:rPr lang="en-CA"/>
              <a:t>Tres C’s</a:t>
            </a:r>
          </a:p>
        </p:txBody>
      </p:sp>
      <p:sp>
        <p:nvSpPr>
          <p:cNvPr id="5" name="Text Placeholder 4">
            <a:extLst>
              <a:ext uri="{FF2B5EF4-FFF2-40B4-BE49-F238E27FC236}">
                <a16:creationId xmlns:a16="http://schemas.microsoft.com/office/drawing/2014/main" id="{41E25C77-519E-C443-AD7B-76CFFE716614}"/>
              </a:ext>
            </a:extLst>
          </p:cNvPr>
          <p:cNvSpPr>
            <a:spLocks noGrp="1"/>
          </p:cNvSpPr>
          <p:nvPr>
            <p:ph type="body" sz="quarter" idx="23"/>
          </p:nvPr>
        </p:nvSpPr>
        <p:spPr/>
        <p:txBody>
          <a:bodyPr/>
          <a:lstStyle/>
          <a:p>
            <a:r>
              <a:rPr lang="es-ES"/>
              <a:t>Los tres elementos de una historia de usuario:</a:t>
            </a:r>
            <a:endParaRPr lang="en-CA"/>
          </a:p>
        </p:txBody>
      </p:sp>
      <p:sp>
        <p:nvSpPr>
          <p:cNvPr id="7" name="Text Placeholder 6">
            <a:extLst>
              <a:ext uri="{FF2B5EF4-FFF2-40B4-BE49-F238E27FC236}">
                <a16:creationId xmlns:a16="http://schemas.microsoft.com/office/drawing/2014/main" id="{5EFC7922-0465-C442-BEC9-7EA72862A1C5}"/>
              </a:ext>
            </a:extLst>
          </p:cNvPr>
          <p:cNvSpPr>
            <a:spLocks noGrp="1"/>
          </p:cNvSpPr>
          <p:nvPr>
            <p:ph type="body" sz="quarter" idx="12"/>
          </p:nvPr>
        </p:nvSpPr>
        <p:spPr>
          <a:xfrm>
            <a:off x="845295" y="3669073"/>
            <a:ext cx="2747865" cy="364207"/>
          </a:xfrm>
        </p:spPr>
        <p:txBody>
          <a:bodyPr/>
          <a:lstStyle/>
          <a:p>
            <a:r>
              <a:rPr lang="en-CA"/>
              <a:t>CARDS</a:t>
            </a:r>
          </a:p>
        </p:txBody>
      </p:sp>
      <p:sp>
        <p:nvSpPr>
          <p:cNvPr id="8" name="Text Placeholder 7">
            <a:extLst>
              <a:ext uri="{FF2B5EF4-FFF2-40B4-BE49-F238E27FC236}">
                <a16:creationId xmlns:a16="http://schemas.microsoft.com/office/drawing/2014/main" id="{346856B4-82F1-B94F-A140-308CD5E0E564}"/>
              </a:ext>
            </a:extLst>
          </p:cNvPr>
          <p:cNvSpPr>
            <a:spLocks noGrp="1"/>
          </p:cNvSpPr>
          <p:nvPr>
            <p:ph type="body" sz="quarter" idx="13"/>
          </p:nvPr>
        </p:nvSpPr>
        <p:spPr/>
        <p:txBody>
          <a:bodyPr vert="horz" lIns="0" tIns="0" rIns="0" bIns="0" rtlCol="0" anchor="t">
            <a:noAutofit/>
          </a:bodyPr>
          <a:lstStyle/>
          <a:p>
            <a:r>
              <a:rPr lang="es-ES">
                <a:latin typeface="Scotia"/>
                <a:cs typeface="Segoe UI"/>
              </a:rPr>
              <a:t>Son 2 o 3 oraciones que describen la intención de la historia y sirven como una</a:t>
            </a:r>
            <a:r>
              <a:rPr lang="es-ES" b="1">
                <a:latin typeface="Scotia"/>
                <a:cs typeface="Segoe UI"/>
              </a:rPr>
              <a:t> invitación a la conversación.</a:t>
            </a:r>
            <a:endParaRPr lang="en-US"/>
          </a:p>
          <a:p>
            <a:br>
              <a:rPr lang="en-US"/>
            </a:br>
            <a:endParaRPr lang="en-US"/>
          </a:p>
          <a:p>
            <a:endParaRPr lang="es-ES" b="1">
              <a:latin typeface="Scotia"/>
            </a:endParaRPr>
          </a:p>
        </p:txBody>
      </p:sp>
      <p:sp>
        <p:nvSpPr>
          <p:cNvPr id="11" name="Text Placeholder 10">
            <a:extLst>
              <a:ext uri="{FF2B5EF4-FFF2-40B4-BE49-F238E27FC236}">
                <a16:creationId xmlns:a16="http://schemas.microsoft.com/office/drawing/2014/main" id="{2A32901A-B981-AE4F-80CA-40A46E265BCF}"/>
              </a:ext>
            </a:extLst>
          </p:cNvPr>
          <p:cNvSpPr>
            <a:spLocks noGrp="1"/>
          </p:cNvSpPr>
          <p:nvPr>
            <p:ph type="body" sz="quarter" idx="27"/>
          </p:nvPr>
        </p:nvSpPr>
        <p:spPr>
          <a:xfrm>
            <a:off x="4722068" y="3668577"/>
            <a:ext cx="2747865" cy="364207"/>
          </a:xfrm>
        </p:spPr>
        <p:txBody>
          <a:bodyPr/>
          <a:lstStyle/>
          <a:p>
            <a:r>
              <a:rPr lang="en-CA"/>
              <a:t>CONVERSATION </a:t>
            </a:r>
          </a:p>
        </p:txBody>
      </p:sp>
      <p:sp>
        <p:nvSpPr>
          <p:cNvPr id="12" name="Text Placeholder 11">
            <a:extLst>
              <a:ext uri="{FF2B5EF4-FFF2-40B4-BE49-F238E27FC236}">
                <a16:creationId xmlns:a16="http://schemas.microsoft.com/office/drawing/2014/main" id="{40803449-2ADC-FE43-B5CF-15E0E55BF711}"/>
              </a:ext>
            </a:extLst>
          </p:cNvPr>
          <p:cNvSpPr>
            <a:spLocks noGrp="1"/>
          </p:cNvSpPr>
          <p:nvPr>
            <p:ph type="body" sz="quarter" idx="28"/>
          </p:nvPr>
        </p:nvSpPr>
        <p:spPr>
          <a:xfrm>
            <a:off x="4722068" y="4147580"/>
            <a:ext cx="2747865" cy="1520354"/>
          </a:xfrm>
        </p:spPr>
        <p:txBody>
          <a:bodyPr vert="horz" lIns="0" tIns="0" rIns="0" bIns="0" rtlCol="0" anchor="t">
            <a:noAutofit/>
          </a:bodyPr>
          <a:lstStyle/>
          <a:p>
            <a:r>
              <a:rPr lang="es-ES">
                <a:latin typeface="Scotia"/>
                <a:cs typeface="Segoe UI"/>
              </a:rPr>
              <a:t>Es una discusión entre los usuarios, el equipo, el propietario del producto y otros interesados para determinar el comportamiento esperado e implementar.</a:t>
            </a:r>
            <a:endParaRPr lang="es-ES">
              <a:cs typeface="Segoe UI"/>
            </a:endParaRPr>
          </a:p>
        </p:txBody>
      </p:sp>
      <p:sp>
        <p:nvSpPr>
          <p:cNvPr id="15" name="Text Placeholder 14">
            <a:extLst>
              <a:ext uri="{FF2B5EF4-FFF2-40B4-BE49-F238E27FC236}">
                <a16:creationId xmlns:a16="http://schemas.microsoft.com/office/drawing/2014/main" id="{88317282-2DC0-684A-BD91-59D49A7EF304}"/>
              </a:ext>
            </a:extLst>
          </p:cNvPr>
          <p:cNvSpPr>
            <a:spLocks noGrp="1"/>
          </p:cNvSpPr>
          <p:nvPr>
            <p:ph type="body" sz="quarter" idx="31"/>
          </p:nvPr>
        </p:nvSpPr>
        <p:spPr>
          <a:xfrm>
            <a:off x="8589530" y="3656951"/>
            <a:ext cx="2747865" cy="364207"/>
          </a:xfrm>
        </p:spPr>
        <p:txBody>
          <a:bodyPr/>
          <a:lstStyle/>
          <a:p>
            <a:r>
              <a:rPr lang="en-CA"/>
              <a:t>CONFIRMATION</a:t>
            </a:r>
          </a:p>
        </p:txBody>
      </p:sp>
      <p:sp>
        <p:nvSpPr>
          <p:cNvPr id="16" name="Text Placeholder 15">
            <a:extLst>
              <a:ext uri="{FF2B5EF4-FFF2-40B4-BE49-F238E27FC236}">
                <a16:creationId xmlns:a16="http://schemas.microsoft.com/office/drawing/2014/main" id="{4076529F-F536-304C-8EB5-6C1B779F14FE}"/>
              </a:ext>
            </a:extLst>
          </p:cNvPr>
          <p:cNvSpPr>
            <a:spLocks noGrp="1"/>
          </p:cNvSpPr>
          <p:nvPr>
            <p:ph type="body" sz="quarter" idx="32"/>
          </p:nvPr>
        </p:nvSpPr>
        <p:spPr>
          <a:xfrm>
            <a:off x="8598841" y="4147322"/>
            <a:ext cx="2747865" cy="2043927"/>
          </a:xfrm>
        </p:spPr>
        <p:txBody>
          <a:bodyPr vert="horz" lIns="0" tIns="0" rIns="0" bIns="0" rtlCol="0" anchor="t">
            <a:noAutofit/>
          </a:bodyPr>
          <a:lstStyle/>
          <a:p>
            <a:r>
              <a:rPr lang="es-ES">
                <a:latin typeface="Scotia"/>
                <a:cs typeface="Segoe UI"/>
              </a:rPr>
              <a:t>Es la Prueba de Aceptación o el proceso mediante el cual el cliente o propietario del producto verifica que la historia se ha implementado de acuerdo con sus expectativas.</a:t>
            </a:r>
            <a:endParaRPr lang="en-US"/>
          </a:p>
          <a:p>
            <a:br>
              <a:rPr lang="en-US"/>
            </a:br>
            <a:endParaRPr lang="en-US"/>
          </a:p>
          <a:p>
            <a:endParaRPr lang="es-ES">
              <a:latin typeface="Scotia"/>
            </a:endParaRPr>
          </a:p>
        </p:txBody>
      </p:sp>
      <p:pic>
        <p:nvPicPr>
          <p:cNvPr id="2" name="Picture 2">
            <a:extLst>
              <a:ext uri="{FF2B5EF4-FFF2-40B4-BE49-F238E27FC236}">
                <a16:creationId xmlns:a16="http://schemas.microsoft.com/office/drawing/2014/main" id="{B733503A-E478-7293-2F2D-C4C33298C127}"/>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8F203622-176F-5F70-5459-AFC58931DBE4}"/>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346363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7849B8"/>
        </a:solidFill>
        <a:effectLst/>
      </p:bgPr>
    </p:bg>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237FDBAE-7463-F64A-A3BF-D645185176EB}"/>
              </a:ext>
            </a:extLst>
          </p:cNvPr>
          <p:cNvSpPr txBox="1"/>
          <p:nvPr/>
        </p:nvSpPr>
        <p:spPr>
          <a:xfrm>
            <a:off x="363494" y="986401"/>
            <a:ext cx="11916995" cy="6771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s-MX" sz="4400" b="1">
                <a:solidFill>
                  <a:schemeClr val="bg2"/>
                </a:solidFill>
                <a:latin typeface="Scotia Headline" panose="020B0503020203020204" pitchFamily="34" charset="0"/>
              </a:rPr>
              <a:t>INVEST</a:t>
            </a:r>
            <a:endParaRPr sz="2800" b="1">
              <a:solidFill>
                <a:schemeClr val="bg2"/>
              </a:solidFill>
              <a:latin typeface="Scotia Headline" panose="020B0503020203020204" pitchFamily="34" charset="0"/>
            </a:endParaRPr>
          </a:p>
        </p:txBody>
      </p:sp>
      <p:sp>
        <p:nvSpPr>
          <p:cNvPr id="14" name="6-Point Star 8"/>
          <p:cNvSpPr/>
          <p:nvPr/>
        </p:nvSpPr>
        <p:spPr>
          <a:xfrm>
            <a:off x="4098763" y="2146773"/>
            <a:ext cx="4091637" cy="4574539"/>
          </a:xfrm>
          <a:prstGeom prst="star6">
            <a:avLst>
              <a:gd name="adj" fmla="val 0"/>
              <a:gd name="hf" fmla="val 115470"/>
            </a:avLst>
          </a:prstGeom>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bg1"/>
              </a:solidFill>
              <a:latin typeface="Arial" panose="020B0604020202020204" pitchFamily="34" charset="0"/>
              <a:cs typeface="Arial" panose="020B0604020202020204" pitchFamily="34" charset="0"/>
            </a:endParaRPr>
          </a:p>
        </p:txBody>
      </p:sp>
      <p:grpSp>
        <p:nvGrpSpPr>
          <p:cNvPr id="27" name="Group 43"/>
          <p:cNvGrpSpPr/>
          <p:nvPr/>
        </p:nvGrpSpPr>
        <p:grpSpPr>
          <a:xfrm>
            <a:off x="622169" y="2146772"/>
            <a:ext cx="11048215" cy="4721086"/>
            <a:chOff x="319175" y="835176"/>
            <a:chExt cx="11695496" cy="5810542"/>
          </a:xfrm>
        </p:grpSpPr>
        <p:grpSp>
          <p:nvGrpSpPr>
            <p:cNvPr id="28" name="Group 19"/>
            <p:cNvGrpSpPr/>
            <p:nvPr/>
          </p:nvGrpSpPr>
          <p:grpSpPr>
            <a:xfrm>
              <a:off x="490795" y="835176"/>
              <a:ext cx="3223457" cy="1440057"/>
              <a:chOff x="-211315" y="2535865"/>
              <a:chExt cx="3223457" cy="1440057"/>
            </a:xfrm>
          </p:grpSpPr>
          <p:sp>
            <p:nvSpPr>
              <p:cNvPr id="44" name="TextBox 20"/>
              <p:cNvSpPr txBox="1"/>
              <p:nvPr/>
            </p:nvSpPr>
            <p:spPr>
              <a:xfrm>
                <a:off x="470648" y="2535865"/>
                <a:ext cx="2541494" cy="454561"/>
              </a:xfrm>
              <a:prstGeom prst="rect">
                <a:avLst/>
              </a:prstGeom>
              <a:noFill/>
            </p:spPr>
            <p:txBody>
              <a:bodyPr wrap="square" rtlCol="0">
                <a:spAutoFit/>
              </a:bodyPr>
              <a:lstStyle/>
              <a:p>
                <a:pPr algn="r"/>
                <a:r>
                  <a:rPr lang="en-US" sz="1800" spc="-150">
                    <a:solidFill>
                      <a:schemeClr val="tx1">
                        <a:lumMod val="60000"/>
                        <a:lumOff val="40000"/>
                      </a:schemeClr>
                    </a:solidFill>
                    <a:latin typeface="Scotia Headline" panose="020B0703020203020204" pitchFamily="34" charset="0"/>
                    <a:cs typeface="Arial" panose="020B0604020202020204" pitchFamily="34" charset="0"/>
                  </a:rPr>
                  <a:t>INDEPENDENT</a:t>
                </a:r>
              </a:p>
            </p:txBody>
          </p:sp>
          <p:sp>
            <p:nvSpPr>
              <p:cNvPr id="45" name="TextBox 21"/>
              <p:cNvSpPr txBox="1"/>
              <p:nvPr/>
            </p:nvSpPr>
            <p:spPr>
              <a:xfrm>
                <a:off x="-211315" y="3066801"/>
                <a:ext cx="3223457" cy="909121"/>
              </a:xfrm>
              <a:prstGeom prst="rect">
                <a:avLst/>
              </a:prstGeom>
              <a:noFill/>
            </p:spPr>
            <p:txBody>
              <a:bodyPr wrap="square" rtlCol="0">
                <a:spAutoFit/>
              </a:bodyPr>
              <a:lstStyle/>
              <a:p>
                <a:pPr algn="r"/>
                <a:r>
                  <a:rPr lang="es-ES" sz="1400">
                    <a:solidFill>
                      <a:schemeClr val="tx1">
                        <a:lumMod val="75000"/>
                        <a:lumOff val="25000"/>
                      </a:schemeClr>
                    </a:solidFill>
                    <a:latin typeface="Scotia Regular" panose="020B0503020203020204" pitchFamily="34" charset="0"/>
                    <a:cs typeface="Arial" panose="020B0604020202020204" pitchFamily="34" charset="0"/>
                  </a:rPr>
                  <a:t>Deben ser autónomos de manera que permitan liberarse sin depender unos de otros.</a:t>
                </a:r>
                <a:endParaRPr lang="es-MX" sz="1400">
                  <a:solidFill>
                    <a:schemeClr val="tx1">
                      <a:lumMod val="75000"/>
                      <a:lumOff val="25000"/>
                    </a:schemeClr>
                  </a:solidFill>
                  <a:latin typeface="Scotia Regular" panose="020B0503020203020204" pitchFamily="34" charset="0"/>
                  <a:cs typeface="Arial" panose="020B0604020202020204" pitchFamily="34" charset="0"/>
                </a:endParaRPr>
              </a:p>
            </p:txBody>
          </p:sp>
        </p:grpSp>
        <p:grpSp>
          <p:nvGrpSpPr>
            <p:cNvPr id="29" name="Group 22"/>
            <p:cNvGrpSpPr/>
            <p:nvPr/>
          </p:nvGrpSpPr>
          <p:grpSpPr>
            <a:xfrm>
              <a:off x="490795" y="4940505"/>
              <a:ext cx="3223457" cy="1705213"/>
              <a:chOff x="-211315" y="2535865"/>
              <a:chExt cx="3223457" cy="1705213"/>
            </a:xfrm>
          </p:grpSpPr>
          <p:sp>
            <p:nvSpPr>
              <p:cNvPr id="42" name="TextBox 23"/>
              <p:cNvSpPr txBox="1"/>
              <p:nvPr/>
            </p:nvSpPr>
            <p:spPr>
              <a:xfrm>
                <a:off x="470648" y="2535865"/>
                <a:ext cx="2541494" cy="454560"/>
              </a:xfrm>
              <a:prstGeom prst="rect">
                <a:avLst/>
              </a:prstGeom>
              <a:noFill/>
            </p:spPr>
            <p:txBody>
              <a:bodyPr wrap="square" rtlCol="0">
                <a:spAutoFit/>
              </a:bodyPr>
              <a:lstStyle/>
              <a:p>
                <a:pPr algn="r"/>
                <a:r>
                  <a:rPr lang="en-US" sz="1800" spc="-150">
                    <a:solidFill>
                      <a:schemeClr val="tx1">
                        <a:lumMod val="60000"/>
                        <a:lumOff val="40000"/>
                      </a:schemeClr>
                    </a:solidFill>
                    <a:latin typeface="Scotia Headline" panose="020B0703020203020204" pitchFamily="34" charset="0"/>
                    <a:cs typeface="Arial" panose="020B0604020202020204" pitchFamily="34" charset="0"/>
                  </a:rPr>
                  <a:t>SIZE  PROPERLY</a:t>
                </a:r>
              </a:p>
            </p:txBody>
          </p:sp>
          <p:sp>
            <p:nvSpPr>
              <p:cNvPr id="43" name="TextBox 24"/>
              <p:cNvSpPr txBox="1"/>
              <p:nvPr/>
            </p:nvSpPr>
            <p:spPr>
              <a:xfrm>
                <a:off x="-211315" y="3066798"/>
                <a:ext cx="3223457" cy="1174280"/>
              </a:xfrm>
              <a:prstGeom prst="rect">
                <a:avLst/>
              </a:prstGeom>
              <a:noFill/>
            </p:spPr>
            <p:txBody>
              <a:bodyPr wrap="square" rtlCol="0">
                <a:spAutoFit/>
              </a:bodyPr>
              <a:lstStyle/>
              <a:p>
                <a:pPr algn="r"/>
                <a:r>
                  <a:rPr lang="es-ES" sz="1400">
                    <a:solidFill>
                      <a:schemeClr val="tx1">
                        <a:lumMod val="75000"/>
                        <a:lumOff val="25000"/>
                      </a:schemeClr>
                    </a:solidFill>
                    <a:latin typeface="Scotia Regular" panose="020B0503020203020204" pitchFamily="34" charset="0"/>
                    <a:cs typeface="Arial" panose="020B0604020202020204" pitchFamily="34" charset="0"/>
                  </a:rPr>
                  <a:t>Una historia de usuario es una pequeña parte de trabajo que permite completarla en un solo Sprint.</a:t>
                </a:r>
                <a:endParaRPr lang="es-MX" sz="1400">
                  <a:solidFill>
                    <a:schemeClr val="tx1">
                      <a:lumMod val="75000"/>
                      <a:lumOff val="25000"/>
                    </a:schemeClr>
                  </a:solidFill>
                  <a:latin typeface="Scotia Regular" panose="020B0503020203020204" pitchFamily="34" charset="0"/>
                  <a:cs typeface="Arial" panose="020B0604020202020204" pitchFamily="34" charset="0"/>
                </a:endParaRPr>
              </a:p>
            </p:txBody>
          </p:sp>
        </p:grpSp>
        <p:grpSp>
          <p:nvGrpSpPr>
            <p:cNvPr id="30" name="Group 25"/>
            <p:cNvGrpSpPr/>
            <p:nvPr/>
          </p:nvGrpSpPr>
          <p:grpSpPr>
            <a:xfrm>
              <a:off x="319175" y="2887841"/>
              <a:ext cx="2713114" cy="1705215"/>
              <a:chOff x="299028" y="2535865"/>
              <a:chExt cx="2713114" cy="1705215"/>
            </a:xfrm>
          </p:grpSpPr>
          <p:sp>
            <p:nvSpPr>
              <p:cNvPr id="40" name="TextBox 26"/>
              <p:cNvSpPr txBox="1"/>
              <p:nvPr/>
            </p:nvSpPr>
            <p:spPr>
              <a:xfrm>
                <a:off x="470648" y="2535865"/>
                <a:ext cx="2541494" cy="454561"/>
              </a:xfrm>
              <a:prstGeom prst="rect">
                <a:avLst/>
              </a:prstGeom>
              <a:noFill/>
            </p:spPr>
            <p:txBody>
              <a:bodyPr wrap="square" rtlCol="0">
                <a:spAutoFit/>
              </a:bodyPr>
              <a:lstStyle/>
              <a:p>
                <a:pPr algn="r"/>
                <a:r>
                  <a:rPr lang="en-US" sz="1800" spc="-150">
                    <a:solidFill>
                      <a:schemeClr val="tx1">
                        <a:lumMod val="60000"/>
                        <a:lumOff val="40000"/>
                      </a:schemeClr>
                    </a:solidFill>
                    <a:latin typeface="Scotia Headline" panose="020B0703020203020204" pitchFamily="34" charset="0"/>
                    <a:cs typeface="Arial" panose="020B0604020202020204" pitchFamily="34" charset="0"/>
                  </a:rPr>
                  <a:t>TESTABLE</a:t>
                </a:r>
              </a:p>
            </p:txBody>
          </p:sp>
          <p:sp>
            <p:nvSpPr>
              <p:cNvPr id="41" name="TextBox 27"/>
              <p:cNvSpPr txBox="1"/>
              <p:nvPr/>
            </p:nvSpPr>
            <p:spPr>
              <a:xfrm>
                <a:off x="299028" y="3066799"/>
                <a:ext cx="2713114" cy="1174281"/>
              </a:xfrm>
              <a:prstGeom prst="rect">
                <a:avLst/>
              </a:prstGeom>
              <a:noFill/>
            </p:spPr>
            <p:txBody>
              <a:bodyPr wrap="square" rtlCol="0">
                <a:spAutoFit/>
              </a:bodyPr>
              <a:lstStyle/>
              <a:p>
                <a:pPr algn="r"/>
                <a:r>
                  <a:rPr lang="es-ES" sz="1400">
                    <a:solidFill>
                      <a:schemeClr val="tx1">
                        <a:lumMod val="75000"/>
                        <a:lumOff val="25000"/>
                      </a:schemeClr>
                    </a:solidFill>
                    <a:latin typeface="Scotia Regular" panose="020B0503020203020204" pitchFamily="34" charset="0"/>
                    <a:cs typeface="Arial" panose="020B0604020202020204" pitchFamily="34" charset="0"/>
                  </a:rPr>
                  <a:t>Una historia de usuario debe confirmarse mediante criterios de aceptación escritos previamente.</a:t>
                </a:r>
                <a:endParaRPr lang="es-MX" sz="1400">
                  <a:solidFill>
                    <a:schemeClr val="tx1">
                      <a:lumMod val="75000"/>
                      <a:lumOff val="25000"/>
                    </a:schemeClr>
                  </a:solidFill>
                  <a:latin typeface="Scotia Regular" panose="020B0503020203020204" pitchFamily="34" charset="0"/>
                  <a:cs typeface="Arial" panose="020B0604020202020204" pitchFamily="34" charset="0"/>
                </a:endParaRPr>
              </a:p>
            </p:txBody>
          </p:sp>
        </p:grpSp>
        <p:grpSp>
          <p:nvGrpSpPr>
            <p:cNvPr id="31" name="Group 34"/>
            <p:cNvGrpSpPr/>
            <p:nvPr/>
          </p:nvGrpSpPr>
          <p:grpSpPr>
            <a:xfrm>
              <a:off x="8648204" y="835176"/>
              <a:ext cx="3366467" cy="2082902"/>
              <a:chOff x="299027" y="2535865"/>
              <a:chExt cx="3366467" cy="2082902"/>
            </a:xfrm>
          </p:grpSpPr>
          <p:sp>
            <p:nvSpPr>
              <p:cNvPr id="38" name="TextBox 35"/>
              <p:cNvSpPr txBox="1"/>
              <p:nvPr/>
            </p:nvSpPr>
            <p:spPr>
              <a:xfrm>
                <a:off x="299028" y="2535865"/>
                <a:ext cx="2541494" cy="454561"/>
              </a:xfrm>
              <a:prstGeom prst="rect">
                <a:avLst/>
              </a:prstGeom>
              <a:noFill/>
            </p:spPr>
            <p:txBody>
              <a:bodyPr wrap="square" rtlCol="0">
                <a:spAutoFit/>
              </a:bodyPr>
              <a:lstStyle/>
              <a:p>
                <a:r>
                  <a:rPr lang="en-US" sz="1800" spc="-150">
                    <a:solidFill>
                      <a:schemeClr val="tx1">
                        <a:lumMod val="60000"/>
                        <a:lumOff val="40000"/>
                      </a:schemeClr>
                    </a:solidFill>
                    <a:latin typeface="Scotia Headline" panose="020B0703020203020204" pitchFamily="34" charset="0"/>
                    <a:cs typeface="Arial" panose="020B0604020202020204" pitchFamily="34" charset="0"/>
                  </a:rPr>
                  <a:t>NEGOTIABLE</a:t>
                </a:r>
              </a:p>
            </p:txBody>
          </p:sp>
          <p:sp>
            <p:nvSpPr>
              <p:cNvPr id="39" name="TextBox 36"/>
              <p:cNvSpPr txBox="1"/>
              <p:nvPr/>
            </p:nvSpPr>
            <p:spPr>
              <a:xfrm>
                <a:off x="299027" y="2914164"/>
                <a:ext cx="3366467" cy="1704603"/>
              </a:xfrm>
              <a:prstGeom prst="rect">
                <a:avLst/>
              </a:prstGeom>
              <a:noFill/>
            </p:spPr>
            <p:txBody>
              <a:bodyPr wrap="square" rtlCol="0">
                <a:spAutoFit/>
              </a:bodyPr>
              <a:lstStyle>
                <a:defPPr>
                  <a:defRPr lang="en-US"/>
                </a:defPPr>
                <a:lvl1pPr>
                  <a:defRPr sz="1400">
                    <a:solidFill>
                      <a:schemeClr val="tx1">
                        <a:lumMod val="75000"/>
                        <a:lumOff val="25000"/>
                      </a:schemeClr>
                    </a:solidFill>
                    <a:latin typeface="Scotia Regular" panose="020B0503020203020204" pitchFamily="34" charset="0"/>
                    <a:cs typeface="Arial" panose="020B0604020202020204" pitchFamily="34" charset="0"/>
                  </a:defRPr>
                </a:lvl1pPr>
              </a:lstStyle>
              <a:p>
                <a:r>
                  <a:rPr lang="es-ES"/>
                  <a:t>Captura únicamente la esencia de la necesidad del usuario. Una historia de usuario debe ser lo suficientemente flexible como para permitir la negociación entre el cliente y el propietario del producto.</a:t>
                </a:r>
                <a:endParaRPr lang="es-MX"/>
              </a:p>
            </p:txBody>
          </p:sp>
        </p:grpSp>
        <p:grpSp>
          <p:nvGrpSpPr>
            <p:cNvPr id="32" name="Group 37"/>
            <p:cNvGrpSpPr/>
            <p:nvPr/>
          </p:nvGrpSpPr>
          <p:grpSpPr>
            <a:xfrm>
              <a:off x="8619593" y="4940505"/>
              <a:ext cx="3308783" cy="1605370"/>
              <a:chOff x="270416" y="2535865"/>
              <a:chExt cx="3308783" cy="1605370"/>
            </a:xfrm>
          </p:grpSpPr>
          <p:sp>
            <p:nvSpPr>
              <p:cNvPr id="36" name="TextBox 38"/>
              <p:cNvSpPr txBox="1"/>
              <p:nvPr/>
            </p:nvSpPr>
            <p:spPr>
              <a:xfrm>
                <a:off x="299027" y="2535865"/>
                <a:ext cx="2541494" cy="454560"/>
              </a:xfrm>
              <a:prstGeom prst="rect">
                <a:avLst/>
              </a:prstGeom>
              <a:noFill/>
            </p:spPr>
            <p:txBody>
              <a:bodyPr wrap="square" rtlCol="0">
                <a:spAutoFit/>
              </a:bodyPr>
              <a:lstStyle/>
              <a:p>
                <a:r>
                  <a:rPr lang="en-US" sz="1800" spc="-150">
                    <a:solidFill>
                      <a:schemeClr val="tx1">
                        <a:lumMod val="60000"/>
                        <a:lumOff val="40000"/>
                      </a:schemeClr>
                    </a:solidFill>
                    <a:latin typeface="Scotia Headline" panose="020B0703020203020204" pitchFamily="34" charset="0"/>
                    <a:cs typeface="Arial" panose="020B0604020202020204" pitchFamily="34" charset="0"/>
                  </a:rPr>
                  <a:t>ESTIMABLE</a:t>
                </a:r>
              </a:p>
            </p:txBody>
          </p:sp>
          <p:sp>
            <p:nvSpPr>
              <p:cNvPr id="37" name="TextBox 39"/>
              <p:cNvSpPr txBox="1"/>
              <p:nvPr/>
            </p:nvSpPr>
            <p:spPr>
              <a:xfrm>
                <a:off x="270416" y="2966954"/>
                <a:ext cx="3308783" cy="1174281"/>
              </a:xfrm>
              <a:prstGeom prst="rect">
                <a:avLst/>
              </a:prstGeom>
              <a:noFill/>
            </p:spPr>
            <p:txBody>
              <a:bodyPr wrap="square" rtlCol="0">
                <a:spAutoFit/>
              </a:bodyPr>
              <a:lstStyle/>
              <a:p>
                <a:pPr algn="just"/>
                <a:r>
                  <a:rPr lang="es-ES" sz="1400">
                    <a:solidFill>
                      <a:schemeClr val="tx1">
                        <a:lumMod val="75000"/>
                        <a:lumOff val="25000"/>
                      </a:schemeClr>
                    </a:solidFill>
                    <a:latin typeface="Scotia Regular" panose="020B0503020203020204" pitchFamily="34" charset="0"/>
                    <a:cs typeface="Arial" panose="020B0604020202020204" pitchFamily="34" charset="0"/>
                  </a:rPr>
                  <a:t>Las historias de usuarios deben poder estimarse para poder priorizarlas adecuadamente y encajarlas en los </a:t>
                </a:r>
                <a:r>
                  <a:rPr lang="es-ES" sz="1400" err="1">
                    <a:solidFill>
                      <a:schemeClr val="tx1">
                        <a:lumMod val="75000"/>
                        <a:lumOff val="25000"/>
                      </a:schemeClr>
                    </a:solidFill>
                    <a:latin typeface="Scotia Regular" panose="020B0503020203020204" pitchFamily="34" charset="0"/>
                    <a:cs typeface="Arial" panose="020B0604020202020204" pitchFamily="34" charset="0"/>
                  </a:rPr>
                  <a:t>sprints</a:t>
                </a:r>
                <a:r>
                  <a:rPr lang="es-ES" sz="1400">
                    <a:solidFill>
                      <a:schemeClr val="tx1">
                        <a:lumMod val="75000"/>
                        <a:lumOff val="25000"/>
                      </a:schemeClr>
                    </a:solidFill>
                    <a:latin typeface="Scotia Regular" panose="020B0503020203020204" pitchFamily="34" charset="0"/>
                    <a:cs typeface="Arial" panose="020B0604020202020204" pitchFamily="34" charset="0"/>
                  </a:rPr>
                  <a:t>/iteraciones.</a:t>
                </a:r>
                <a:endParaRPr lang="es-MX" sz="1400">
                  <a:solidFill>
                    <a:schemeClr val="tx1">
                      <a:lumMod val="75000"/>
                      <a:lumOff val="25000"/>
                    </a:schemeClr>
                  </a:solidFill>
                  <a:latin typeface="Scotia Regular" panose="020B0503020203020204" pitchFamily="34" charset="0"/>
                  <a:cs typeface="Arial" panose="020B0604020202020204" pitchFamily="34" charset="0"/>
                </a:endParaRPr>
              </a:p>
            </p:txBody>
          </p:sp>
        </p:grpSp>
        <p:grpSp>
          <p:nvGrpSpPr>
            <p:cNvPr id="33" name="Group 40"/>
            <p:cNvGrpSpPr/>
            <p:nvPr/>
          </p:nvGrpSpPr>
          <p:grpSpPr>
            <a:xfrm>
              <a:off x="9297968" y="3031344"/>
              <a:ext cx="2716703" cy="727942"/>
              <a:chOff x="295439" y="2679368"/>
              <a:chExt cx="2716703" cy="727942"/>
            </a:xfrm>
          </p:grpSpPr>
          <p:sp>
            <p:nvSpPr>
              <p:cNvPr id="34" name="TextBox 41"/>
              <p:cNvSpPr txBox="1"/>
              <p:nvPr/>
            </p:nvSpPr>
            <p:spPr>
              <a:xfrm>
                <a:off x="295439" y="2679368"/>
                <a:ext cx="2541494" cy="454561"/>
              </a:xfrm>
              <a:prstGeom prst="rect">
                <a:avLst/>
              </a:prstGeom>
              <a:noFill/>
            </p:spPr>
            <p:txBody>
              <a:bodyPr wrap="square" rtlCol="0">
                <a:spAutoFit/>
              </a:bodyPr>
              <a:lstStyle/>
              <a:p>
                <a:r>
                  <a:rPr lang="en-US" sz="1800" spc="-150">
                    <a:solidFill>
                      <a:schemeClr val="tx1">
                        <a:lumMod val="60000"/>
                        <a:lumOff val="40000"/>
                      </a:schemeClr>
                    </a:solidFill>
                    <a:latin typeface="Scotia Headline" panose="020B0703020203020204" pitchFamily="34" charset="0"/>
                    <a:cs typeface="Arial" panose="020B0604020202020204" pitchFamily="34" charset="0"/>
                  </a:rPr>
                  <a:t>VALUABLE</a:t>
                </a:r>
              </a:p>
            </p:txBody>
          </p:sp>
          <p:sp>
            <p:nvSpPr>
              <p:cNvPr id="35" name="TextBox 42"/>
              <p:cNvSpPr txBox="1"/>
              <p:nvPr/>
            </p:nvSpPr>
            <p:spPr>
              <a:xfrm>
                <a:off x="299028" y="3028509"/>
                <a:ext cx="2713114" cy="378801"/>
              </a:xfrm>
              <a:prstGeom prst="rect">
                <a:avLst/>
              </a:prstGeom>
              <a:noFill/>
            </p:spPr>
            <p:txBody>
              <a:bodyPr wrap="square" rtlCol="0">
                <a:spAutoFit/>
              </a:bodyPr>
              <a:lstStyle/>
              <a:p>
                <a:r>
                  <a:rPr lang="es-ES" sz="1400">
                    <a:solidFill>
                      <a:schemeClr val="tx1">
                        <a:lumMod val="75000"/>
                        <a:lumOff val="25000"/>
                      </a:schemeClr>
                    </a:solidFill>
                    <a:latin typeface="Scotia Regular" panose="020B0503020203020204" pitchFamily="34" charset="0"/>
                    <a:cs typeface="Arial" panose="020B0604020202020204" pitchFamily="34" charset="0"/>
                  </a:rPr>
                  <a:t>Entrega valor al usuario final.</a:t>
                </a:r>
                <a:endParaRPr lang="es-MX" sz="1400">
                  <a:solidFill>
                    <a:schemeClr val="tx1">
                      <a:lumMod val="75000"/>
                      <a:lumOff val="25000"/>
                    </a:schemeClr>
                  </a:solidFill>
                  <a:latin typeface="Scotia Regular" panose="020B0503020203020204" pitchFamily="34" charset="0"/>
                  <a:cs typeface="Arial" panose="020B0604020202020204" pitchFamily="34" charset="0"/>
                </a:endParaRPr>
              </a:p>
            </p:txBody>
          </p:sp>
        </p:grpSp>
      </p:grpSp>
      <p:sp>
        <p:nvSpPr>
          <p:cNvPr id="79" name="Rectangle 78">
            <a:extLst>
              <a:ext uri="{FF2B5EF4-FFF2-40B4-BE49-F238E27FC236}">
                <a16:creationId xmlns:a16="http://schemas.microsoft.com/office/drawing/2014/main" id="{F8379234-A7B8-F6EB-1006-1AAB3D413E15}"/>
              </a:ext>
            </a:extLst>
          </p:cNvPr>
          <p:cNvSpPr/>
          <p:nvPr/>
        </p:nvSpPr>
        <p:spPr>
          <a:xfrm>
            <a:off x="5946913" y="2065650"/>
            <a:ext cx="298174" cy="47210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1" name="Straight Connector 80">
            <a:extLst>
              <a:ext uri="{FF2B5EF4-FFF2-40B4-BE49-F238E27FC236}">
                <a16:creationId xmlns:a16="http://schemas.microsoft.com/office/drawing/2014/main" id="{73846585-D66B-1CBE-0BE0-701376175393}"/>
              </a:ext>
            </a:extLst>
          </p:cNvPr>
          <p:cNvCxnSpPr/>
          <p:nvPr/>
        </p:nvCxnSpPr>
        <p:spPr>
          <a:xfrm>
            <a:off x="3689615" y="4426192"/>
            <a:ext cx="4909931" cy="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pic>
        <p:nvPicPr>
          <p:cNvPr id="78" name="Graphic 77" descr="co-design">
            <a:extLst>
              <a:ext uri="{FF2B5EF4-FFF2-40B4-BE49-F238E27FC236}">
                <a16:creationId xmlns:a16="http://schemas.microsoft.com/office/drawing/2014/main" id="{6D59DE3F-77C2-16DB-E34E-97266D8BB0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2919" y="3010290"/>
            <a:ext cx="3526162" cy="3024664"/>
          </a:xfrm>
          <a:prstGeom prst="rect">
            <a:avLst/>
          </a:prstGeom>
        </p:spPr>
      </p:pic>
      <p:sp>
        <p:nvSpPr>
          <p:cNvPr id="3" name="Oval 2">
            <a:extLst>
              <a:ext uri="{FF2B5EF4-FFF2-40B4-BE49-F238E27FC236}">
                <a16:creationId xmlns:a16="http://schemas.microsoft.com/office/drawing/2014/main" id="{5E7376F3-DDBB-F8AE-4CFD-C701E0FBAA23}"/>
              </a:ext>
            </a:extLst>
          </p:cNvPr>
          <p:cNvSpPr/>
          <p:nvPr/>
        </p:nvSpPr>
        <p:spPr>
          <a:xfrm>
            <a:off x="11830933" y="6576619"/>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77690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bg>
      <p:bgPr>
        <a:solidFill>
          <a:srgbClr val="7849B8"/>
        </a:solid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C2764B13-C926-9242-A863-1142DDEE1FC0}"/>
              </a:ext>
            </a:extLst>
          </p:cNvPr>
          <p:cNvSpPr txBox="1"/>
          <p:nvPr/>
        </p:nvSpPr>
        <p:spPr>
          <a:xfrm>
            <a:off x="295819" y="1006591"/>
            <a:ext cx="3760830" cy="270843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s-ES" sz="4400" b="1">
                <a:solidFill>
                  <a:schemeClr val="bg2"/>
                </a:solidFill>
                <a:latin typeface="Scotia Headline" panose="020B0503020203020204" pitchFamily="34" charset="0"/>
              </a:rPr>
              <a:t>¿Cómo escribir historias de usuarios?</a:t>
            </a:r>
            <a:endParaRPr lang="en-US" sz="4400" b="1">
              <a:solidFill>
                <a:schemeClr val="bg2"/>
              </a:solidFill>
              <a:latin typeface="Scotia Headline" panose="020B0503020203020204" pitchFamily="34" charset="0"/>
            </a:endParaRPr>
          </a:p>
        </p:txBody>
      </p:sp>
      <p:sp>
        <p:nvSpPr>
          <p:cNvPr id="6" name="TextBox 5">
            <a:extLst>
              <a:ext uri="{FF2B5EF4-FFF2-40B4-BE49-F238E27FC236}">
                <a16:creationId xmlns:a16="http://schemas.microsoft.com/office/drawing/2014/main" id="{FBCC1819-47FC-C842-8A25-C4842E96AACE}"/>
              </a:ext>
            </a:extLst>
          </p:cNvPr>
          <p:cNvSpPr txBox="1"/>
          <p:nvPr/>
        </p:nvSpPr>
        <p:spPr>
          <a:xfrm>
            <a:off x="5672727" y="1522490"/>
            <a:ext cx="5749524" cy="480825"/>
          </a:xfrm>
          <a:prstGeom prst="rect">
            <a:avLst/>
          </a:prstGeom>
          <a:noFill/>
        </p:spPr>
        <p:txBody>
          <a:bodyPr wrap="square" lIns="0" tIns="0" rIns="0" bIns="0" rtlCol="0" anchor="t">
            <a:noAutofit/>
          </a:bodyPr>
          <a:lstStyle>
            <a:defPPr>
              <a:defRPr lang="en-US"/>
            </a:defPPr>
            <a:lvl1pPr>
              <a:lnSpc>
                <a:spcPct val="130000"/>
              </a:lnSpc>
              <a:buClr>
                <a:schemeClr val="accent5"/>
              </a:buClr>
              <a:buSzPct val="80000"/>
              <a:defRPr sz="1200">
                <a:latin typeface="Scotia Regular" panose="020B0503020203020204" pitchFamily="34" charset="0"/>
              </a:defRPr>
            </a:lvl1pPr>
          </a:lstStyle>
          <a:p>
            <a:r>
              <a:rPr lang="es-ES" sz="1800"/>
              <a:t>¿Para quién es? (Usuario final)</a:t>
            </a:r>
            <a:endParaRPr lang="en-US" sz="1800"/>
          </a:p>
        </p:txBody>
      </p:sp>
      <p:sp>
        <p:nvSpPr>
          <p:cNvPr id="7" name="TextBox 6">
            <a:extLst>
              <a:ext uri="{FF2B5EF4-FFF2-40B4-BE49-F238E27FC236}">
                <a16:creationId xmlns:a16="http://schemas.microsoft.com/office/drawing/2014/main" id="{33F1698C-38AB-D946-B9D7-631F83409130}"/>
              </a:ext>
            </a:extLst>
          </p:cNvPr>
          <p:cNvSpPr txBox="1"/>
          <p:nvPr/>
        </p:nvSpPr>
        <p:spPr>
          <a:xfrm>
            <a:off x="5672727" y="1158594"/>
            <a:ext cx="2158084" cy="331272"/>
          </a:xfrm>
          <a:prstGeom prst="rect">
            <a:avLst/>
          </a:prstGeom>
          <a:noFill/>
        </p:spPr>
        <p:txBody>
          <a:bodyPr wrap="square" lIns="0" tIns="0" rIns="0" bIns="0" rtlCol="0" anchor="t">
            <a:noAutofit/>
          </a:bodyPr>
          <a:lstStyle/>
          <a:p>
            <a:pPr>
              <a:lnSpc>
                <a:spcPct val="150000"/>
              </a:lnSpc>
              <a:buClr>
                <a:schemeClr val="accent5"/>
              </a:buClr>
              <a:buSzPct val="80000"/>
            </a:pPr>
            <a:r>
              <a:rPr lang="en-US" sz="2000" b="1">
                <a:latin typeface="Scotia Headline" panose="020B0503020203020204" pitchFamily="34" charset="0"/>
                <a:cs typeface="Arial" panose="020B0604020202020204" pitchFamily="34" charset="0"/>
              </a:rPr>
              <a:t>WHO</a:t>
            </a:r>
            <a:r>
              <a:rPr lang="es-MX" sz="2000" b="1">
                <a:latin typeface="Scotia Headline" panose="020B0503020203020204" pitchFamily="34" charset="0"/>
                <a:cs typeface="Arial" panose="020B0604020202020204" pitchFamily="34" charset="0"/>
              </a:rPr>
              <a:t>?</a:t>
            </a:r>
            <a:endParaRPr lang="en-US" sz="2000" b="1">
              <a:latin typeface="Scotia Headline" panose="020B0503020203020204" pitchFamily="34" charset="0"/>
              <a:cs typeface="Arial" panose="020B0604020202020204" pitchFamily="34" charset="0"/>
            </a:endParaRPr>
          </a:p>
        </p:txBody>
      </p:sp>
      <p:sp>
        <p:nvSpPr>
          <p:cNvPr id="18" name="Oval 17">
            <a:extLst>
              <a:ext uri="{FF2B5EF4-FFF2-40B4-BE49-F238E27FC236}">
                <a16:creationId xmlns:a16="http://schemas.microsoft.com/office/drawing/2014/main" id="{F8385AF0-2D14-3C47-A6F1-A36596C83DAF}"/>
              </a:ext>
            </a:extLst>
          </p:cNvPr>
          <p:cNvSpPr/>
          <p:nvPr/>
        </p:nvSpPr>
        <p:spPr>
          <a:xfrm>
            <a:off x="4707461" y="1159516"/>
            <a:ext cx="540000" cy="540000"/>
          </a:xfrm>
          <a:prstGeom prst="ellipse">
            <a:avLst/>
          </a:prstGeom>
          <a:solidFill>
            <a:srgbClr val="784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19" name="Oval 18">
            <a:extLst>
              <a:ext uri="{FF2B5EF4-FFF2-40B4-BE49-F238E27FC236}">
                <a16:creationId xmlns:a16="http://schemas.microsoft.com/office/drawing/2014/main" id="{4EF552EE-4CB0-0D43-9B25-FD23B051D209}"/>
              </a:ext>
            </a:extLst>
          </p:cNvPr>
          <p:cNvSpPr/>
          <p:nvPr/>
        </p:nvSpPr>
        <p:spPr>
          <a:xfrm>
            <a:off x="4707461" y="2579388"/>
            <a:ext cx="540000" cy="540000"/>
          </a:xfrm>
          <a:prstGeom prst="ellipse">
            <a:avLst/>
          </a:prstGeom>
          <a:solidFill>
            <a:srgbClr val="784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20" name="Oval 19">
            <a:extLst>
              <a:ext uri="{FF2B5EF4-FFF2-40B4-BE49-F238E27FC236}">
                <a16:creationId xmlns:a16="http://schemas.microsoft.com/office/drawing/2014/main" id="{36086332-6AF9-DE4A-B678-543CE374EE65}"/>
              </a:ext>
            </a:extLst>
          </p:cNvPr>
          <p:cNvSpPr/>
          <p:nvPr/>
        </p:nvSpPr>
        <p:spPr>
          <a:xfrm>
            <a:off x="4707461" y="4028444"/>
            <a:ext cx="540000" cy="540000"/>
          </a:xfrm>
          <a:prstGeom prst="ellipse">
            <a:avLst/>
          </a:prstGeom>
          <a:solidFill>
            <a:srgbClr val="784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23" name="Shape 2617">
            <a:extLst>
              <a:ext uri="{FF2B5EF4-FFF2-40B4-BE49-F238E27FC236}">
                <a16:creationId xmlns:a16="http://schemas.microsoft.com/office/drawing/2014/main" id="{80CCA364-BBFC-A642-B3CC-3107A7AAA77F}"/>
              </a:ext>
            </a:extLst>
          </p:cNvPr>
          <p:cNvSpPr/>
          <p:nvPr/>
        </p:nvSpPr>
        <p:spPr>
          <a:xfrm>
            <a:off x="4794790" y="1288061"/>
            <a:ext cx="350105" cy="286482"/>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2"/>
          </a:solidFill>
          <a:ln w="12700">
            <a:miter lim="400000"/>
          </a:ln>
        </p:spPr>
        <p:txBody>
          <a:bodyPr lIns="38091" tIns="38091" rIns="38091" bIns="38091" anchor="ctr"/>
          <a:lstStyle/>
          <a:p>
            <a:pPr defTabSz="457051">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25" name="Shape 2854">
            <a:extLst>
              <a:ext uri="{FF2B5EF4-FFF2-40B4-BE49-F238E27FC236}">
                <a16:creationId xmlns:a16="http://schemas.microsoft.com/office/drawing/2014/main" id="{7A68BD6F-54B5-FA4E-A46C-8584B8DF40EE}"/>
              </a:ext>
            </a:extLst>
          </p:cNvPr>
          <p:cNvSpPr/>
          <p:nvPr/>
        </p:nvSpPr>
        <p:spPr>
          <a:xfrm>
            <a:off x="4814621" y="4142434"/>
            <a:ext cx="324660" cy="324665"/>
          </a:xfrm>
          <a:custGeom>
            <a:avLst/>
            <a:gdLst/>
            <a:ahLst/>
            <a:cxnLst>
              <a:cxn ang="0">
                <a:pos x="wd2" y="hd2"/>
              </a:cxn>
              <a:cxn ang="5400000">
                <a:pos x="wd2" y="hd2"/>
              </a:cxn>
              <a:cxn ang="10800000">
                <a:pos x="wd2" y="hd2"/>
              </a:cxn>
              <a:cxn ang="16200000">
                <a:pos x="wd2" y="hd2"/>
              </a:cxn>
            </a:cxnLst>
            <a:rect l="0" t="0" r="r" b="b"/>
            <a:pathLst>
              <a:path w="21600" h="21600" extrusionOk="0">
                <a:moveTo>
                  <a:pt x="19152" y="3921"/>
                </a:moveTo>
                <a:cubicBezTo>
                  <a:pt x="18338" y="3921"/>
                  <a:pt x="17679" y="3262"/>
                  <a:pt x="17679" y="2448"/>
                </a:cubicBezTo>
                <a:cubicBezTo>
                  <a:pt x="17679" y="1634"/>
                  <a:pt x="18338" y="975"/>
                  <a:pt x="19152" y="975"/>
                </a:cubicBezTo>
                <a:cubicBezTo>
                  <a:pt x="19966" y="975"/>
                  <a:pt x="20625" y="1634"/>
                  <a:pt x="20625" y="2448"/>
                </a:cubicBezTo>
                <a:cubicBezTo>
                  <a:pt x="20625" y="3262"/>
                  <a:pt x="19966" y="3921"/>
                  <a:pt x="19152" y="3921"/>
                </a:cubicBezTo>
                <a:moveTo>
                  <a:pt x="10804" y="12269"/>
                </a:moveTo>
                <a:cubicBezTo>
                  <a:pt x="9991" y="12269"/>
                  <a:pt x="9331" y="11609"/>
                  <a:pt x="9331" y="10795"/>
                </a:cubicBezTo>
                <a:cubicBezTo>
                  <a:pt x="9331" y="9981"/>
                  <a:pt x="9991" y="9322"/>
                  <a:pt x="10804" y="9322"/>
                </a:cubicBezTo>
                <a:cubicBezTo>
                  <a:pt x="11618" y="9322"/>
                  <a:pt x="12278" y="9981"/>
                  <a:pt x="12278" y="10795"/>
                </a:cubicBezTo>
                <a:cubicBezTo>
                  <a:pt x="12278" y="11609"/>
                  <a:pt x="11618" y="12269"/>
                  <a:pt x="10804" y="12269"/>
                </a:cubicBezTo>
                <a:moveTo>
                  <a:pt x="3930" y="19143"/>
                </a:moveTo>
                <a:cubicBezTo>
                  <a:pt x="3930" y="19956"/>
                  <a:pt x="3271" y="20616"/>
                  <a:pt x="2457" y="20616"/>
                </a:cubicBezTo>
                <a:cubicBezTo>
                  <a:pt x="1643" y="20616"/>
                  <a:pt x="984" y="19956"/>
                  <a:pt x="984" y="19143"/>
                </a:cubicBezTo>
                <a:cubicBezTo>
                  <a:pt x="984" y="18329"/>
                  <a:pt x="1643" y="17669"/>
                  <a:pt x="2457" y="17669"/>
                </a:cubicBezTo>
                <a:cubicBezTo>
                  <a:pt x="3271" y="17669"/>
                  <a:pt x="3930" y="18329"/>
                  <a:pt x="3930" y="19143"/>
                </a:cubicBezTo>
                <a:moveTo>
                  <a:pt x="19148" y="0"/>
                </a:moveTo>
                <a:cubicBezTo>
                  <a:pt x="17793" y="0"/>
                  <a:pt x="16695" y="1098"/>
                  <a:pt x="16695" y="2452"/>
                </a:cubicBezTo>
                <a:cubicBezTo>
                  <a:pt x="16695" y="3640"/>
                  <a:pt x="17539" y="4630"/>
                  <a:pt x="18660" y="4856"/>
                </a:cubicBezTo>
                <a:lnTo>
                  <a:pt x="18660" y="10306"/>
                </a:lnTo>
                <a:lnTo>
                  <a:pt x="13203" y="10306"/>
                </a:lnTo>
                <a:cubicBezTo>
                  <a:pt x="12974" y="9187"/>
                  <a:pt x="11985" y="8347"/>
                  <a:pt x="10800" y="8347"/>
                </a:cubicBezTo>
                <a:cubicBezTo>
                  <a:pt x="9615" y="8347"/>
                  <a:pt x="8626" y="9187"/>
                  <a:pt x="8398" y="10306"/>
                </a:cubicBezTo>
                <a:lnTo>
                  <a:pt x="2456" y="10306"/>
                </a:lnTo>
                <a:cubicBezTo>
                  <a:pt x="2184" y="10306"/>
                  <a:pt x="1965" y="10525"/>
                  <a:pt x="1965" y="10796"/>
                </a:cubicBezTo>
                <a:lnTo>
                  <a:pt x="1965" y="16744"/>
                </a:lnTo>
                <a:cubicBezTo>
                  <a:pt x="844" y="16970"/>
                  <a:pt x="0" y="17960"/>
                  <a:pt x="0" y="19147"/>
                </a:cubicBezTo>
                <a:cubicBezTo>
                  <a:pt x="0" y="20502"/>
                  <a:pt x="1098" y="21600"/>
                  <a:pt x="2453" y="21600"/>
                </a:cubicBezTo>
                <a:cubicBezTo>
                  <a:pt x="3807" y="21600"/>
                  <a:pt x="4905" y="20502"/>
                  <a:pt x="4905" y="19147"/>
                </a:cubicBezTo>
                <a:cubicBezTo>
                  <a:pt x="4905" y="17961"/>
                  <a:pt x="4065" y="16973"/>
                  <a:pt x="2947" y="16744"/>
                </a:cubicBezTo>
                <a:lnTo>
                  <a:pt x="2947" y="11287"/>
                </a:lnTo>
                <a:lnTo>
                  <a:pt x="8397" y="11287"/>
                </a:lnTo>
                <a:cubicBezTo>
                  <a:pt x="8623" y="12408"/>
                  <a:pt x="9613" y="13253"/>
                  <a:pt x="10800" y="13253"/>
                </a:cubicBezTo>
                <a:cubicBezTo>
                  <a:pt x="11988" y="13253"/>
                  <a:pt x="12978" y="12408"/>
                  <a:pt x="13203" y="11287"/>
                </a:cubicBezTo>
                <a:lnTo>
                  <a:pt x="19151" y="11287"/>
                </a:lnTo>
                <a:cubicBezTo>
                  <a:pt x="19422" y="11287"/>
                  <a:pt x="19642" y="11068"/>
                  <a:pt x="19642" y="10796"/>
                </a:cubicBezTo>
                <a:lnTo>
                  <a:pt x="19642" y="4855"/>
                </a:lnTo>
                <a:cubicBezTo>
                  <a:pt x="20759" y="4626"/>
                  <a:pt x="21600" y="3638"/>
                  <a:pt x="21600" y="2452"/>
                </a:cubicBezTo>
                <a:cubicBezTo>
                  <a:pt x="21600" y="1098"/>
                  <a:pt x="20502" y="0"/>
                  <a:pt x="19148" y="0"/>
                </a:cubicBezTo>
              </a:path>
            </a:pathLst>
          </a:custGeom>
          <a:solidFill>
            <a:schemeClr val="bg2"/>
          </a:solidFill>
          <a:ln w="12700">
            <a:miter lim="400000"/>
          </a:ln>
        </p:spPr>
        <p:txBody>
          <a:bodyPr lIns="38091" tIns="38091" rIns="38091" bIns="38091" anchor="ctr"/>
          <a:lstStyle/>
          <a:p>
            <a:pPr defTabSz="457051">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32" name="TextBox 31">
            <a:extLst>
              <a:ext uri="{FF2B5EF4-FFF2-40B4-BE49-F238E27FC236}">
                <a16:creationId xmlns:a16="http://schemas.microsoft.com/office/drawing/2014/main" id="{CD09C5F7-FEFE-EF4C-99CD-76A9F24A1EA9}"/>
              </a:ext>
            </a:extLst>
          </p:cNvPr>
          <p:cNvSpPr txBox="1"/>
          <p:nvPr/>
        </p:nvSpPr>
        <p:spPr>
          <a:xfrm>
            <a:off x="5683852" y="2888914"/>
            <a:ext cx="5749524" cy="480825"/>
          </a:xfrm>
          <a:prstGeom prst="rect">
            <a:avLst/>
          </a:prstGeom>
          <a:noFill/>
        </p:spPr>
        <p:txBody>
          <a:bodyPr wrap="square" lIns="0" tIns="0" rIns="0" bIns="0" rtlCol="0" anchor="t">
            <a:noAutofit/>
          </a:bodyPr>
          <a:lstStyle/>
          <a:p>
            <a:pPr>
              <a:lnSpc>
                <a:spcPct val="130000"/>
              </a:lnSpc>
              <a:buClr>
                <a:schemeClr val="accent5"/>
              </a:buClr>
              <a:buSzPct val="80000"/>
            </a:pPr>
            <a:r>
              <a:rPr lang="en-CA">
                <a:latin typeface="Scotia Regular" panose="020B0503020203020204" pitchFamily="34" charset="0"/>
              </a:rPr>
              <a:t>¿</a:t>
            </a:r>
            <a:r>
              <a:rPr lang="en-CA" err="1">
                <a:latin typeface="Scotia Regular" panose="020B0503020203020204" pitchFamily="34" charset="0"/>
              </a:rPr>
              <a:t>Qué</a:t>
            </a:r>
            <a:r>
              <a:rPr lang="en-CA">
                <a:latin typeface="Scotia Regular" panose="020B0503020203020204" pitchFamily="34" charset="0"/>
              </a:rPr>
              <a:t> </a:t>
            </a:r>
            <a:r>
              <a:rPr lang="en-CA" err="1">
                <a:latin typeface="Scotia Regular" panose="020B0503020203020204" pitchFamily="34" charset="0"/>
              </a:rPr>
              <a:t>espera</a:t>
            </a:r>
            <a:r>
              <a:rPr lang="en-CA">
                <a:latin typeface="Scotia Regular" panose="020B0503020203020204" pitchFamily="34" charset="0"/>
              </a:rPr>
              <a:t> del </a:t>
            </a:r>
            <a:r>
              <a:rPr lang="en-CA" err="1">
                <a:latin typeface="Scotia Regular" panose="020B0503020203020204" pitchFamily="34" charset="0"/>
              </a:rPr>
              <a:t>sistema</a:t>
            </a:r>
            <a:r>
              <a:rPr lang="en-CA">
                <a:latin typeface="Scotia Regular" panose="020B0503020203020204" pitchFamily="34" charset="0"/>
              </a:rPr>
              <a:t>?</a:t>
            </a:r>
            <a:endParaRPr lang="en-US">
              <a:latin typeface="Scotia Regular" panose="020B0503020203020204" pitchFamily="34" charset="0"/>
            </a:endParaRPr>
          </a:p>
        </p:txBody>
      </p:sp>
      <p:sp>
        <p:nvSpPr>
          <p:cNvPr id="33" name="TextBox 32">
            <a:extLst>
              <a:ext uri="{FF2B5EF4-FFF2-40B4-BE49-F238E27FC236}">
                <a16:creationId xmlns:a16="http://schemas.microsoft.com/office/drawing/2014/main" id="{D8481EFC-CB5C-9F49-BCEC-BC498A79B385}"/>
              </a:ext>
            </a:extLst>
          </p:cNvPr>
          <p:cNvSpPr txBox="1"/>
          <p:nvPr/>
        </p:nvSpPr>
        <p:spPr>
          <a:xfrm>
            <a:off x="5683852" y="2579388"/>
            <a:ext cx="2158084" cy="331272"/>
          </a:xfrm>
          <a:prstGeom prst="rect">
            <a:avLst/>
          </a:prstGeom>
          <a:noFill/>
        </p:spPr>
        <p:txBody>
          <a:bodyPr wrap="square" lIns="0" tIns="0" rIns="0" bIns="0" rtlCol="0" anchor="t">
            <a:noAutofit/>
          </a:bodyPr>
          <a:lstStyle/>
          <a:p>
            <a:pPr>
              <a:lnSpc>
                <a:spcPct val="150000"/>
              </a:lnSpc>
              <a:buClr>
                <a:schemeClr val="accent5"/>
              </a:buClr>
              <a:buSzPct val="80000"/>
            </a:pPr>
            <a:r>
              <a:rPr lang="en-US" sz="2000" b="1">
                <a:latin typeface="Scotia Headline" panose="020B0503020203020204" pitchFamily="34" charset="0"/>
                <a:cs typeface="Arial" panose="020B0604020202020204" pitchFamily="34" charset="0"/>
              </a:rPr>
              <a:t>WHAT?</a:t>
            </a:r>
          </a:p>
        </p:txBody>
      </p:sp>
      <p:sp>
        <p:nvSpPr>
          <p:cNvPr id="34" name="TextBox 33">
            <a:extLst>
              <a:ext uri="{FF2B5EF4-FFF2-40B4-BE49-F238E27FC236}">
                <a16:creationId xmlns:a16="http://schemas.microsoft.com/office/drawing/2014/main" id="{8A9E0A68-014D-F547-BA8D-8E4DBA189DF2}"/>
              </a:ext>
            </a:extLst>
          </p:cNvPr>
          <p:cNvSpPr txBox="1"/>
          <p:nvPr/>
        </p:nvSpPr>
        <p:spPr>
          <a:xfrm>
            <a:off x="5672727" y="4365857"/>
            <a:ext cx="5749524" cy="753342"/>
          </a:xfrm>
          <a:prstGeom prst="rect">
            <a:avLst/>
          </a:prstGeom>
          <a:noFill/>
        </p:spPr>
        <p:txBody>
          <a:bodyPr wrap="square" lIns="0" tIns="0" rIns="0" bIns="0" rtlCol="0" anchor="t">
            <a:noAutofit/>
          </a:bodyPr>
          <a:lstStyle>
            <a:defPPr>
              <a:defRPr lang="en-US"/>
            </a:defPPr>
            <a:lvl1pPr>
              <a:lnSpc>
                <a:spcPct val="130000"/>
              </a:lnSpc>
              <a:buClr>
                <a:schemeClr val="accent5"/>
              </a:buClr>
              <a:buSzPct val="80000"/>
              <a:defRPr sz="1400">
                <a:latin typeface="Scotia Regular" panose="020B0503020203020204" pitchFamily="34" charset="0"/>
              </a:defRPr>
            </a:lvl1pPr>
          </a:lstStyle>
          <a:p>
            <a:r>
              <a:rPr lang="es-ES" sz="1800"/>
              <a:t>¿Por qué es importante?</a:t>
            </a:r>
          </a:p>
          <a:p>
            <a:r>
              <a:rPr lang="es-ES" sz="1800"/>
              <a:t>¿Por qué lo quieren?</a:t>
            </a:r>
            <a:endParaRPr lang="es-MX" sz="1800"/>
          </a:p>
        </p:txBody>
      </p:sp>
      <p:sp>
        <p:nvSpPr>
          <p:cNvPr id="35" name="TextBox 34">
            <a:extLst>
              <a:ext uri="{FF2B5EF4-FFF2-40B4-BE49-F238E27FC236}">
                <a16:creationId xmlns:a16="http://schemas.microsoft.com/office/drawing/2014/main" id="{D3150560-150E-3D41-B26E-2C034E1292DA}"/>
              </a:ext>
            </a:extLst>
          </p:cNvPr>
          <p:cNvSpPr txBox="1"/>
          <p:nvPr/>
        </p:nvSpPr>
        <p:spPr>
          <a:xfrm>
            <a:off x="5683851" y="4001961"/>
            <a:ext cx="4101171" cy="465138"/>
          </a:xfrm>
          <a:prstGeom prst="rect">
            <a:avLst/>
          </a:prstGeom>
          <a:noFill/>
        </p:spPr>
        <p:txBody>
          <a:bodyPr wrap="square" lIns="0" tIns="0" rIns="0" bIns="0" rtlCol="0" anchor="t">
            <a:noAutofit/>
          </a:bodyPr>
          <a:lstStyle/>
          <a:p>
            <a:pPr>
              <a:lnSpc>
                <a:spcPct val="150000"/>
              </a:lnSpc>
              <a:buClr>
                <a:schemeClr val="accent5"/>
              </a:buClr>
              <a:buSzPct val="80000"/>
            </a:pPr>
            <a:r>
              <a:rPr lang="es-MX" sz="2000" b="1">
                <a:latin typeface="Scotia Headline" panose="020B0503020203020204" pitchFamily="34" charset="0"/>
                <a:cs typeface="Arial" panose="020B0604020202020204" pitchFamily="34" charset="0"/>
              </a:rPr>
              <a:t>WHY?</a:t>
            </a:r>
            <a:endParaRPr lang="en-US" sz="2000" b="1">
              <a:latin typeface="Scotia Headline" panose="020B0503020203020204" pitchFamily="34" charset="0"/>
              <a:cs typeface="Arial" panose="020B0604020202020204" pitchFamily="34" charset="0"/>
            </a:endParaRPr>
          </a:p>
        </p:txBody>
      </p:sp>
      <p:sp>
        <p:nvSpPr>
          <p:cNvPr id="38" name="Shape 2618">
            <a:extLst>
              <a:ext uri="{FF2B5EF4-FFF2-40B4-BE49-F238E27FC236}">
                <a16:creationId xmlns:a16="http://schemas.microsoft.com/office/drawing/2014/main" id="{01D8B6A8-2ECA-C94C-8A34-D2945D135AB5}"/>
              </a:ext>
            </a:extLst>
          </p:cNvPr>
          <p:cNvSpPr/>
          <p:nvPr/>
        </p:nvSpPr>
        <p:spPr>
          <a:xfrm>
            <a:off x="4794790" y="2658975"/>
            <a:ext cx="340676" cy="340724"/>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chemeClr val="bg2"/>
          </a:solidFill>
          <a:ln w="12700">
            <a:miter lim="400000"/>
          </a:ln>
        </p:spPr>
        <p:txBody>
          <a:bodyPr lIns="38091" tIns="38091" rIns="38091" bIns="38091" anchor="ctr"/>
          <a:lstStyle/>
          <a:p>
            <a:pPr defTabSz="457051">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39" name="TextBox 38">
            <a:extLst>
              <a:ext uri="{FF2B5EF4-FFF2-40B4-BE49-F238E27FC236}">
                <a16:creationId xmlns:a16="http://schemas.microsoft.com/office/drawing/2014/main" id="{2EDD6422-F4F3-0F4F-AEAF-8EC07154F6DF}"/>
              </a:ext>
            </a:extLst>
          </p:cNvPr>
          <p:cNvSpPr txBox="1"/>
          <p:nvPr/>
        </p:nvSpPr>
        <p:spPr>
          <a:xfrm>
            <a:off x="470557" y="3931302"/>
            <a:ext cx="3085271" cy="1681553"/>
          </a:xfrm>
          <a:prstGeom prst="rect">
            <a:avLst/>
          </a:prstGeom>
          <a:noFill/>
        </p:spPr>
        <p:txBody>
          <a:bodyPr wrap="square" lIns="0" tIns="0" rIns="0" bIns="0" rtlCol="0" anchor="t">
            <a:noAutofit/>
          </a:bodyPr>
          <a:lstStyle/>
          <a:p>
            <a:pPr>
              <a:lnSpc>
                <a:spcPct val="130000"/>
              </a:lnSpc>
              <a:buClr>
                <a:schemeClr val="accent5"/>
              </a:buClr>
              <a:buSzPct val="80000"/>
            </a:pPr>
            <a:endParaRPr lang="en-US" b="1">
              <a:solidFill>
                <a:schemeClr val="bg2"/>
              </a:solidFill>
              <a:latin typeface="Scotia Regular" panose="020B0503020203020204" pitchFamily="34" charset="0"/>
              <a:ea typeface="Scotia Regular" panose="020B0503020203020204" pitchFamily="34" charset="0"/>
            </a:endParaRPr>
          </a:p>
        </p:txBody>
      </p:sp>
      <p:sp>
        <p:nvSpPr>
          <p:cNvPr id="24" name="NOVA MESSAGING">
            <a:extLst>
              <a:ext uri="{FF2B5EF4-FFF2-40B4-BE49-F238E27FC236}">
                <a16:creationId xmlns:a16="http://schemas.microsoft.com/office/drawing/2014/main" id="{6E783DB7-316D-6D42-B901-23FDBF490B69}"/>
              </a:ext>
            </a:extLst>
          </p:cNvPr>
          <p:cNvSpPr txBox="1"/>
          <p:nvPr/>
        </p:nvSpPr>
        <p:spPr>
          <a:xfrm>
            <a:off x="5170265" y="3346701"/>
            <a:ext cx="1851469" cy="164597"/>
          </a:xfrm>
          <a:prstGeom prst="rect">
            <a:avLst/>
          </a:prstGeom>
          <a:ln w="12700">
            <a:miter lim="400000"/>
          </a:ln>
          <a:extLst>
            <a:ext uri="{C572A759-6A51-4108-AA02-DFA0A04FC94B}">
              <ma14:wrappingTextBoxFlag xmlns:lc="http://schemas.openxmlformats.org/drawingml/2006/lockedCanvas" xmlns:ma14="http://schemas.microsoft.com/office/mac/drawingml/2011/main" xmlns:a14="http://schemas.microsoft.com/office/drawing/2010/main" xmlns:m="http://schemas.openxmlformats.org/officeDocument/2006/math" xmlns="" val="1"/>
            </a:ext>
          </a:extLst>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MX" b="0">
                <a:solidFill>
                  <a:schemeClr val="bg2"/>
                </a:solidFill>
                <a:latin typeface="Scotia Regular" panose="020B0503020203020204" pitchFamily="34" charset="0"/>
              </a:rPr>
              <a:t>01 ¿QUÉ ES UNA HITORIA DE USUARIO?</a:t>
            </a:r>
          </a:p>
        </p:txBody>
      </p:sp>
      <p:pic>
        <p:nvPicPr>
          <p:cNvPr id="3" name="Picture 2">
            <a:extLst>
              <a:ext uri="{FF2B5EF4-FFF2-40B4-BE49-F238E27FC236}">
                <a16:creationId xmlns:a16="http://schemas.microsoft.com/office/drawing/2014/main" id="{8289AA36-B63B-5469-C4C0-E2E2566EB656}"/>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48855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7849B8"/>
        </a:solidFill>
        <a:effectLst/>
      </p:bgPr>
    </p:bg>
    <p:spTree>
      <p:nvGrpSpPr>
        <p:cNvPr id="1" name=""/>
        <p:cNvGrpSpPr/>
        <p:nvPr/>
      </p:nvGrpSpPr>
      <p:grpSpPr>
        <a:xfrm>
          <a:off x="0" y="0"/>
          <a:ext cx="0" cy="0"/>
          <a:chOff x="0" y="0"/>
          <a:chExt cx="0" cy="0"/>
        </a:xfrm>
      </p:grpSpPr>
      <p:sp>
        <p:nvSpPr>
          <p:cNvPr id="9" name="TextBox 6">
            <a:extLst>
              <a:ext uri="{FF2B5EF4-FFF2-40B4-BE49-F238E27FC236}">
                <a16:creationId xmlns:a16="http://schemas.microsoft.com/office/drawing/2014/main" id="{237FDBAE-7463-F64A-A3BF-D645185176EB}"/>
              </a:ext>
            </a:extLst>
          </p:cNvPr>
          <p:cNvSpPr txBox="1"/>
          <p:nvPr/>
        </p:nvSpPr>
        <p:spPr>
          <a:xfrm>
            <a:off x="363494" y="986401"/>
            <a:ext cx="11916995"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lvl1pPr>
              <a:defRPr sz="4900">
                <a:solidFill>
                  <a:srgbClr val="E8111C"/>
                </a:solidFill>
                <a:latin typeface="Gilroy ExtraBold"/>
                <a:ea typeface="Gilroy ExtraBold"/>
                <a:cs typeface="Gilroy ExtraBold"/>
                <a:sym typeface="Gilroy ExtraBold"/>
              </a:defRPr>
            </a:lvl1pPr>
          </a:lstStyle>
          <a:p>
            <a:r>
              <a:rPr lang="es-ES" sz="4400" b="1">
                <a:solidFill>
                  <a:schemeClr val="bg2"/>
                </a:solidFill>
                <a:latin typeface="Scotia Headline"/>
              </a:rPr>
              <a:t>¿Cómo escribir historias de usuarios?</a:t>
            </a:r>
            <a:endParaRPr lang="en-US"/>
          </a:p>
        </p:txBody>
      </p:sp>
      <p:pic>
        <p:nvPicPr>
          <p:cNvPr id="3074" name="Picture 2">
            <a:extLst>
              <a:ext uri="{FF2B5EF4-FFF2-40B4-BE49-F238E27FC236}">
                <a16:creationId xmlns:a16="http://schemas.microsoft.com/office/drawing/2014/main" id="{C8ED34CB-5761-4E4C-A0D4-8CD4048744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5829" y="3349095"/>
            <a:ext cx="8941068" cy="2456694"/>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
            <a:extLst>
              <a:ext uri="{FF2B5EF4-FFF2-40B4-BE49-F238E27FC236}">
                <a16:creationId xmlns:a16="http://schemas.microsoft.com/office/drawing/2014/main" id="{F214C55A-9ECD-46F1-BA3D-C7FC4124FEC3}"/>
              </a:ext>
            </a:extLst>
          </p:cNvPr>
          <p:cNvSpPr txBox="1"/>
          <p:nvPr/>
        </p:nvSpPr>
        <p:spPr>
          <a:xfrm>
            <a:off x="150194" y="5958047"/>
            <a:ext cx="11943390" cy="880993"/>
          </a:xfrm>
          <a:prstGeom prst="rect">
            <a:avLst/>
          </a:prstGeom>
          <a:noFill/>
        </p:spPr>
        <p:txBody>
          <a:bodyPr wrap="square" lIns="0" tIns="0" rIns="0" bIns="0" rtlCol="0" anchor="t">
            <a:noAutofit/>
          </a:bodyPr>
          <a:lstStyle/>
          <a:p>
            <a:pPr algn="ctr">
              <a:lnSpc>
                <a:spcPct val="150000"/>
              </a:lnSpc>
              <a:buClr>
                <a:schemeClr val="accent5"/>
              </a:buClr>
              <a:buSzPct val="80000"/>
            </a:pPr>
            <a:r>
              <a:rPr lang="es-CO" sz="2800" b="1">
                <a:latin typeface="Scotia Regular"/>
                <a:cs typeface="Arial"/>
              </a:rPr>
              <a:t>Cómo</a:t>
            </a:r>
            <a:r>
              <a:rPr lang="en-US" sz="2800" b="1">
                <a:latin typeface="Scotia Regular"/>
                <a:cs typeface="Arial"/>
              </a:rPr>
              <a:t> QUIÉN</a:t>
            </a:r>
            <a:r>
              <a:rPr lang="es-MX" sz="2800" b="1">
                <a:latin typeface="Scotia Regular"/>
                <a:cs typeface="Arial"/>
              </a:rPr>
              <a:t>, Yo quiero QUÉ, entonces PARA QUÉ</a:t>
            </a:r>
            <a:endParaRPr lang="en-US" sz="2800" b="1">
              <a:latin typeface="Scotia Regular"/>
              <a:cs typeface="Arial"/>
            </a:endParaRPr>
          </a:p>
        </p:txBody>
      </p:sp>
      <p:pic>
        <p:nvPicPr>
          <p:cNvPr id="2" name="Picture 2">
            <a:extLst>
              <a:ext uri="{FF2B5EF4-FFF2-40B4-BE49-F238E27FC236}">
                <a16:creationId xmlns:a16="http://schemas.microsoft.com/office/drawing/2014/main" id="{113646A2-5914-552E-0099-CE888512894C}"/>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AC202C93-E311-EA65-3D26-9C20AB54EDF3}"/>
              </a:ext>
            </a:extLst>
          </p:cNvPr>
          <p:cNvSpPr txBox="1"/>
          <p:nvPr/>
        </p:nvSpPr>
        <p:spPr>
          <a:xfrm>
            <a:off x="2236240" y="2533146"/>
            <a:ext cx="1997034" cy="739820"/>
          </a:xfrm>
          <a:prstGeom prst="rect">
            <a:avLst/>
          </a:prstGeom>
          <a:noFill/>
        </p:spPr>
        <p:txBody>
          <a:bodyPr wrap="square" lIns="0" tIns="0" rIns="0" bIns="0" rtlCol="0" anchor="t">
            <a:noAutofit/>
          </a:bodyPr>
          <a:lstStyle>
            <a:defPPr>
              <a:defRPr lang="en-US"/>
            </a:defPPr>
            <a:lvl1pPr>
              <a:lnSpc>
                <a:spcPct val="130000"/>
              </a:lnSpc>
              <a:buClr>
                <a:schemeClr val="accent5"/>
              </a:buClr>
              <a:buSzPct val="80000"/>
              <a:defRPr sz="1200">
                <a:latin typeface="Scotia Regular" panose="020B0503020203020204" pitchFamily="34" charset="0"/>
              </a:defRPr>
            </a:lvl1pPr>
          </a:lstStyle>
          <a:p>
            <a:pPr algn="ctr"/>
            <a:r>
              <a:rPr lang="es-ES" sz="1600"/>
              <a:t>¿Para </a:t>
            </a:r>
            <a:r>
              <a:rPr lang="es-ES" sz="1600" b="1"/>
              <a:t>quién</a:t>
            </a:r>
            <a:r>
              <a:rPr lang="es-ES" sz="1600"/>
              <a:t> es? </a:t>
            </a:r>
            <a:r>
              <a:rPr lang="es-ES" sz="1600" b="1"/>
              <a:t>(Usuario final)</a:t>
            </a:r>
            <a:endParaRPr lang="en-US" sz="1600" b="1"/>
          </a:p>
        </p:txBody>
      </p:sp>
      <p:sp>
        <p:nvSpPr>
          <p:cNvPr id="6" name="TextBox 5">
            <a:extLst>
              <a:ext uri="{FF2B5EF4-FFF2-40B4-BE49-F238E27FC236}">
                <a16:creationId xmlns:a16="http://schemas.microsoft.com/office/drawing/2014/main" id="{486DC8D8-F87E-39AE-8B61-8197D9532A87}"/>
              </a:ext>
            </a:extLst>
          </p:cNvPr>
          <p:cNvSpPr txBox="1"/>
          <p:nvPr/>
        </p:nvSpPr>
        <p:spPr>
          <a:xfrm>
            <a:off x="5453815" y="2457593"/>
            <a:ext cx="1536958" cy="480825"/>
          </a:xfrm>
          <a:prstGeom prst="rect">
            <a:avLst/>
          </a:prstGeom>
          <a:noFill/>
        </p:spPr>
        <p:txBody>
          <a:bodyPr wrap="square" lIns="0" tIns="0" rIns="0" bIns="0" rtlCol="0" anchor="t">
            <a:noAutofit/>
          </a:bodyPr>
          <a:lstStyle/>
          <a:p>
            <a:pPr algn="ctr">
              <a:lnSpc>
                <a:spcPct val="130000"/>
              </a:lnSpc>
              <a:buClr>
                <a:schemeClr val="accent5"/>
              </a:buClr>
              <a:buSzPct val="80000"/>
            </a:pPr>
            <a:r>
              <a:rPr lang="es-CO" sz="1600">
                <a:latin typeface="Scotia Regular" panose="020B0503020203020204" pitchFamily="34" charset="0"/>
              </a:rPr>
              <a:t>¿</a:t>
            </a:r>
            <a:r>
              <a:rPr lang="es-CO" sz="1600" b="1">
                <a:latin typeface="Scotia Regular" panose="020B0503020203020204" pitchFamily="34" charset="0"/>
              </a:rPr>
              <a:t>Qué</a:t>
            </a:r>
            <a:r>
              <a:rPr lang="es-CO" sz="1600">
                <a:latin typeface="Scotia Regular" panose="020B0503020203020204" pitchFamily="34" charset="0"/>
              </a:rPr>
              <a:t> espera del sistema?</a:t>
            </a:r>
          </a:p>
        </p:txBody>
      </p:sp>
      <p:sp>
        <p:nvSpPr>
          <p:cNvPr id="8" name="TextBox 7">
            <a:extLst>
              <a:ext uri="{FF2B5EF4-FFF2-40B4-BE49-F238E27FC236}">
                <a16:creationId xmlns:a16="http://schemas.microsoft.com/office/drawing/2014/main" id="{AB4CD728-4C70-8EBF-DAD8-1BE24F9200C6}"/>
              </a:ext>
            </a:extLst>
          </p:cNvPr>
          <p:cNvSpPr txBox="1"/>
          <p:nvPr/>
        </p:nvSpPr>
        <p:spPr>
          <a:xfrm>
            <a:off x="7830950" y="2485550"/>
            <a:ext cx="2615260" cy="753342"/>
          </a:xfrm>
          <a:prstGeom prst="rect">
            <a:avLst/>
          </a:prstGeom>
          <a:noFill/>
        </p:spPr>
        <p:txBody>
          <a:bodyPr wrap="square" lIns="0" tIns="0" rIns="0" bIns="0" rtlCol="0" anchor="t">
            <a:noAutofit/>
          </a:bodyPr>
          <a:lstStyle>
            <a:defPPr>
              <a:defRPr lang="en-US"/>
            </a:defPPr>
            <a:lvl1pPr>
              <a:lnSpc>
                <a:spcPct val="130000"/>
              </a:lnSpc>
              <a:buClr>
                <a:schemeClr val="accent5"/>
              </a:buClr>
              <a:buSzPct val="80000"/>
              <a:defRPr sz="1400">
                <a:latin typeface="Scotia Regular" panose="020B0503020203020204" pitchFamily="34" charset="0"/>
              </a:defRPr>
            </a:lvl1pPr>
          </a:lstStyle>
          <a:p>
            <a:pPr algn="ctr"/>
            <a:r>
              <a:rPr lang="es-ES" sz="1600"/>
              <a:t>¿</a:t>
            </a:r>
            <a:r>
              <a:rPr lang="es-ES" sz="1600" b="1"/>
              <a:t>Por qué </a:t>
            </a:r>
            <a:r>
              <a:rPr lang="es-ES" sz="1600"/>
              <a:t>es importante?</a:t>
            </a:r>
          </a:p>
          <a:p>
            <a:pPr algn="ctr"/>
            <a:r>
              <a:rPr lang="es-ES" sz="1600"/>
              <a:t>¿</a:t>
            </a:r>
            <a:r>
              <a:rPr lang="es-ES" sz="1600" b="1"/>
              <a:t>Por qué </a:t>
            </a:r>
            <a:r>
              <a:rPr lang="es-ES" sz="1600"/>
              <a:t>lo quieren?</a:t>
            </a:r>
            <a:endParaRPr lang="es-MX" sz="1600"/>
          </a:p>
        </p:txBody>
      </p:sp>
      <p:sp>
        <p:nvSpPr>
          <p:cNvPr id="5" name="Oval 4">
            <a:extLst>
              <a:ext uri="{FF2B5EF4-FFF2-40B4-BE49-F238E27FC236}">
                <a16:creationId xmlns:a16="http://schemas.microsoft.com/office/drawing/2014/main" id="{E4DBA868-5E4D-7FF4-666C-E7C5C1F389A8}"/>
              </a:ext>
            </a:extLst>
          </p:cNvPr>
          <p:cNvSpPr/>
          <p:nvPr/>
        </p:nvSpPr>
        <p:spPr>
          <a:xfrm>
            <a:off x="11068933" y="6587825"/>
            <a:ext cx="161925" cy="149735"/>
          </a:xfrm>
          <a:prstGeom prst="ellipse">
            <a:avLst/>
          </a:prstGeom>
          <a:solidFill>
            <a:schemeClr val="accent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65752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7849B8"/>
        </a:solid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C2764B13-C926-9242-A863-1142DDEE1FC0}"/>
              </a:ext>
            </a:extLst>
          </p:cNvPr>
          <p:cNvSpPr txBox="1"/>
          <p:nvPr/>
        </p:nvSpPr>
        <p:spPr>
          <a:xfrm>
            <a:off x="363495" y="1022408"/>
            <a:ext cx="3461665"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n-US" sz="4400" b="1" err="1">
                <a:solidFill>
                  <a:schemeClr val="bg2"/>
                </a:solidFill>
                <a:latin typeface="Scotia Headline" panose="020B0503020203020204" pitchFamily="34" charset="0"/>
              </a:rPr>
              <a:t>Ejemplo</a:t>
            </a:r>
            <a:endParaRPr lang="en-US" sz="4400" b="1">
              <a:solidFill>
                <a:schemeClr val="bg2"/>
              </a:solidFill>
              <a:latin typeface="Scotia Headline" panose="020B0503020203020204" pitchFamily="34" charset="0"/>
            </a:endParaRPr>
          </a:p>
        </p:txBody>
      </p:sp>
      <p:sp>
        <p:nvSpPr>
          <p:cNvPr id="3" name="TextBox 8">
            <a:extLst>
              <a:ext uri="{FF2B5EF4-FFF2-40B4-BE49-F238E27FC236}">
                <a16:creationId xmlns:a16="http://schemas.microsoft.com/office/drawing/2014/main" id="{CD4282B3-F9D6-D64A-B428-017CEE9E1820}"/>
              </a:ext>
            </a:extLst>
          </p:cNvPr>
          <p:cNvSpPr txBox="1"/>
          <p:nvPr/>
        </p:nvSpPr>
        <p:spPr>
          <a:xfrm>
            <a:off x="4417956" y="1022408"/>
            <a:ext cx="7173915" cy="44319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algn="just">
              <a:defRPr sz="3000">
                <a:solidFill>
                  <a:srgbClr val="FFFFFF"/>
                </a:solidFill>
                <a:latin typeface="Gilroy ExtraBold"/>
                <a:ea typeface="Gilroy ExtraBold"/>
                <a:cs typeface="Gilroy ExtraBold"/>
                <a:sym typeface="Gilroy ExtraBold"/>
              </a:defRPr>
            </a:pPr>
            <a:r>
              <a:rPr lang="es-ES" sz="2400" b="1">
                <a:solidFill>
                  <a:schemeClr val="bg1">
                    <a:lumMod val="50000"/>
                  </a:schemeClr>
                </a:solidFill>
                <a:latin typeface="Scotia"/>
                <a:ea typeface="Scotia" panose="020B0503020203020204" pitchFamily="34" charset="0"/>
              </a:rPr>
              <a:t>Título:	Reporte de vacaciones</a:t>
            </a:r>
          </a:p>
          <a:p>
            <a:pPr marL="514350" indent="-514350" algn="just">
              <a:buFont typeface="+mj-lt"/>
              <a:buAutoNum type="arabicPeriod"/>
              <a:defRPr sz="3000">
                <a:solidFill>
                  <a:srgbClr val="FFFFFF"/>
                </a:solidFill>
                <a:latin typeface="Gilroy ExtraBold"/>
                <a:ea typeface="Gilroy ExtraBold"/>
                <a:cs typeface="Gilroy ExtraBold"/>
                <a:sym typeface="Gilroy ExtraBold"/>
              </a:defRPr>
            </a:pPr>
            <a:endParaRPr lang="es-ES" sz="2400" b="1">
              <a:solidFill>
                <a:schemeClr val="bg1">
                  <a:lumMod val="50000"/>
                </a:schemeClr>
              </a:solidFill>
              <a:latin typeface="Scotia" panose="020B0503020203020204" pitchFamily="34" charset="0"/>
              <a:ea typeface="Scotia" panose="020B0503020203020204" pitchFamily="34" charset="0"/>
            </a:endParaRPr>
          </a:p>
          <a:p>
            <a:pPr algn="just">
              <a:defRPr sz="3000">
                <a:solidFill>
                  <a:srgbClr val="FFFFFF"/>
                </a:solidFill>
                <a:latin typeface="Gilroy ExtraBold"/>
                <a:ea typeface="Gilroy ExtraBold"/>
                <a:cs typeface="Gilroy ExtraBold"/>
                <a:sym typeface="Gilroy ExtraBold"/>
              </a:defRPr>
            </a:pPr>
            <a:r>
              <a:rPr lang="es-ES" sz="2400" b="1">
                <a:solidFill>
                  <a:schemeClr val="bg1">
                    <a:lumMod val="50000"/>
                  </a:schemeClr>
                </a:solidFill>
                <a:latin typeface="Scotia"/>
                <a:ea typeface="Scotia" panose="020B0503020203020204" pitchFamily="34" charset="0"/>
              </a:rPr>
              <a:t>¿Quién?: </a:t>
            </a:r>
            <a:r>
              <a:rPr lang="es-ES" sz="2400">
                <a:solidFill>
                  <a:schemeClr val="bg1">
                    <a:lumMod val="50000"/>
                  </a:schemeClr>
                </a:solidFill>
                <a:latin typeface="Scotia"/>
                <a:ea typeface="Scotia" panose="020B0503020203020204" pitchFamily="34" charset="0"/>
              </a:rPr>
              <a:t>Yo como analista de recursos humanos</a:t>
            </a:r>
          </a:p>
          <a:p>
            <a:pPr marL="514350" indent="-514350" algn="just">
              <a:buFont typeface="+mj-lt"/>
              <a:buAutoNum type="arabicPeriod"/>
              <a:defRPr sz="3000">
                <a:solidFill>
                  <a:srgbClr val="FFFFFF"/>
                </a:solidFill>
                <a:latin typeface="Gilroy ExtraBold"/>
                <a:ea typeface="Gilroy ExtraBold"/>
                <a:cs typeface="Gilroy ExtraBold"/>
                <a:sym typeface="Gilroy ExtraBold"/>
              </a:defRPr>
            </a:pPr>
            <a:endParaRPr lang="es-ES" sz="2400" b="1">
              <a:solidFill>
                <a:schemeClr val="bg1">
                  <a:lumMod val="50000"/>
                </a:schemeClr>
              </a:solidFill>
              <a:latin typeface="Scotia" panose="020B0503020203020204" pitchFamily="34" charset="0"/>
              <a:ea typeface="Scotia" panose="020B0503020203020204" pitchFamily="34" charset="0"/>
            </a:endParaRPr>
          </a:p>
          <a:p>
            <a:pPr algn="just">
              <a:defRPr sz="3000">
                <a:solidFill>
                  <a:srgbClr val="FFFFFF"/>
                </a:solidFill>
                <a:latin typeface="Gilroy ExtraBold"/>
                <a:ea typeface="Gilroy ExtraBold"/>
                <a:cs typeface="Gilroy ExtraBold"/>
                <a:sym typeface="Gilroy ExtraBold"/>
              </a:defRPr>
            </a:pPr>
            <a:r>
              <a:rPr lang="es-ES" sz="2400" b="1">
                <a:solidFill>
                  <a:schemeClr val="bg1">
                    <a:lumMod val="50000"/>
                  </a:schemeClr>
                </a:solidFill>
                <a:latin typeface="Scotia"/>
                <a:ea typeface="Scotia" panose="020B0503020203020204" pitchFamily="34" charset="0"/>
              </a:rPr>
              <a:t>¿Qué?: </a:t>
            </a:r>
            <a:r>
              <a:rPr lang="es-ES" sz="2400">
                <a:solidFill>
                  <a:schemeClr val="bg1">
                    <a:lumMod val="50000"/>
                  </a:schemeClr>
                </a:solidFill>
                <a:latin typeface="Scotia"/>
                <a:ea typeface="Scotia" panose="020B0503020203020204" pitchFamily="34" charset="0"/>
              </a:rPr>
              <a:t>Quiero un informe de los días de vacaciones por empleado...</a:t>
            </a:r>
          </a:p>
          <a:p>
            <a:pPr marL="514350" indent="-514350" algn="just">
              <a:buFont typeface="+mj-lt"/>
              <a:buAutoNum type="arabicPeriod"/>
              <a:defRPr sz="3000">
                <a:solidFill>
                  <a:srgbClr val="FFFFFF"/>
                </a:solidFill>
                <a:latin typeface="Gilroy ExtraBold"/>
                <a:ea typeface="Gilroy ExtraBold"/>
                <a:cs typeface="Gilroy ExtraBold"/>
                <a:sym typeface="Gilroy ExtraBold"/>
              </a:defRPr>
            </a:pPr>
            <a:endParaRPr lang="es-ES" sz="2400" b="1">
              <a:solidFill>
                <a:schemeClr val="bg1">
                  <a:lumMod val="50000"/>
                </a:schemeClr>
              </a:solidFill>
              <a:latin typeface="Scotia" panose="020B0503020203020204" pitchFamily="34" charset="0"/>
              <a:ea typeface="Scotia" panose="020B0503020203020204" pitchFamily="34" charset="0"/>
            </a:endParaRPr>
          </a:p>
          <a:p>
            <a:pPr algn="just">
              <a:defRPr sz="3000">
                <a:solidFill>
                  <a:srgbClr val="FFFFFF"/>
                </a:solidFill>
                <a:latin typeface="Gilroy ExtraBold"/>
                <a:ea typeface="Gilroy ExtraBold"/>
                <a:cs typeface="Gilroy ExtraBold"/>
                <a:sym typeface="Gilroy ExtraBold"/>
              </a:defRPr>
            </a:pPr>
            <a:r>
              <a:rPr lang="es-ES" sz="2400" b="1">
                <a:solidFill>
                  <a:schemeClr val="bg1">
                    <a:lumMod val="50000"/>
                  </a:schemeClr>
                </a:solidFill>
                <a:latin typeface="Scotia"/>
                <a:ea typeface="Scotia" panose="020B0503020203020204" pitchFamily="34" charset="0"/>
              </a:rPr>
              <a:t>¿Para qué?: </a:t>
            </a:r>
            <a:r>
              <a:rPr lang="es-ES" sz="2400">
                <a:solidFill>
                  <a:schemeClr val="bg1">
                    <a:lumMod val="50000"/>
                  </a:schemeClr>
                </a:solidFill>
                <a:latin typeface="Scotia"/>
                <a:ea typeface="Scotia" panose="020B0503020203020204" pitchFamily="34" charset="0"/>
              </a:rPr>
              <a:t>Para saber las fechas en las que estarán disponibles los empleados durante el año y planear sus actividades.</a:t>
            </a:r>
          </a:p>
          <a:p>
            <a:pPr marL="514350" indent="-514350" algn="just">
              <a:buFont typeface="+mj-lt"/>
              <a:buAutoNum type="arabicPeriod"/>
              <a:defRPr sz="3000">
                <a:solidFill>
                  <a:srgbClr val="FFFFFF"/>
                </a:solidFill>
                <a:latin typeface="Gilroy ExtraBold"/>
                <a:ea typeface="Gilroy ExtraBold"/>
                <a:cs typeface="Gilroy ExtraBold"/>
                <a:sym typeface="Gilroy ExtraBold"/>
              </a:defRPr>
            </a:pPr>
            <a:endParaRPr lang="es-ES" sz="2400" b="1">
              <a:solidFill>
                <a:schemeClr val="bg1">
                  <a:lumMod val="50000"/>
                </a:schemeClr>
              </a:solidFill>
              <a:latin typeface="Scotia" panose="020B0503020203020204" pitchFamily="34" charset="0"/>
              <a:ea typeface="Scotia" panose="020B0503020203020204" pitchFamily="34" charset="0"/>
            </a:endParaRPr>
          </a:p>
          <a:p>
            <a:pPr algn="just">
              <a:defRPr sz="3000">
                <a:solidFill>
                  <a:srgbClr val="FFFFFF"/>
                </a:solidFill>
                <a:latin typeface="Gilroy ExtraBold"/>
                <a:ea typeface="Gilroy ExtraBold"/>
                <a:cs typeface="Gilroy ExtraBold"/>
                <a:sym typeface="Gilroy ExtraBold"/>
              </a:defRPr>
            </a:pPr>
            <a:r>
              <a:rPr lang="es-ES" sz="2400" b="1">
                <a:solidFill>
                  <a:schemeClr val="bg1">
                    <a:lumMod val="50000"/>
                  </a:schemeClr>
                </a:solidFill>
                <a:latin typeface="Scotia"/>
                <a:ea typeface="Scotia" panose="020B0503020203020204" pitchFamily="34" charset="0"/>
              </a:rPr>
              <a:t>Criterios de aceptación…</a:t>
            </a:r>
            <a:endParaRPr lang="es-MX" sz="2400" b="1">
              <a:solidFill>
                <a:schemeClr val="bg1">
                  <a:lumMod val="50000"/>
                </a:schemeClr>
              </a:solidFill>
              <a:latin typeface="Scotia"/>
              <a:ea typeface="Scotia" panose="020B0503020203020204" pitchFamily="34" charset="0"/>
            </a:endParaRPr>
          </a:p>
        </p:txBody>
      </p:sp>
      <p:pic>
        <p:nvPicPr>
          <p:cNvPr id="4" name="Picture 2">
            <a:extLst>
              <a:ext uri="{FF2B5EF4-FFF2-40B4-BE49-F238E27FC236}">
                <a16:creationId xmlns:a16="http://schemas.microsoft.com/office/drawing/2014/main" id="{D15E2772-7935-9FAB-FC6D-36D53FAE1611}"/>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C708676F-4C17-B087-5300-9F8FCA6B1941}"/>
              </a:ext>
            </a:extLst>
          </p:cNvPr>
          <p:cNvSpPr/>
          <p:nvPr/>
        </p:nvSpPr>
        <p:spPr>
          <a:xfrm>
            <a:off x="11068933" y="6587825"/>
            <a:ext cx="161925" cy="149735"/>
          </a:xfrm>
          <a:prstGeom prst="ellipse">
            <a:avLst/>
          </a:prstGeom>
          <a:solidFill>
            <a:schemeClr val="accent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0826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8" name="TextBox 6">
            <a:extLst>
              <a:ext uri="{FF2B5EF4-FFF2-40B4-BE49-F238E27FC236}">
                <a16:creationId xmlns:a16="http://schemas.microsoft.com/office/drawing/2014/main" id="{2FF120AF-589D-A343-B1A4-0EF94FD6A519}"/>
              </a:ext>
            </a:extLst>
          </p:cNvPr>
          <p:cNvSpPr txBox="1"/>
          <p:nvPr/>
        </p:nvSpPr>
        <p:spPr>
          <a:xfrm>
            <a:off x="719998" y="1933206"/>
            <a:ext cx="5376002" cy="275331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a:lnSpc>
                <a:spcPct val="90000"/>
              </a:lnSpc>
              <a:defRPr sz="4900">
                <a:solidFill>
                  <a:srgbClr val="FFFFFF"/>
                </a:solidFill>
                <a:latin typeface="Gilroy ExtraBold"/>
                <a:ea typeface="Gilroy ExtraBold"/>
                <a:cs typeface="Gilroy ExtraBold"/>
                <a:sym typeface="Gilroy ExtraBold"/>
              </a:defRPr>
            </a:pPr>
            <a:r>
              <a:rPr lang="en-US" sz="6600" b="1">
                <a:solidFill>
                  <a:schemeClr val="bg2"/>
                </a:solidFill>
                <a:latin typeface="Scotia Headline" panose="020B0503020203020204" pitchFamily="34" charset="0"/>
              </a:rPr>
              <a:t>CRITERIOS DE ACEPTACIÓN</a:t>
            </a:r>
          </a:p>
        </p:txBody>
      </p:sp>
      <p:sp>
        <p:nvSpPr>
          <p:cNvPr id="9" name="TextBox 8">
            <a:extLst>
              <a:ext uri="{FF2B5EF4-FFF2-40B4-BE49-F238E27FC236}">
                <a16:creationId xmlns:a16="http://schemas.microsoft.com/office/drawing/2014/main" id="{6E9E82A6-C5ED-A74B-A9C2-817CBA21EEDE}"/>
              </a:ext>
            </a:extLst>
          </p:cNvPr>
          <p:cNvSpPr txBox="1"/>
          <p:nvPr/>
        </p:nvSpPr>
        <p:spPr>
          <a:xfrm>
            <a:off x="719998" y="1355035"/>
            <a:ext cx="1023077" cy="49244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a:defRPr sz="4900">
                <a:solidFill>
                  <a:srgbClr val="FFFFFF"/>
                </a:solidFill>
                <a:latin typeface="Gilroy ExtraBold"/>
                <a:ea typeface="Gilroy ExtraBold"/>
                <a:cs typeface="Gilroy ExtraBold"/>
                <a:sym typeface="Gilroy ExtraBold"/>
              </a:defRPr>
            </a:pPr>
            <a:r>
              <a:rPr lang="en-US" sz="3200" b="1">
                <a:solidFill>
                  <a:schemeClr val="bg2"/>
                </a:solidFill>
                <a:latin typeface="Scotia Headline" panose="020B0503020203020204" pitchFamily="34" charset="0"/>
              </a:rPr>
              <a:t>03</a:t>
            </a:r>
            <a:endParaRPr sz="3200" b="1">
              <a:solidFill>
                <a:schemeClr val="bg2"/>
              </a:solidFill>
              <a:latin typeface="Scotia Headline" panose="020B0503020203020204" pitchFamily="34" charset="0"/>
            </a:endParaRPr>
          </a:p>
        </p:txBody>
      </p:sp>
      <p:pic>
        <p:nvPicPr>
          <p:cNvPr id="3" name="Picture 2">
            <a:extLst>
              <a:ext uri="{FF2B5EF4-FFF2-40B4-BE49-F238E27FC236}">
                <a16:creationId xmlns:a16="http://schemas.microsoft.com/office/drawing/2014/main" id="{11A74791-98F1-0B4A-A9A8-3F6EAC5F0E59}"/>
              </a:ext>
            </a:extLst>
          </p:cNvPr>
          <p:cNvPicPr>
            <a:picLocks noChangeAspect="1"/>
          </p:cNvPicPr>
          <p:nvPr/>
        </p:nvPicPr>
        <p:blipFill>
          <a:blip r:embed="rId3"/>
          <a:stretch>
            <a:fillRect/>
          </a:stretch>
        </p:blipFill>
        <p:spPr>
          <a:xfrm>
            <a:off x="6913230" y="1885683"/>
            <a:ext cx="3834780" cy="3624656"/>
          </a:xfrm>
          <a:prstGeom prst="rect">
            <a:avLst/>
          </a:prstGeom>
        </p:spPr>
      </p:pic>
      <p:pic>
        <p:nvPicPr>
          <p:cNvPr id="2" name="Picture 2">
            <a:extLst>
              <a:ext uri="{FF2B5EF4-FFF2-40B4-BE49-F238E27FC236}">
                <a16:creationId xmlns:a16="http://schemas.microsoft.com/office/drawing/2014/main" id="{16734264-11AA-AE34-5942-A403215E7B6B}"/>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F1C5F410-FECC-44B3-DBED-D427DF2E500D}"/>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9920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C2764B13-C926-9242-A863-1142DDEE1FC0}"/>
              </a:ext>
            </a:extLst>
          </p:cNvPr>
          <p:cNvSpPr txBox="1"/>
          <p:nvPr/>
        </p:nvSpPr>
        <p:spPr>
          <a:xfrm>
            <a:off x="363495" y="1022408"/>
            <a:ext cx="3461665" cy="2893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n-US" sz="4000" b="1">
                <a:solidFill>
                  <a:schemeClr val="bg2"/>
                </a:solidFill>
                <a:latin typeface="Scotia Headline" panose="020B0503020203020204" pitchFamily="34" charset="0"/>
              </a:rPr>
              <a:t>CRITERIOS DE ACEPTACIÓN</a:t>
            </a:r>
          </a:p>
          <a:p>
            <a:br>
              <a:rPr lang="en-US" sz="4000" b="1">
                <a:solidFill>
                  <a:schemeClr val="bg2"/>
                </a:solidFill>
                <a:latin typeface="Scotia Headline" panose="020B0503020203020204" pitchFamily="34" charset="0"/>
              </a:rPr>
            </a:br>
            <a:br>
              <a:rPr lang="en-US" sz="4000" b="1">
                <a:solidFill>
                  <a:schemeClr val="bg2"/>
                </a:solidFill>
                <a:latin typeface="Scotia Headline" panose="020B0503020203020204" pitchFamily="34" charset="0"/>
              </a:rPr>
            </a:br>
            <a:r>
              <a:rPr lang="en-US" sz="2800" b="1">
                <a:solidFill>
                  <a:schemeClr val="bg2"/>
                </a:solidFill>
                <a:latin typeface="Scotia Headline" panose="020B0503020203020204" pitchFamily="34" charset="0"/>
              </a:rPr>
              <a:t>(Regla de </a:t>
            </a:r>
            <a:r>
              <a:rPr lang="en-US" sz="2800" b="1" err="1">
                <a:solidFill>
                  <a:schemeClr val="bg2"/>
                </a:solidFill>
                <a:latin typeface="Scotia Headline" panose="020B0503020203020204" pitchFamily="34" charset="0"/>
              </a:rPr>
              <a:t>negocio</a:t>
            </a:r>
            <a:r>
              <a:rPr lang="en-US" sz="2800" b="1">
                <a:solidFill>
                  <a:schemeClr val="bg2"/>
                </a:solidFill>
                <a:latin typeface="Scotia Headline" panose="020B0503020203020204" pitchFamily="34" charset="0"/>
              </a:rPr>
              <a:t>)</a:t>
            </a:r>
            <a:endParaRPr lang="en-US" sz="4000" b="1">
              <a:solidFill>
                <a:schemeClr val="bg2"/>
              </a:solidFill>
              <a:latin typeface="Scotia Headline" panose="020B0503020203020204" pitchFamily="34" charset="0"/>
            </a:endParaRPr>
          </a:p>
        </p:txBody>
      </p:sp>
      <p:sp>
        <p:nvSpPr>
          <p:cNvPr id="3" name="TextBox 8">
            <a:extLst>
              <a:ext uri="{FF2B5EF4-FFF2-40B4-BE49-F238E27FC236}">
                <a16:creationId xmlns:a16="http://schemas.microsoft.com/office/drawing/2014/main" id="{CD4282B3-F9D6-D64A-B428-017CEE9E1820}"/>
              </a:ext>
            </a:extLst>
          </p:cNvPr>
          <p:cNvSpPr txBox="1"/>
          <p:nvPr/>
        </p:nvSpPr>
        <p:spPr>
          <a:xfrm>
            <a:off x="4501240" y="1017626"/>
            <a:ext cx="7173915" cy="33239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endParaRPr lang="es-ES" sz="2400" b="1">
              <a:solidFill>
                <a:schemeClr val="bg1">
                  <a:lumMod val="50000"/>
                </a:schemeClr>
              </a:solidFill>
              <a:latin typeface="Scotia Headline" panose="020B0503020203020204" pitchFamily="34" charset="0"/>
            </a:endParaRP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2400" b="1">
                <a:solidFill>
                  <a:schemeClr val="bg1">
                    <a:lumMod val="50000"/>
                  </a:schemeClr>
                </a:solidFill>
                <a:latin typeface="Scotia" panose="020B0503020203020204" pitchFamily="34" charset="0"/>
                <a:ea typeface="Scotia" panose="020B0503020203020204" pitchFamily="34" charset="0"/>
              </a:rPr>
              <a:t>Definir Límites: </a:t>
            </a:r>
            <a:r>
              <a:rPr lang="es-ES" sz="2400">
                <a:solidFill>
                  <a:schemeClr val="bg1">
                    <a:lumMod val="50000"/>
                  </a:schemeClr>
                </a:solidFill>
                <a:latin typeface="Scotia" panose="020B0503020203020204" pitchFamily="34" charset="0"/>
                <a:ea typeface="Scotia" panose="020B0503020203020204" pitchFamily="34" charset="0"/>
              </a:rPr>
              <a:t>Clarifican los límites de una historia de usuario.</a:t>
            </a: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endParaRPr lang="es-ES" sz="2400" b="1">
              <a:solidFill>
                <a:schemeClr val="bg1">
                  <a:lumMod val="50000"/>
                </a:schemeClr>
              </a:solidFill>
              <a:latin typeface="Scotia" panose="020B0503020203020204" pitchFamily="34" charset="0"/>
              <a:ea typeface="Scotia" panose="020B0503020203020204" pitchFamily="34" charset="0"/>
            </a:endParaRP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2400" b="1">
                <a:solidFill>
                  <a:schemeClr val="bg1">
                    <a:lumMod val="50000"/>
                  </a:schemeClr>
                </a:solidFill>
                <a:latin typeface="Scotia" panose="020B0503020203020204" pitchFamily="34" charset="0"/>
                <a:ea typeface="Scotia" panose="020B0503020203020204" pitchFamily="34" charset="0"/>
              </a:rPr>
              <a:t>Aceptación o Rechazo: </a:t>
            </a:r>
            <a:r>
              <a:rPr lang="es-ES" sz="2400">
                <a:solidFill>
                  <a:schemeClr val="bg1">
                    <a:lumMod val="50000"/>
                  </a:schemeClr>
                </a:solidFill>
                <a:latin typeface="Scotia" panose="020B0503020203020204" pitchFamily="34" charset="0"/>
                <a:ea typeface="Scotia" panose="020B0503020203020204" pitchFamily="34" charset="0"/>
              </a:rPr>
              <a:t>Sirven como criterios para aceptar o rechazar la historia.</a:t>
            </a: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endParaRPr lang="es-ES" sz="2400" b="1">
              <a:solidFill>
                <a:schemeClr val="bg1">
                  <a:lumMod val="50000"/>
                </a:schemeClr>
              </a:solidFill>
              <a:latin typeface="Scotia" panose="020B0503020203020204" pitchFamily="34" charset="0"/>
              <a:ea typeface="Scotia" panose="020B0503020203020204" pitchFamily="34" charset="0"/>
            </a:endParaRPr>
          </a:p>
          <a:p>
            <a:pPr marL="457200" indent="-457200" algn="just">
              <a:buFont typeface="Arial" panose="020B0604020202020204" pitchFamily="34" charset="0"/>
              <a:buChar char="•"/>
              <a:defRPr sz="3000">
                <a:solidFill>
                  <a:srgbClr val="FFFFFF"/>
                </a:solidFill>
                <a:latin typeface="Gilroy ExtraBold"/>
                <a:ea typeface="Gilroy ExtraBold"/>
                <a:cs typeface="Gilroy ExtraBold"/>
                <a:sym typeface="Gilroy ExtraBold"/>
              </a:defRPr>
            </a:pPr>
            <a:r>
              <a:rPr lang="es-ES" sz="2400" b="1">
                <a:solidFill>
                  <a:schemeClr val="bg1">
                    <a:lumMod val="50000"/>
                  </a:schemeClr>
                </a:solidFill>
                <a:latin typeface="Scotia" panose="020B0503020203020204" pitchFamily="34" charset="0"/>
                <a:ea typeface="Scotia" panose="020B0503020203020204" pitchFamily="34" charset="0"/>
              </a:rPr>
              <a:t>Comportamiento del Sistema: </a:t>
            </a:r>
            <a:r>
              <a:rPr lang="es-ES" sz="2400">
                <a:solidFill>
                  <a:schemeClr val="bg1">
                    <a:lumMod val="50000"/>
                  </a:schemeClr>
                </a:solidFill>
                <a:latin typeface="Scotia" panose="020B0503020203020204" pitchFamily="34" charset="0"/>
                <a:ea typeface="Scotia" panose="020B0503020203020204" pitchFamily="34" charset="0"/>
              </a:rPr>
              <a:t>Describen la interacción entre el sistema y el usuario.</a:t>
            </a:r>
            <a:endParaRPr lang="es-MX" sz="2400">
              <a:solidFill>
                <a:schemeClr val="bg1">
                  <a:lumMod val="50000"/>
                </a:schemeClr>
              </a:solidFill>
              <a:latin typeface="Scotia" panose="020B0503020203020204" pitchFamily="34" charset="0"/>
              <a:ea typeface="Scotia" panose="020B0503020203020204" pitchFamily="34" charset="0"/>
            </a:endParaRPr>
          </a:p>
        </p:txBody>
      </p:sp>
      <p:pic>
        <p:nvPicPr>
          <p:cNvPr id="4" name="Picture 2">
            <a:extLst>
              <a:ext uri="{FF2B5EF4-FFF2-40B4-BE49-F238E27FC236}">
                <a16:creationId xmlns:a16="http://schemas.microsoft.com/office/drawing/2014/main" id="{7D9006A7-0C5E-67EC-5E98-CF506CFD4270}"/>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98DAAADC-F977-06BB-4C13-3460920BA358}"/>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849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5688C94-DC0C-544A-8530-FFFB03ED131A}"/>
              </a:ext>
            </a:extLst>
          </p:cNvPr>
          <p:cNvSpPr/>
          <p:nvPr/>
        </p:nvSpPr>
        <p:spPr>
          <a:xfrm>
            <a:off x="23634595" y="6611334"/>
            <a:ext cx="747819" cy="492443"/>
          </a:xfrm>
          <a:prstGeom prst="rect">
            <a:avLst/>
          </a:prstGeom>
          <a:solidFill>
            <a:srgbClr val="EC111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825418" hangingPunct="0"/>
            <a:endParaRPr lang="en-US" sz="3200">
              <a:solidFill>
                <a:srgbClr val="FFFFFF"/>
              </a:solidFill>
              <a:latin typeface="Scotia Regular" panose="020B0503020203020204" pitchFamily="34" charset="0"/>
              <a:cs typeface="Helvetica"/>
              <a:sym typeface="Gilroy Medium"/>
            </a:endParaRPr>
          </a:p>
        </p:txBody>
      </p:sp>
      <p:pic>
        <p:nvPicPr>
          <p:cNvPr id="6" name="Picture 5">
            <a:extLst>
              <a:ext uri="{FF2B5EF4-FFF2-40B4-BE49-F238E27FC236}">
                <a16:creationId xmlns:a16="http://schemas.microsoft.com/office/drawing/2014/main" id="{F85BD0B1-F17C-1F4E-8878-C9CC62997B06}"/>
              </a:ext>
            </a:extLst>
          </p:cNvPr>
          <p:cNvPicPr>
            <a:picLocks noChangeAspect="1"/>
          </p:cNvPicPr>
          <p:nvPr/>
        </p:nvPicPr>
        <p:blipFill>
          <a:blip r:embed="rId3"/>
          <a:stretch>
            <a:fillRect/>
          </a:stretch>
        </p:blipFill>
        <p:spPr>
          <a:xfrm>
            <a:off x="23842042" y="12705366"/>
            <a:ext cx="324101" cy="356112"/>
          </a:xfrm>
          <a:prstGeom prst="rect">
            <a:avLst/>
          </a:prstGeom>
        </p:spPr>
      </p:pic>
      <p:sp>
        <p:nvSpPr>
          <p:cNvPr id="4" name="Title 3">
            <a:extLst>
              <a:ext uri="{FF2B5EF4-FFF2-40B4-BE49-F238E27FC236}">
                <a16:creationId xmlns:a16="http://schemas.microsoft.com/office/drawing/2014/main" id="{02C21BE5-9196-DF44-A54F-63B895158616}"/>
              </a:ext>
            </a:extLst>
          </p:cNvPr>
          <p:cNvSpPr>
            <a:spLocks noGrp="1"/>
          </p:cNvSpPr>
          <p:nvPr>
            <p:ph type="title"/>
          </p:nvPr>
        </p:nvSpPr>
        <p:spPr>
          <a:xfrm>
            <a:off x="6897688" y="1314631"/>
            <a:ext cx="4302925" cy="795824"/>
          </a:xfrm>
        </p:spPr>
        <p:txBody>
          <a:bodyPr/>
          <a:lstStyle/>
          <a:p>
            <a:r>
              <a:rPr lang="en-CA" err="1">
                <a:solidFill>
                  <a:srgbClr val="EC111A"/>
                </a:solidFill>
              </a:rPr>
              <a:t>Acuerdos</a:t>
            </a:r>
            <a:endParaRPr lang="en-CA">
              <a:solidFill>
                <a:srgbClr val="EC111A"/>
              </a:solidFill>
            </a:endParaRPr>
          </a:p>
        </p:txBody>
      </p:sp>
      <p:sp>
        <p:nvSpPr>
          <p:cNvPr id="7" name="Picture Placeholder 6">
            <a:extLst>
              <a:ext uri="{FF2B5EF4-FFF2-40B4-BE49-F238E27FC236}">
                <a16:creationId xmlns:a16="http://schemas.microsoft.com/office/drawing/2014/main" id="{D71E9E5A-729E-A14D-B2A0-53AFC7A902EF}"/>
              </a:ext>
            </a:extLst>
          </p:cNvPr>
          <p:cNvSpPr>
            <a:spLocks noGrp="1"/>
          </p:cNvSpPr>
          <p:nvPr>
            <p:ph type="pic" sz="quarter" idx="10"/>
          </p:nvPr>
        </p:nvSpPr>
        <p:spPr>
          <a:xfrm>
            <a:off x="397" y="224"/>
            <a:ext cx="6095603" cy="6857554"/>
          </a:xfrm>
          <a:solidFill>
            <a:srgbClr val="EC111A"/>
          </a:solidFill>
        </p:spPr>
        <p:txBody>
          <a:bodyPr/>
          <a:lstStyle/>
          <a:p>
            <a:endParaRPr lang="en-US"/>
          </a:p>
        </p:txBody>
      </p:sp>
      <p:sp>
        <p:nvSpPr>
          <p:cNvPr id="8" name="Text Placeholder 7">
            <a:extLst>
              <a:ext uri="{FF2B5EF4-FFF2-40B4-BE49-F238E27FC236}">
                <a16:creationId xmlns:a16="http://schemas.microsoft.com/office/drawing/2014/main" id="{0CF82691-062F-F548-AD29-03222F885A58}"/>
              </a:ext>
            </a:extLst>
          </p:cNvPr>
          <p:cNvSpPr>
            <a:spLocks noGrp="1"/>
          </p:cNvSpPr>
          <p:nvPr>
            <p:ph type="body" sz="quarter" idx="11"/>
          </p:nvPr>
        </p:nvSpPr>
        <p:spPr>
          <a:xfrm>
            <a:off x="6897688" y="2598948"/>
            <a:ext cx="4579102" cy="3551595"/>
          </a:xfrm>
        </p:spPr>
        <p:txBody>
          <a:bodyPr/>
          <a:lstStyle/>
          <a:p>
            <a:pPr>
              <a:buClr>
                <a:schemeClr val="accent1"/>
              </a:buClr>
              <a:buFont typeface="Arial" panose="020B0604020202020204" pitchFamily="34" charset="0"/>
              <a:buChar char="•"/>
            </a:pPr>
            <a:r>
              <a:rPr lang="es-ES" b="0"/>
              <a:t>Minimizar las distracciones</a:t>
            </a:r>
          </a:p>
          <a:p>
            <a:pPr>
              <a:buClr>
                <a:schemeClr val="accent1"/>
              </a:buClr>
              <a:buFont typeface="Arial" panose="020B0604020202020204" pitchFamily="34" charset="0"/>
              <a:buChar char="•"/>
            </a:pPr>
            <a:r>
              <a:rPr lang="es-ES" b="0"/>
              <a:t>Silenciar si no estás hablando</a:t>
            </a:r>
          </a:p>
          <a:p>
            <a:pPr>
              <a:buClr>
                <a:schemeClr val="accent1"/>
              </a:buClr>
              <a:buFont typeface="Arial" panose="020B0604020202020204" pitchFamily="34" charset="0"/>
              <a:buChar char="•"/>
            </a:pPr>
            <a:r>
              <a:rPr lang="es-ES" b="0"/>
              <a:t>Utilice el chat o levante la mano para hacer preguntas</a:t>
            </a:r>
          </a:p>
          <a:p>
            <a:pPr>
              <a:buClr>
                <a:schemeClr val="accent1"/>
              </a:buClr>
              <a:buFont typeface="Arial" panose="020B0604020202020204" pitchFamily="34" charset="0"/>
              <a:buChar char="•"/>
            </a:pPr>
            <a:r>
              <a:rPr lang="es-ES" b="0"/>
              <a:t>Usa reacciones o enciende tu cámara </a:t>
            </a:r>
            <a:r>
              <a:rPr lang="en-CA" b="0"/>
              <a:t>😀❤️👍</a:t>
            </a:r>
          </a:p>
          <a:p>
            <a:pPr>
              <a:buClr>
                <a:schemeClr val="accent1"/>
              </a:buClr>
              <a:buFont typeface="Arial" panose="020B0604020202020204" pitchFamily="34" charset="0"/>
              <a:buChar char="•"/>
            </a:pPr>
            <a:r>
              <a:rPr lang="es-CO"/>
              <a:t>Compartiré la presentación al finalizar la sesión.</a:t>
            </a:r>
          </a:p>
          <a:p>
            <a:pPr>
              <a:buClr>
                <a:schemeClr val="accent1"/>
              </a:buClr>
              <a:buFont typeface="Arial" panose="020B0604020202020204" pitchFamily="34" charset="0"/>
              <a:buChar char="•"/>
            </a:pPr>
            <a:endParaRPr lang="en-CA" b="0"/>
          </a:p>
          <a:p>
            <a:pPr>
              <a:buClr>
                <a:schemeClr val="accent1"/>
              </a:buClr>
              <a:buFont typeface="Arial" panose="020B0604020202020204" pitchFamily="34" charset="0"/>
              <a:buChar char="•"/>
            </a:pPr>
            <a:endParaRPr lang="en-CA" b="0"/>
          </a:p>
          <a:p>
            <a:pPr>
              <a:buClr>
                <a:schemeClr val="accent1"/>
              </a:buClr>
              <a:buFont typeface="Arial" panose="020B0604020202020204" pitchFamily="34" charset="0"/>
              <a:buChar char="•"/>
            </a:pPr>
            <a:endParaRPr lang="en-CA" b="0" err="1"/>
          </a:p>
        </p:txBody>
      </p:sp>
      <p:pic>
        <p:nvPicPr>
          <p:cNvPr id="9" name="Picture 8">
            <a:extLst>
              <a:ext uri="{FF2B5EF4-FFF2-40B4-BE49-F238E27FC236}">
                <a16:creationId xmlns:a16="http://schemas.microsoft.com/office/drawing/2014/main" id="{FDDB7B52-9AA3-014D-920C-912AB13FBE3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97" y="447"/>
            <a:ext cx="6104333" cy="6857108"/>
          </a:xfrm>
          <a:prstGeom prst="rect">
            <a:avLst/>
          </a:prstGeom>
        </p:spPr>
      </p:pic>
      <p:pic>
        <p:nvPicPr>
          <p:cNvPr id="2" name="Picture 2">
            <a:extLst>
              <a:ext uri="{FF2B5EF4-FFF2-40B4-BE49-F238E27FC236}">
                <a16:creationId xmlns:a16="http://schemas.microsoft.com/office/drawing/2014/main" id="{E0829F14-0FFF-BAF3-A0CC-B4E0ADD53B52}"/>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a:extLst>
              <a:ext uri="{FF2B5EF4-FFF2-40B4-BE49-F238E27FC236}">
                <a16:creationId xmlns:a16="http://schemas.microsoft.com/office/drawing/2014/main" id="{9CA011F5-5E63-9538-9805-2A84FF1DBA58}"/>
              </a:ext>
            </a:extLst>
          </p:cNvPr>
          <p:cNvSpPr/>
          <p:nvPr/>
        </p:nvSpPr>
        <p:spPr>
          <a:xfrm>
            <a:off x="11097508" y="6587825"/>
            <a:ext cx="161925" cy="149735"/>
          </a:xfrm>
          <a:prstGeom prst="ellipse">
            <a:avLst/>
          </a:prstGeom>
          <a:solidFill>
            <a:srgbClr val="7849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36161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C2764B13-C926-9242-A863-1142DDEE1FC0}"/>
              </a:ext>
            </a:extLst>
          </p:cNvPr>
          <p:cNvSpPr txBox="1"/>
          <p:nvPr/>
        </p:nvSpPr>
        <p:spPr>
          <a:xfrm>
            <a:off x="363495" y="1022408"/>
            <a:ext cx="3461665" cy="246221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s-ES" sz="4000" b="1">
                <a:solidFill>
                  <a:schemeClr val="bg2"/>
                </a:solidFill>
                <a:latin typeface="Scotia Headline" panose="020B0503020203020204" pitchFamily="34" charset="0"/>
              </a:rPr>
              <a:t>Elementos para los Criterios de Aceptación</a:t>
            </a:r>
            <a:endParaRPr lang="en-US" sz="4000" b="1">
              <a:solidFill>
                <a:schemeClr val="bg2"/>
              </a:solidFill>
              <a:latin typeface="Scotia Headline" panose="020B0503020203020204" pitchFamily="34" charset="0"/>
            </a:endParaRPr>
          </a:p>
        </p:txBody>
      </p:sp>
      <p:sp>
        <p:nvSpPr>
          <p:cNvPr id="4" name="Rectangle 44">
            <a:extLst>
              <a:ext uri="{FF2B5EF4-FFF2-40B4-BE49-F238E27FC236}">
                <a16:creationId xmlns:a16="http://schemas.microsoft.com/office/drawing/2014/main" id="{9FE981EF-87D0-AD76-A9DB-C64A3FD1CB29}"/>
              </a:ext>
            </a:extLst>
          </p:cNvPr>
          <p:cNvSpPr/>
          <p:nvPr/>
        </p:nvSpPr>
        <p:spPr>
          <a:xfrm>
            <a:off x="8162937" y="1396917"/>
            <a:ext cx="2127539" cy="1692086"/>
          </a:xfrm>
          <a:prstGeom prst="rect">
            <a:avLst/>
          </a:prstGeom>
          <a:solidFill>
            <a:srgbClr val="FFFFFF"/>
          </a:solidFill>
          <a:ln w="12700">
            <a:miter lim="400000"/>
          </a:ln>
          <a:effectLst>
            <a:outerShdw blurRad="177800" dist="25400" dir="5400000" rotWithShape="0">
              <a:srgbClr val="A7A7A7">
                <a:alpha val="19463"/>
              </a:srgbClr>
            </a:outerShdw>
          </a:effectLst>
        </p:spPr>
        <p:txBody>
          <a:bodyPr lIns="22860" rIns="22860" anchor="ctr"/>
          <a:lstStyle/>
          <a:p>
            <a:pPr algn="ctr">
              <a:defRPr sz="7200">
                <a:solidFill>
                  <a:schemeClr val="accent2">
                    <a:lumOff val="10343"/>
                  </a:schemeClr>
                </a:solidFill>
              </a:defRPr>
            </a:pPr>
            <a:endParaRPr sz="3600"/>
          </a:p>
        </p:txBody>
      </p:sp>
      <p:sp>
        <p:nvSpPr>
          <p:cNvPr id="5" name="Rectangle 44">
            <a:extLst>
              <a:ext uri="{FF2B5EF4-FFF2-40B4-BE49-F238E27FC236}">
                <a16:creationId xmlns:a16="http://schemas.microsoft.com/office/drawing/2014/main" id="{683CE83D-B711-07A8-B6FC-5F675631C1B9}"/>
              </a:ext>
            </a:extLst>
          </p:cNvPr>
          <p:cNvSpPr/>
          <p:nvPr/>
        </p:nvSpPr>
        <p:spPr>
          <a:xfrm>
            <a:off x="8238636" y="3661150"/>
            <a:ext cx="2127539" cy="1692086"/>
          </a:xfrm>
          <a:prstGeom prst="rect">
            <a:avLst/>
          </a:prstGeom>
          <a:solidFill>
            <a:srgbClr val="FFFFFF"/>
          </a:solidFill>
          <a:ln w="12700">
            <a:miter lim="400000"/>
          </a:ln>
          <a:effectLst>
            <a:outerShdw blurRad="177800" dist="25400" dir="5400000" rotWithShape="0">
              <a:srgbClr val="A7A7A7">
                <a:alpha val="19463"/>
              </a:srgbClr>
            </a:outerShdw>
          </a:effectLst>
        </p:spPr>
        <p:txBody>
          <a:bodyPr lIns="22860" rIns="22860" anchor="ctr"/>
          <a:lstStyle/>
          <a:p>
            <a:pPr algn="ctr">
              <a:defRPr sz="7200">
                <a:solidFill>
                  <a:schemeClr val="accent2">
                    <a:lumOff val="10343"/>
                  </a:schemeClr>
                </a:solidFill>
              </a:defRPr>
            </a:pPr>
            <a:endParaRPr sz="3600"/>
          </a:p>
        </p:txBody>
      </p:sp>
      <p:sp>
        <p:nvSpPr>
          <p:cNvPr id="6" name="Rectangle 44">
            <a:extLst>
              <a:ext uri="{FF2B5EF4-FFF2-40B4-BE49-F238E27FC236}">
                <a16:creationId xmlns:a16="http://schemas.microsoft.com/office/drawing/2014/main" id="{F3ED3C2F-C0C3-69A6-F86C-28BD110E97C7}"/>
              </a:ext>
            </a:extLst>
          </p:cNvPr>
          <p:cNvSpPr/>
          <p:nvPr/>
        </p:nvSpPr>
        <p:spPr>
          <a:xfrm>
            <a:off x="5936608" y="1384816"/>
            <a:ext cx="2127539" cy="1692086"/>
          </a:xfrm>
          <a:prstGeom prst="rect">
            <a:avLst/>
          </a:prstGeom>
          <a:solidFill>
            <a:srgbClr val="FFFFFF"/>
          </a:solidFill>
          <a:ln w="12700">
            <a:miter lim="400000"/>
          </a:ln>
          <a:effectLst>
            <a:outerShdw blurRad="177800" dist="25400" dir="5400000" rotWithShape="0">
              <a:srgbClr val="A7A7A7">
                <a:alpha val="19463"/>
              </a:srgbClr>
            </a:outerShdw>
          </a:effectLst>
        </p:spPr>
        <p:txBody>
          <a:bodyPr lIns="22860" rIns="22860" anchor="ctr"/>
          <a:lstStyle/>
          <a:p>
            <a:pPr algn="ctr">
              <a:defRPr sz="7200">
                <a:solidFill>
                  <a:schemeClr val="accent2">
                    <a:lumOff val="10343"/>
                  </a:schemeClr>
                </a:solidFill>
              </a:defRPr>
            </a:pPr>
            <a:endParaRPr sz="3600"/>
          </a:p>
        </p:txBody>
      </p:sp>
      <p:sp>
        <p:nvSpPr>
          <p:cNvPr id="7" name="Rectangle 44">
            <a:extLst>
              <a:ext uri="{FF2B5EF4-FFF2-40B4-BE49-F238E27FC236}">
                <a16:creationId xmlns:a16="http://schemas.microsoft.com/office/drawing/2014/main" id="{309D6C2B-C2C7-99BC-A42B-7DAF95360809}"/>
              </a:ext>
            </a:extLst>
          </p:cNvPr>
          <p:cNvSpPr/>
          <p:nvPr/>
        </p:nvSpPr>
        <p:spPr>
          <a:xfrm>
            <a:off x="5936608" y="3661150"/>
            <a:ext cx="2127539" cy="1692086"/>
          </a:xfrm>
          <a:prstGeom prst="rect">
            <a:avLst/>
          </a:prstGeom>
          <a:solidFill>
            <a:srgbClr val="FFFFFF"/>
          </a:solidFill>
          <a:ln w="12700">
            <a:miter lim="400000"/>
          </a:ln>
          <a:effectLst>
            <a:outerShdw blurRad="177800" dist="25400" dir="5400000" rotWithShape="0">
              <a:srgbClr val="A7A7A7">
                <a:alpha val="19463"/>
              </a:srgbClr>
            </a:outerShdw>
          </a:effectLst>
        </p:spPr>
        <p:txBody>
          <a:bodyPr lIns="22860" rIns="22860" anchor="ctr"/>
          <a:lstStyle/>
          <a:p>
            <a:pPr algn="ctr">
              <a:defRPr sz="7200">
                <a:solidFill>
                  <a:schemeClr val="accent2">
                    <a:lumOff val="10343"/>
                  </a:schemeClr>
                </a:solidFill>
              </a:defRPr>
            </a:pPr>
            <a:endParaRPr sz="3600"/>
          </a:p>
        </p:txBody>
      </p:sp>
      <p:sp>
        <p:nvSpPr>
          <p:cNvPr id="29" name="‘Getting online’ has enabled many older adults to find renewed meaning in their lives through increased connection with others 40">
            <a:extLst>
              <a:ext uri="{FF2B5EF4-FFF2-40B4-BE49-F238E27FC236}">
                <a16:creationId xmlns:a16="http://schemas.microsoft.com/office/drawing/2014/main" id="{E9380B14-61B9-3299-E59B-8D215AC90F8C}"/>
              </a:ext>
            </a:extLst>
          </p:cNvPr>
          <p:cNvSpPr>
            <a:spLocks/>
          </p:cNvSpPr>
          <p:nvPr/>
        </p:nvSpPr>
        <p:spPr>
          <a:xfrm>
            <a:off x="6071845" y="1891351"/>
            <a:ext cx="1805677" cy="129143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p>
            <a:pPr algn="ctr">
              <a:lnSpc>
                <a:spcPct val="110000"/>
              </a:lnSpc>
              <a:defRPr sz="2300"/>
            </a:pPr>
            <a:r>
              <a:rPr lang="en-CA" sz="2000">
                <a:latin typeface="Scotia Headline" panose="020B0703020203020204" pitchFamily="34" charset="0"/>
                <a:ea typeface="Scotia Headline" panose="020B0703020203020204" pitchFamily="34" charset="0"/>
                <a:cs typeface="Scotia Bold"/>
                <a:sym typeface="Scotia Bold"/>
              </a:rPr>
              <a:t>VARIFICABLE</a:t>
            </a:r>
            <a:endParaRPr lang="en-CA" sz="2000" baseline="31999">
              <a:latin typeface="Scotia Headline" panose="020B0703020203020204" pitchFamily="34" charset="0"/>
              <a:ea typeface="Scotia Headline" panose="020B0703020203020204" pitchFamily="34" charset="0"/>
            </a:endParaRPr>
          </a:p>
        </p:txBody>
      </p:sp>
      <p:sp>
        <p:nvSpPr>
          <p:cNvPr id="30" name="Aging adults are often given devices in hopes that they will use the technology to ‘overcome the challenges of aging’ 40">
            <a:extLst>
              <a:ext uri="{FF2B5EF4-FFF2-40B4-BE49-F238E27FC236}">
                <a16:creationId xmlns:a16="http://schemas.microsoft.com/office/drawing/2014/main" id="{08A9F37F-2236-226F-D0B6-44262960C405}"/>
              </a:ext>
            </a:extLst>
          </p:cNvPr>
          <p:cNvSpPr>
            <a:spLocks/>
          </p:cNvSpPr>
          <p:nvPr/>
        </p:nvSpPr>
        <p:spPr>
          <a:xfrm>
            <a:off x="8401155" y="1889037"/>
            <a:ext cx="1805677" cy="129143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p>
            <a:pPr algn="ctr">
              <a:lnSpc>
                <a:spcPct val="110000"/>
              </a:lnSpc>
            </a:pPr>
            <a:r>
              <a:rPr lang="en-CA" sz="2000">
                <a:latin typeface="Scotia Headline" panose="020B0703020203020204" pitchFamily="34" charset="0"/>
                <a:ea typeface="Scotia Headline" panose="020B0703020203020204" pitchFamily="34" charset="0"/>
                <a:sym typeface="Scotia Bold"/>
              </a:rPr>
              <a:t>ATÓMICO</a:t>
            </a:r>
            <a:endParaRPr lang="en-CA" sz="2000">
              <a:latin typeface="Scotia Headline" panose="020B0703020203020204" pitchFamily="34" charset="0"/>
              <a:ea typeface="Scotia Headline" panose="020B0703020203020204" pitchFamily="34" charset="0"/>
            </a:endParaRPr>
          </a:p>
        </p:txBody>
      </p:sp>
      <p:sp>
        <p:nvSpPr>
          <p:cNvPr id="31" name="‘Getting online’ has enabled many older adults to find renewed meaning in their lives through increased connection with others 40">
            <a:extLst>
              <a:ext uri="{FF2B5EF4-FFF2-40B4-BE49-F238E27FC236}">
                <a16:creationId xmlns:a16="http://schemas.microsoft.com/office/drawing/2014/main" id="{2B3EA864-F702-892D-77C3-03C1D17F0930}"/>
              </a:ext>
            </a:extLst>
          </p:cNvPr>
          <p:cNvSpPr>
            <a:spLocks/>
          </p:cNvSpPr>
          <p:nvPr/>
        </p:nvSpPr>
        <p:spPr>
          <a:xfrm>
            <a:off x="6085707" y="4124923"/>
            <a:ext cx="1805677" cy="129143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p>
            <a:pPr algn="ctr">
              <a:lnSpc>
                <a:spcPct val="110000"/>
              </a:lnSpc>
            </a:pPr>
            <a:r>
              <a:rPr lang="en-CA" sz="2000">
                <a:latin typeface="Scotia Headline" panose="020B0703020203020204" pitchFamily="34" charset="0"/>
                <a:ea typeface="Scotia Headline" panose="020B0703020203020204" pitchFamily="34" charset="0"/>
                <a:sym typeface="Scotia Bold"/>
              </a:rPr>
              <a:t>ESPECIFICOS</a:t>
            </a:r>
            <a:endParaRPr lang="en-CA" sz="2000">
              <a:latin typeface="Scotia Headline" panose="020B0703020203020204" pitchFamily="34" charset="0"/>
              <a:ea typeface="Scotia Headline" panose="020B0703020203020204" pitchFamily="34" charset="0"/>
            </a:endParaRPr>
          </a:p>
        </p:txBody>
      </p:sp>
      <p:sp>
        <p:nvSpPr>
          <p:cNvPr id="32" name="Aging adults are often given devices in hopes that they will use the technology to ‘overcome the challenges of aging’ 40">
            <a:extLst>
              <a:ext uri="{FF2B5EF4-FFF2-40B4-BE49-F238E27FC236}">
                <a16:creationId xmlns:a16="http://schemas.microsoft.com/office/drawing/2014/main" id="{1AB64DB3-3258-222C-9BE2-22F67F3139A6}"/>
              </a:ext>
            </a:extLst>
          </p:cNvPr>
          <p:cNvSpPr>
            <a:spLocks/>
          </p:cNvSpPr>
          <p:nvPr/>
        </p:nvSpPr>
        <p:spPr>
          <a:xfrm>
            <a:off x="8384740" y="4124923"/>
            <a:ext cx="1805677" cy="129143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p>
            <a:pPr algn="ctr">
              <a:lnSpc>
                <a:spcPct val="110000"/>
              </a:lnSpc>
            </a:pPr>
            <a:r>
              <a:rPr lang="en-CA" sz="2000">
                <a:latin typeface="Scotia Headline" panose="020B0703020203020204" pitchFamily="34" charset="0"/>
                <a:ea typeface="Scotia Headline" panose="020B0703020203020204" pitchFamily="34" charset="0"/>
                <a:sym typeface="Scotia Bold"/>
              </a:rPr>
              <a:t>COMPLETO</a:t>
            </a:r>
            <a:endParaRPr lang="en-CA" sz="2000">
              <a:latin typeface="Scotia Headline" panose="020B0703020203020204" pitchFamily="34" charset="0"/>
              <a:ea typeface="Scotia Headline" panose="020B0703020203020204" pitchFamily="34" charset="0"/>
            </a:endParaRPr>
          </a:p>
        </p:txBody>
      </p:sp>
      <p:sp>
        <p:nvSpPr>
          <p:cNvPr id="33" name="Graphic 9">
            <a:extLst>
              <a:ext uri="{FF2B5EF4-FFF2-40B4-BE49-F238E27FC236}">
                <a16:creationId xmlns:a16="http://schemas.microsoft.com/office/drawing/2014/main" id="{8BC3B063-30C9-DD5F-2802-56CE9775BAB7}"/>
              </a:ext>
            </a:extLst>
          </p:cNvPr>
          <p:cNvSpPr/>
          <p:nvPr/>
        </p:nvSpPr>
        <p:spPr>
          <a:xfrm>
            <a:off x="8349562" y="1532312"/>
            <a:ext cx="412999" cy="419190"/>
          </a:xfrm>
          <a:custGeom>
            <a:avLst/>
            <a:gdLst>
              <a:gd name="connsiteX0" fmla="*/ 1003116 w 1003116"/>
              <a:gd name="connsiteY0" fmla="*/ 501558 h 1003115"/>
              <a:gd name="connsiteX1" fmla="*/ 501558 w 1003116"/>
              <a:gd name="connsiteY1" fmla="*/ 1003116 h 1003115"/>
              <a:gd name="connsiteX2" fmla="*/ 0 w 1003116"/>
              <a:gd name="connsiteY2" fmla="*/ 501558 h 1003115"/>
              <a:gd name="connsiteX3" fmla="*/ 501558 w 1003116"/>
              <a:gd name="connsiteY3" fmla="*/ 0 h 1003115"/>
              <a:gd name="connsiteX4" fmla="*/ 1003116 w 1003116"/>
              <a:gd name="connsiteY4" fmla="*/ 501558 h 1003115"/>
              <a:gd name="connsiteX5" fmla="*/ 442879 w 1003116"/>
              <a:gd name="connsiteY5" fmla="*/ 621205 h 1003115"/>
              <a:gd name="connsiteX6" fmla="*/ 320207 w 1003116"/>
              <a:gd name="connsiteY6" fmla="*/ 513116 h 1003115"/>
              <a:gd name="connsiteX7" fmla="*/ 261216 w 1003116"/>
              <a:gd name="connsiteY7" fmla="*/ 516843 h 1003115"/>
              <a:gd name="connsiteX8" fmla="*/ 264943 w 1003116"/>
              <a:gd name="connsiteY8" fmla="*/ 575836 h 1003115"/>
              <a:gd name="connsiteX9" fmla="*/ 419083 w 1003116"/>
              <a:gd name="connsiteY9" fmla="*/ 711651 h 1003115"/>
              <a:gd name="connsiteX10" fmla="*/ 478170 w 1003116"/>
              <a:gd name="connsiteY10" fmla="*/ 707817 h 1003115"/>
              <a:gd name="connsiteX11" fmla="*/ 744278 w 1003116"/>
              <a:gd name="connsiteY11" fmla="*/ 403692 h 1003115"/>
              <a:gd name="connsiteX12" fmla="*/ 740347 w 1003116"/>
              <a:gd name="connsiteY12" fmla="*/ 344715 h 1003115"/>
              <a:gd name="connsiteX13" fmla="*/ 681367 w 1003116"/>
              <a:gd name="connsiteY13" fmla="*/ 348646 h 1003115"/>
              <a:gd name="connsiteX14" fmla="*/ 442879 w 1003116"/>
              <a:gd name="connsiteY14" fmla="*/ 621205 h 100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3116" h="1003115">
                <a:moveTo>
                  <a:pt x="1003116" y="501558"/>
                </a:moveTo>
                <a:cubicBezTo>
                  <a:pt x="1003116" y="778556"/>
                  <a:pt x="778509" y="1003116"/>
                  <a:pt x="501558" y="1003116"/>
                </a:cubicBezTo>
                <a:cubicBezTo>
                  <a:pt x="224516" y="1003116"/>
                  <a:pt x="0" y="778556"/>
                  <a:pt x="0" y="501558"/>
                </a:cubicBezTo>
                <a:cubicBezTo>
                  <a:pt x="0" y="224516"/>
                  <a:pt x="224516" y="0"/>
                  <a:pt x="501558" y="0"/>
                </a:cubicBezTo>
                <a:cubicBezTo>
                  <a:pt x="778509" y="0"/>
                  <a:pt x="1003116" y="224516"/>
                  <a:pt x="1003116" y="501558"/>
                </a:cubicBezTo>
                <a:close/>
                <a:moveTo>
                  <a:pt x="442879" y="621205"/>
                </a:moveTo>
                <a:lnTo>
                  <a:pt x="320207" y="513116"/>
                </a:lnTo>
                <a:cubicBezTo>
                  <a:pt x="302888" y="497856"/>
                  <a:pt x="276477" y="499524"/>
                  <a:pt x="261216" y="516843"/>
                </a:cubicBezTo>
                <a:cubicBezTo>
                  <a:pt x="245955" y="534162"/>
                  <a:pt x="247624" y="560573"/>
                  <a:pt x="264943" y="575836"/>
                </a:cubicBezTo>
                <a:lnTo>
                  <a:pt x="419083" y="711651"/>
                </a:lnTo>
                <a:cubicBezTo>
                  <a:pt x="436443" y="726952"/>
                  <a:pt x="462932" y="725231"/>
                  <a:pt x="478170" y="707817"/>
                </a:cubicBezTo>
                <a:lnTo>
                  <a:pt x="744278" y="403692"/>
                </a:lnTo>
                <a:cubicBezTo>
                  <a:pt x="759478" y="386319"/>
                  <a:pt x="757719" y="359915"/>
                  <a:pt x="740347" y="344715"/>
                </a:cubicBezTo>
                <a:cubicBezTo>
                  <a:pt x="722974" y="329514"/>
                  <a:pt x="696567" y="331273"/>
                  <a:pt x="681367" y="348646"/>
                </a:cubicBezTo>
                <a:lnTo>
                  <a:pt x="442879" y="621205"/>
                </a:lnTo>
                <a:close/>
              </a:path>
            </a:pathLst>
          </a:custGeom>
          <a:solidFill>
            <a:srgbClr val="84D9C6"/>
          </a:solidFill>
          <a:ln w="31254" cap="flat">
            <a:noFill/>
            <a:prstDash val="solid"/>
            <a:miter/>
          </a:ln>
        </p:spPr>
        <p:txBody>
          <a:bodyPr rtlCol="0" anchor="ctr"/>
          <a:lstStyle/>
          <a:p>
            <a:pPr defTabSz="914355"/>
            <a:endParaRPr lang="en-US">
              <a:solidFill>
                <a:srgbClr val="333333"/>
              </a:solidFill>
              <a:latin typeface="Calibri" panose="020F0502020204030204"/>
            </a:endParaRPr>
          </a:p>
        </p:txBody>
      </p:sp>
      <p:pic>
        <p:nvPicPr>
          <p:cNvPr id="3" name="Picture 2">
            <a:extLst>
              <a:ext uri="{FF2B5EF4-FFF2-40B4-BE49-F238E27FC236}">
                <a16:creationId xmlns:a16="http://schemas.microsoft.com/office/drawing/2014/main" id="{D2E8484B-6201-ED2C-1ABF-47FBB017C5D9}"/>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3FF38764-377B-DAE1-3AEA-FCACA9FF1612}"/>
              </a:ext>
            </a:extLst>
          </p:cNvPr>
          <p:cNvPicPr>
            <a:picLocks noChangeAspect="1"/>
          </p:cNvPicPr>
          <p:nvPr/>
        </p:nvPicPr>
        <p:blipFill>
          <a:blip r:embed="rId4"/>
          <a:stretch>
            <a:fillRect/>
          </a:stretch>
        </p:blipFill>
        <p:spPr>
          <a:xfrm>
            <a:off x="6105160" y="3886422"/>
            <a:ext cx="363551" cy="359466"/>
          </a:xfrm>
          <a:prstGeom prst="rect">
            <a:avLst/>
          </a:prstGeom>
        </p:spPr>
      </p:pic>
      <p:grpSp>
        <p:nvGrpSpPr>
          <p:cNvPr id="34" name="Group 33">
            <a:extLst>
              <a:ext uri="{FF2B5EF4-FFF2-40B4-BE49-F238E27FC236}">
                <a16:creationId xmlns:a16="http://schemas.microsoft.com/office/drawing/2014/main" id="{21AE42D0-2B40-ABBD-BC3D-D64165DCB82A}"/>
              </a:ext>
            </a:extLst>
          </p:cNvPr>
          <p:cNvGrpSpPr/>
          <p:nvPr/>
        </p:nvGrpSpPr>
        <p:grpSpPr>
          <a:xfrm>
            <a:off x="5988201" y="1487163"/>
            <a:ext cx="563027" cy="464339"/>
            <a:chOff x="7405913" y="2783041"/>
            <a:chExt cx="1981935" cy="1746637"/>
          </a:xfrm>
        </p:grpSpPr>
        <p:pic>
          <p:nvPicPr>
            <p:cNvPr id="35" name="Graphic 34">
              <a:extLst>
                <a:ext uri="{FF2B5EF4-FFF2-40B4-BE49-F238E27FC236}">
                  <a16:creationId xmlns:a16="http://schemas.microsoft.com/office/drawing/2014/main" id="{873212A6-8F57-914A-E952-22BC5189ED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5913" y="2783041"/>
              <a:ext cx="1981935" cy="1746637"/>
            </a:xfrm>
            <a:prstGeom prst="rect">
              <a:avLst/>
            </a:prstGeom>
          </p:spPr>
        </p:pic>
        <p:grpSp>
          <p:nvGrpSpPr>
            <p:cNvPr id="36" name="Graphic 183">
              <a:extLst>
                <a:ext uri="{FF2B5EF4-FFF2-40B4-BE49-F238E27FC236}">
                  <a16:creationId xmlns:a16="http://schemas.microsoft.com/office/drawing/2014/main" id="{3A8CD5B8-2361-F3B3-298A-A5C837B3E556}"/>
                </a:ext>
              </a:extLst>
            </p:cNvPr>
            <p:cNvGrpSpPr/>
            <p:nvPr/>
          </p:nvGrpSpPr>
          <p:grpSpPr>
            <a:xfrm>
              <a:off x="8046714" y="3294858"/>
              <a:ext cx="354145" cy="354145"/>
              <a:chOff x="4748823" y="9691304"/>
              <a:chExt cx="1004400" cy="1004400"/>
            </a:xfrm>
          </p:grpSpPr>
          <p:sp>
            <p:nvSpPr>
              <p:cNvPr id="46" name="Freeform 187">
                <a:extLst>
                  <a:ext uri="{FF2B5EF4-FFF2-40B4-BE49-F238E27FC236}">
                    <a16:creationId xmlns:a16="http://schemas.microsoft.com/office/drawing/2014/main" id="{1A00F7A1-4E91-D643-084E-196BA9301C32}"/>
                  </a:ext>
                </a:extLst>
              </p:cNvPr>
              <p:cNvSpPr/>
              <p:nvPr/>
            </p:nvSpPr>
            <p:spPr>
              <a:xfrm>
                <a:off x="4748823" y="9691304"/>
                <a:ext cx="1004400" cy="1004400"/>
              </a:xfrm>
              <a:custGeom>
                <a:avLst/>
                <a:gdLst>
                  <a:gd name="connsiteX0" fmla="*/ 0 w 1004400"/>
                  <a:gd name="connsiteY0" fmla="*/ 0 h 1004400"/>
                  <a:gd name="connsiteX1" fmla="*/ 1004400 w 1004400"/>
                  <a:gd name="connsiteY1" fmla="*/ 0 h 1004400"/>
                  <a:gd name="connsiteX2" fmla="*/ 1004400 w 1004400"/>
                  <a:gd name="connsiteY2" fmla="*/ 1004400 h 1004400"/>
                  <a:gd name="connsiteX3" fmla="*/ 0 w 1004400"/>
                  <a:gd name="connsiteY3" fmla="*/ 1004400 h 1004400"/>
                </a:gdLst>
                <a:ahLst/>
                <a:cxnLst>
                  <a:cxn ang="0">
                    <a:pos x="connsiteX0" y="connsiteY0"/>
                  </a:cxn>
                  <a:cxn ang="0">
                    <a:pos x="connsiteX1" y="connsiteY1"/>
                  </a:cxn>
                  <a:cxn ang="0">
                    <a:pos x="connsiteX2" y="connsiteY2"/>
                  </a:cxn>
                  <a:cxn ang="0">
                    <a:pos x="connsiteX3" y="connsiteY3"/>
                  </a:cxn>
                </a:cxnLst>
                <a:rect l="l" t="t" r="r" b="b"/>
                <a:pathLst>
                  <a:path w="1004400" h="1004400">
                    <a:moveTo>
                      <a:pt x="0" y="0"/>
                    </a:moveTo>
                    <a:lnTo>
                      <a:pt x="1004400" y="0"/>
                    </a:lnTo>
                    <a:lnTo>
                      <a:pt x="1004400" y="1004400"/>
                    </a:lnTo>
                    <a:lnTo>
                      <a:pt x="0" y="1004400"/>
                    </a:lnTo>
                    <a:close/>
                  </a:path>
                </a:pathLst>
              </a:custGeom>
              <a:noFill/>
              <a:ln w="20836" cap="flat">
                <a:no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sp>
            <p:nvSpPr>
              <p:cNvPr id="47" name="Freeform 188">
                <a:extLst>
                  <a:ext uri="{FF2B5EF4-FFF2-40B4-BE49-F238E27FC236}">
                    <a16:creationId xmlns:a16="http://schemas.microsoft.com/office/drawing/2014/main" id="{E5D5A2E0-7DE6-5199-E079-B7AF5FD72E10}"/>
                  </a:ext>
                </a:extLst>
              </p:cNvPr>
              <p:cNvSpPr/>
              <p:nvPr/>
            </p:nvSpPr>
            <p:spPr>
              <a:xfrm rot="5160000">
                <a:off x="5078390" y="9937172"/>
                <a:ext cx="363197" cy="554512"/>
              </a:xfrm>
              <a:custGeom>
                <a:avLst/>
                <a:gdLst>
                  <a:gd name="connsiteX0" fmla="*/ 8689 w 363198"/>
                  <a:gd name="connsiteY0" fmla="*/ 6691 h 554512"/>
                  <a:gd name="connsiteX1" fmla="*/ 43607 w 363198"/>
                  <a:gd name="connsiteY1" fmla="*/ 6670 h 554512"/>
                  <a:gd name="connsiteX2" fmla="*/ 45624 w 363198"/>
                  <a:gd name="connsiteY2" fmla="*/ 8689 h 554512"/>
                  <a:gd name="connsiteX3" fmla="*/ 199967 w 363198"/>
                  <a:gd name="connsiteY3" fmla="*/ 180691 h 554512"/>
                  <a:gd name="connsiteX4" fmla="*/ 356199 w 363198"/>
                  <a:gd name="connsiteY4" fmla="*/ 348741 h 554512"/>
                  <a:gd name="connsiteX5" fmla="*/ 356634 w 363198"/>
                  <a:gd name="connsiteY5" fmla="*/ 383883 h 554512"/>
                  <a:gd name="connsiteX6" fmla="*/ 354611 w 363198"/>
                  <a:gd name="connsiteY6" fmla="*/ 385929 h 554512"/>
                  <a:gd name="connsiteX7" fmla="*/ 176114 w 363198"/>
                  <a:gd name="connsiteY7" fmla="*/ 547736 h 554512"/>
                  <a:gd name="connsiteX8" fmla="*/ 139167 w 363198"/>
                  <a:gd name="connsiteY8" fmla="*/ 545924 h 554512"/>
                  <a:gd name="connsiteX9" fmla="*/ 138970 w 363198"/>
                  <a:gd name="connsiteY9" fmla="*/ 511006 h 554512"/>
                  <a:gd name="connsiteX10" fmla="*/ 140979 w 363198"/>
                  <a:gd name="connsiteY10" fmla="*/ 508979 h 554512"/>
                  <a:gd name="connsiteX11" fmla="*/ 299836 w 363198"/>
                  <a:gd name="connsiteY11" fmla="*/ 364954 h 554512"/>
                  <a:gd name="connsiteX12" fmla="*/ 161343 w 363198"/>
                  <a:gd name="connsiteY12" fmla="*/ 215968 h 554512"/>
                  <a:gd name="connsiteX13" fmla="*/ 6691 w 363198"/>
                  <a:gd name="connsiteY13" fmla="*/ 43626 h 554512"/>
                  <a:gd name="connsiteX14" fmla="*/ 8689 w 363198"/>
                  <a:gd name="connsiteY14" fmla="*/ 6691 h 55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3198" h="554512">
                    <a:moveTo>
                      <a:pt x="8689" y="6691"/>
                    </a:moveTo>
                    <a:cubicBezTo>
                      <a:pt x="18723" y="-2315"/>
                      <a:pt x="33797" y="-2135"/>
                      <a:pt x="43607" y="6670"/>
                    </a:cubicBezTo>
                    <a:lnTo>
                      <a:pt x="45624" y="8689"/>
                    </a:lnTo>
                    <a:lnTo>
                      <a:pt x="199967" y="180691"/>
                    </a:lnTo>
                    <a:lnTo>
                      <a:pt x="356199" y="348741"/>
                    </a:lnTo>
                    <a:cubicBezTo>
                      <a:pt x="365463" y="358704"/>
                      <a:pt x="365456" y="373937"/>
                      <a:pt x="356634" y="383883"/>
                    </a:cubicBezTo>
                    <a:lnTo>
                      <a:pt x="354611" y="385929"/>
                    </a:lnTo>
                    <a:lnTo>
                      <a:pt x="176114" y="547736"/>
                    </a:lnTo>
                    <a:cubicBezTo>
                      <a:pt x="165411" y="557439"/>
                      <a:pt x="148870" y="556627"/>
                      <a:pt x="139167" y="545924"/>
                    </a:cubicBezTo>
                    <a:cubicBezTo>
                      <a:pt x="130113" y="535934"/>
                      <a:pt x="130215" y="520860"/>
                      <a:pt x="138970" y="511006"/>
                    </a:cubicBezTo>
                    <a:lnTo>
                      <a:pt x="140979" y="508979"/>
                    </a:lnTo>
                    <a:lnTo>
                      <a:pt x="299836" y="364954"/>
                    </a:lnTo>
                    <a:lnTo>
                      <a:pt x="161343" y="215968"/>
                    </a:lnTo>
                    <a:lnTo>
                      <a:pt x="6691" y="43626"/>
                    </a:lnTo>
                    <a:cubicBezTo>
                      <a:pt x="-2958" y="32874"/>
                      <a:pt x="-2064" y="16337"/>
                      <a:pt x="8689" y="6691"/>
                    </a:cubicBezTo>
                    <a:close/>
                  </a:path>
                </a:pathLst>
              </a:custGeom>
              <a:solidFill>
                <a:schemeClr val="tx1"/>
              </a:solidFill>
              <a:ln w="20836" cap="flat">
                <a:solidFill>
                  <a:schemeClr val="tx1"/>
                </a:solid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grpSp>
        <p:grpSp>
          <p:nvGrpSpPr>
            <p:cNvPr id="37" name="Graphic 1477">
              <a:extLst>
                <a:ext uri="{FF2B5EF4-FFF2-40B4-BE49-F238E27FC236}">
                  <a16:creationId xmlns:a16="http://schemas.microsoft.com/office/drawing/2014/main" id="{529C09F5-52F7-67CC-58D2-B777F97DA592}"/>
                </a:ext>
              </a:extLst>
            </p:cNvPr>
            <p:cNvGrpSpPr/>
            <p:nvPr/>
          </p:nvGrpSpPr>
          <p:grpSpPr>
            <a:xfrm>
              <a:off x="8527287" y="3406702"/>
              <a:ext cx="142194" cy="145213"/>
              <a:chOff x="5045101" y="10027733"/>
              <a:chExt cx="403281" cy="411842"/>
            </a:xfrm>
            <a:solidFill>
              <a:srgbClr val="FFFFFF"/>
            </a:solidFill>
          </p:grpSpPr>
          <p:sp>
            <p:nvSpPr>
              <p:cNvPr id="44" name="Freeform 185">
                <a:extLst>
                  <a:ext uri="{FF2B5EF4-FFF2-40B4-BE49-F238E27FC236}">
                    <a16:creationId xmlns:a16="http://schemas.microsoft.com/office/drawing/2014/main" id="{0DC8E63D-B7F9-0EC4-356D-E1F2D714A308}"/>
                  </a:ext>
                </a:extLst>
              </p:cNvPr>
              <p:cNvSpPr/>
              <p:nvPr/>
            </p:nvSpPr>
            <p:spPr>
              <a:xfrm>
                <a:off x="5045101" y="10027733"/>
                <a:ext cx="394721" cy="411842"/>
              </a:xfrm>
              <a:custGeom>
                <a:avLst/>
                <a:gdLst>
                  <a:gd name="connsiteX0" fmla="*/ 349641 w 394721"/>
                  <a:gd name="connsiteY0" fmla="*/ 8134 h 411842"/>
                  <a:gd name="connsiteX1" fmla="*/ 386619 w 394721"/>
                  <a:gd name="connsiteY1" fmla="*/ 7232 h 411842"/>
                  <a:gd name="connsiteX2" fmla="*/ 389375 w 394721"/>
                  <a:gd name="connsiteY2" fmla="*/ 42041 h 411842"/>
                  <a:gd name="connsiteX3" fmla="*/ 387521 w 394721"/>
                  <a:gd name="connsiteY3" fmla="*/ 44211 h 411842"/>
                  <a:gd name="connsiteX4" fmla="*/ 45112 w 394721"/>
                  <a:gd name="connsiteY4" fmla="*/ 403741 h 411842"/>
                  <a:gd name="connsiteX5" fmla="*/ 8133 w 394721"/>
                  <a:gd name="connsiteY5" fmla="*/ 404643 h 411842"/>
                  <a:gd name="connsiteX6" fmla="*/ 5376 w 394721"/>
                  <a:gd name="connsiteY6" fmla="*/ 369832 h 411842"/>
                  <a:gd name="connsiteX7" fmla="*/ 7231 w 394721"/>
                  <a:gd name="connsiteY7" fmla="*/ 367662 h 411842"/>
                  <a:gd name="connsiteX8" fmla="*/ 349641 w 394721"/>
                  <a:gd name="connsiteY8" fmla="*/ 8134 h 41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721" h="411842">
                    <a:moveTo>
                      <a:pt x="349641" y="8134"/>
                    </a:moveTo>
                    <a:cubicBezTo>
                      <a:pt x="359603" y="-2327"/>
                      <a:pt x="376159" y="-2731"/>
                      <a:pt x="386619" y="7232"/>
                    </a:cubicBezTo>
                    <a:cubicBezTo>
                      <a:pt x="396383" y="16530"/>
                      <a:pt x="397385" y="31572"/>
                      <a:pt x="389375" y="42041"/>
                    </a:cubicBezTo>
                    <a:lnTo>
                      <a:pt x="387521" y="44211"/>
                    </a:lnTo>
                    <a:lnTo>
                      <a:pt x="45112" y="403741"/>
                    </a:lnTo>
                    <a:cubicBezTo>
                      <a:pt x="35149" y="414202"/>
                      <a:pt x="18593" y="414605"/>
                      <a:pt x="8133" y="404643"/>
                    </a:cubicBezTo>
                    <a:cubicBezTo>
                      <a:pt x="-1631" y="395344"/>
                      <a:pt x="-2633" y="380301"/>
                      <a:pt x="5376" y="369832"/>
                    </a:cubicBezTo>
                    <a:lnTo>
                      <a:pt x="7231" y="367662"/>
                    </a:lnTo>
                    <a:lnTo>
                      <a:pt x="349641" y="8134"/>
                    </a:lnTo>
                    <a:close/>
                  </a:path>
                </a:pathLst>
              </a:custGeom>
              <a:solidFill>
                <a:schemeClr val="tx2"/>
              </a:solidFill>
              <a:ln w="20836" cap="flat">
                <a:solidFill>
                  <a:schemeClr val="accent1"/>
                </a:solid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sp>
            <p:nvSpPr>
              <p:cNvPr id="45" name="Freeform 186">
                <a:extLst>
                  <a:ext uri="{FF2B5EF4-FFF2-40B4-BE49-F238E27FC236}">
                    <a16:creationId xmlns:a16="http://schemas.microsoft.com/office/drawing/2014/main" id="{191F234B-A5CF-F2BD-E030-CF14FF7164F9}"/>
                  </a:ext>
                </a:extLst>
              </p:cNvPr>
              <p:cNvSpPr/>
              <p:nvPr/>
            </p:nvSpPr>
            <p:spPr>
              <a:xfrm rot="10800000" flipV="1">
                <a:off x="5053661" y="10027733"/>
                <a:ext cx="394721" cy="411842"/>
              </a:xfrm>
              <a:custGeom>
                <a:avLst/>
                <a:gdLst>
                  <a:gd name="connsiteX0" fmla="*/ 349639 w 394721"/>
                  <a:gd name="connsiteY0" fmla="*/ 8134 h 411842"/>
                  <a:gd name="connsiteX1" fmla="*/ 386619 w 394721"/>
                  <a:gd name="connsiteY1" fmla="*/ 7232 h 411842"/>
                  <a:gd name="connsiteX2" fmla="*/ 389375 w 394721"/>
                  <a:gd name="connsiteY2" fmla="*/ 42041 h 411842"/>
                  <a:gd name="connsiteX3" fmla="*/ 387521 w 394721"/>
                  <a:gd name="connsiteY3" fmla="*/ 44211 h 411842"/>
                  <a:gd name="connsiteX4" fmla="*/ 45112 w 394721"/>
                  <a:gd name="connsiteY4" fmla="*/ 403741 h 411842"/>
                  <a:gd name="connsiteX5" fmla="*/ 8133 w 394721"/>
                  <a:gd name="connsiteY5" fmla="*/ 404643 h 411842"/>
                  <a:gd name="connsiteX6" fmla="*/ 5376 w 394721"/>
                  <a:gd name="connsiteY6" fmla="*/ 369832 h 411842"/>
                  <a:gd name="connsiteX7" fmla="*/ 7231 w 394721"/>
                  <a:gd name="connsiteY7" fmla="*/ 367662 h 411842"/>
                  <a:gd name="connsiteX8" fmla="*/ 349639 w 394721"/>
                  <a:gd name="connsiteY8" fmla="*/ 8134 h 41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721" h="411842">
                    <a:moveTo>
                      <a:pt x="349639" y="8134"/>
                    </a:moveTo>
                    <a:cubicBezTo>
                      <a:pt x="359603" y="-2327"/>
                      <a:pt x="376159" y="-2731"/>
                      <a:pt x="386619" y="7232"/>
                    </a:cubicBezTo>
                    <a:cubicBezTo>
                      <a:pt x="396383" y="16530"/>
                      <a:pt x="397385" y="31572"/>
                      <a:pt x="389375" y="42041"/>
                    </a:cubicBezTo>
                    <a:lnTo>
                      <a:pt x="387521" y="44211"/>
                    </a:lnTo>
                    <a:lnTo>
                      <a:pt x="45112" y="403741"/>
                    </a:lnTo>
                    <a:cubicBezTo>
                      <a:pt x="35150" y="414202"/>
                      <a:pt x="18593" y="414605"/>
                      <a:pt x="8133" y="404643"/>
                    </a:cubicBezTo>
                    <a:cubicBezTo>
                      <a:pt x="-1631" y="395344"/>
                      <a:pt x="-2633" y="380301"/>
                      <a:pt x="5376" y="369832"/>
                    </a:cubicBezTo>
                    <a:lnTo>
                      <a:pt x="7231" y="367662"/>
                    </a:lnTo>
                    <a:lnTo>
                      <a:pt x="349639" y="8134"/>
                    </a:lnTo>
                    <a:close/>
                  </a:path>
                </a:pathLst>
              </a:custGeom>
              <a:solidFill>
                <a:schemeClr val="tx2"/>
              </a:solidFill>
              <a:ln w="20836" cap="flat">
                <a:solidFill>
                  <a:schemeClr val="accent1"/>
                </a:solid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grpSp>
        <p:grpSp>
          <p:nvGrpSpPr>
            <p:cNvPr id="38" name="Graphic 183">
              <a:extLst>
                <a:ext uri="{FF2B5EF4-FFF2-40B4-BE49-F238E27FC236}">
                  <a16:creationId xmlns:a16="http://schemas.microsoft.com/office/drawing/2014/main" id="{184D07DC-25A7-8F6C-88CD-061CB7B557CC}"/>
                </a:ext>
              </a:extLst>
            </p:cNvPr>
            <p:cNvGrpSpPr/>
            <p:nvPr/>
          </p:nvGrpSpPr>
          <p:grpSpPr>
            <a:xfrm>
              <a:off x="8046714" y="3559177"/>
              <a:ext cx="354145" cy="354145"/>
              <a:chOff x="4748823" y="9691304"/>
              <a:chExt cx="1004400" cy="1004400"/>
            </a:xfrm>
          </p:grpSpPr>
          <p:sp>
            <p:nvSpPr>
              <p:cNvPr id="42" name="Freeform 183">
                <a:extLst>
                  <a:ext uri="{FF2B5EF4-FFF2-40B4-BE49-F238E27FC236}">
                    <a16:creationId xmlns:a16="http://schemas.microsoft.com/office/drawing/2014/main" id="{9E393FB8-6A37-C009-9A2C-0EE2C5E5E6A3}"/>
                  </a:ext>
                </a:extLst>
              </p:cNvPr>
              <p:cNvSpPr/>
              <p:nvPr/>
            </p:nvSpPr>
            <p:spPr>
              <a:xfrm>
                <a:off x="4748823" y="9691304"/>
                <a:ext cx="1004400" cy="1004400"/>
              </a:xfrm>
              <a:custGeom>
                <a:avLst/>
                <a:gdLst>
                  <a:gd name="connsiteX0" fmla="*/ 0 w 1004400"/>
                  <a:gd name="connsiteY0" fmla="*/ 0 h 1004400"/>
                  <a:gd name="connsiteX1" fmla="*/ 1004400 w 1004400"/>
                  <a:gd name="connsiteY1" fmla="*/ 0 h 1004400"/>
                  <a:gd name="connsiteX2" fmla="*/ 1004400 w 1004400"/>
                  <a:gd name="connsiteY2" fmla="*/ 1004400 h 1004400"/>
                  <a:gd name="connsiteX3" fmla="*/ 0 w 1004400"/>
                  <a:gd name="connsiteY3" fmla="*/ 1004400 h 1004400"/>
                </a:gdLst>
                <a:ahLst/>
                <a:cxnLst>
                  <a:cxn ang="0">
                    <a:pos x="connsiteX0" y="connsiteY0"/>
                  </a:cxn>
                  <a:cxn ang="0">
                    <a:pos x="connsiteX1" y="connsiteY1"/>
                  </a:cxn>
                  <a:cxn ang="0">
                    <a:pos x="connsiteX2" y="connsiteY2"/>
                  </a:cxn>
                  <a:cxn ang="0">
                    <a:pos x="connsiteX3" y="connsiteY3"/>
                  </a:cxn>
                </a:cxnLst>
                <a:rect l="l" t="t" r="r" b="b"/>
                <a:pathLst>
                  <a:path w="1004400" h="1004400">
                    <a:moveTo>
                      <a:pt x="0" y="0"/>
                    </a:moveTo>
                    <a:lnTo>
                      <a:pt x="1004400" y="0"/>
                    </a:lnTo>
                    <a:lnTo>
                      <a:pt x="1004400" y="1004400"/>
                    </a:lnTo>
                    <a:lnTo>
                      <a:pt x="0" y="1004400"/>
                    </a:lnTo>
                    <a:close/>
                  </a:path>
                </a:pathLst>
              </a:custGeom>
              <a:noFill/>
              <a:ln w="20836" cap="flat">
                <a:no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sp>
            <p:nvSpPr>
              <p:cNvPr id="43" name="Freeform 184">
                <a:extLst>
                  <a:ext uri="{FF2B5EF4-FFF2-40B4-BE49-F238E27FC236}">
                    <a16:creationId xmlns:a16="http://schemas.microsoft.com/office/drawing/2014/main" id="{868FFD44-4DD1-1B40-BBC7-61AF8C81D788}"/>
                  </a:ext>
                </a:extLst>
              </p:cNvPr>
              <p:cNvSpPr/>
              <p:nvPr/>
            </p:nvSpPr>
            <p:spPr>
              <a:xfrm rot="5160000">
                <a:off x="5078390" y="9937172"/>
                <a:ext cx="363197" cy="554512"/>
              </a:xfrm>
              <a:custGeom>
                <a:avLst/>
                <a:gdLst>
                  <a:gd name="connsiteX0" fmla="*/ 8689 w 363198"/>
                  <a:gd name="connsiteY0" fmla="*/ 6691 h 554512"/>
                  <a:gd name="connsiteX1" fmla="*/ 43607 w 363198"/>
                  <a:gd name="connsiteY1" fmla="*/ 6670 h 554512"/>
                  <a:gd name="connsiteX2" fmla="*/ 45624 w 363198"/>
                  <a:gd name="connsiteY2" fmla="*/ 8689 h 554512"/>
                  <a:gd name="connsiteX3" fmla="*/ 199967 w 363198"/>
                  <a:gd name="connsiteY3" fmla="*/ 180691 h 554512"/>
                  <a:gd name="connsiteX4" fmla="*/ 356199 w 363198"/>
                  <a:gd name="connsiteY4" fmla="*/ 348741 h 554512"/>
                  <a:gd name="connsiteX5" fmla="*/ 356634 w 363198"/>
                  <a:gd name="connsiteY5" fmla="*/ 383883 h 554512"/>
                  <a:gd name="connsiteX6" fmla="*/ 354611 w 363198"/>
                  <a:gd name="connsiteY6" fmla="*/ 385929 h 554512"/>
                  <a:gd name="connsiteX7" fmla="*/ 176114 w 363198"/>
                  <a:gd name="connsiteY7" fmla="*/ 547736 h 554512"/>
                  <a:gd name="connsiteX8" fmla="*/ 139167 w 363198"/>
                  <a:gd name="connsiteY8" fmla="*/ 545924 h 554512"/>
                  <a:gd name="connsiteX9" fmla="*/ 138970 w 363198"/>
                  <a:gd name="connsiteY9" fmla="*/ 511006 h 554512"/>
                  <a:gd name="connsiteX10" fmla="*/ 140979 w 363198"/>
                  <a:gd name="connsiteY10" fmla="*/ 508979 h 554512"/>
                  <a:gd name="connsiteX11" fmla="*/ 299836 w 363198"/>
                  <a:gd name="connsiteY11" fmla="*/ 364954 h 554512"/>
                  <a:gd name="connsiteX12" fmla="*/ 161343 w 363198"/>
                  <a:gd name="connsiteY12" fmla="*/ 215968 h 554512"/>
                  <a:gd name="connsiteX13" fmla="*/ 6691 w 363198"/>
                  <a:gd name="connsiteY13" fmla="*/ 43626 h 554512"/>
                  <a:gd name="connsiteX14" fmla="*/ 8689 w 363198"/>
                  <a:gd name="connsiteY14" fmla="*/ 6691 h 55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3198" h="554512">
                    <a:moveTo>
                      <a:pt x="8689" y="6691"/>
                    </a:moveTo>
                    <a:cubicBezTo>
                      <a:pt x="18723" y="-2315"/>
                      <a:pt x="33797" y="-2135"/>
                      <a:pt x="43607" y="6670"/>
                    </a:cubicBezTo>
                    <a:lnTo>
                      <a:pt x="45624" y="8689"/>
                    </a:lnTo>
                    <a:lnTo>
                      <a:pt x="199967" y="180691"/>
                    </a:lnTo>
                    <a:lnTo>
                      <a:pt x="356199" y="348741"/>
                    </a:lnTo>
                    <a:cubicBezTo>
                      <a:pt x="365463" y="358704"/>
                      <a:pt x="365456" y="373937"/>
                      <a:pt x="356634" y="383883"/>
                    </a:cubicBezTo>
                    <a:lnTo>
                      <a:pt x="354611" y="385929"/>
                    </a:lnTo>
                    <a:lnTo>
                      <a:pt x="176114" y="547736"/>
                    </a:lnTo>
                    <a:cubicBezTo>
                      <a:pt x="165411" y="557439"/>
                      <a:pt x="148870" y="556627"/>
                      <a:pt x="139167" y="545924"/>
                    </a:cubicBezTo>
                    <a:cubicBezTo>
                      <a:pt x="130113" y="535934"/>
                      <a:pt x="130215" y="520860"/>
                      <a:pt x="138970" y="511006"/>
                    </a:cubicBezTo>
                    <a:lnTo>
                      <a:pt x="140979" y="508979"/>
                    </a:lnTo>
                    <a:lnTo>
                      <a:pt x="299836" y="364954"/>
                    </a:lnTo>
                    <a:lnTo>
                      <a:pt x="161343" y="215968"/>
                    </a:lnTo>
                    <a:lnTo>
                      <a:pt x="6691" y="43626"/>
                    </a:lnTo>
                    <a:cubicBezTo>
                      <a:pt x="-2958" y="32874"/>
                      <a:pt x="-2064" y="16337"/>
                      <a:pt x="8689" y="6691"/>
                    </a:cubicBezTo>
                    <a:close/>
                  </a:path>
                </a:pathLst>
              </a:custGeom>
              <a:solidFill>
                <a:schemeClr val="tx1"/>
              </a:solidFill>
              <a:ln w="20836" cap="flat">
                <a:solidFill>
                  <a:schemeClr val="tx1"/>
                </a:solid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grpSp>
        <p:grpSp>
          <p:nvGrpSpPr>
            <p:cNvPr id="39" name="Graphic 1477">
              <a:extLst>
                <a:ext uri="{FF2B5EF4-FFF2-40B4-BE49-F238E27FC236}">
                  <a16:creationId xmlns:a16="http://schemas.microsoft.com/office/drawing/2014/main" id="{7AFF16D4-60A3-367D-FC72-34C7DB87AC58}"/>
                </a:ext>
              </a:extLst>
            </p:cNvPr>
            <p:cNvGrpSpPr/>
            <p:nvPr/>
          </p:nvGrpSpPr>
          <p:grpSpPr>
            <a:xfrm>
              <a:off x="8527287" y="3671021"/>
              <a:ext cx="142194" cy="145213"/>
              <a:chOff x="5045101" y="10027733"/>
              <a:chExt cx="403281" cy="411842"/>
            </a:xfrm>
            <a:solidFill>
              <a:srgbClr val="FFFFFF"/>
            </a:solidFill>
          </p:grpSpPr>
          <p:sp>
            <p:nvSpPr>
              <p:cNvPr id="40" name="Freeform 181">
                <a:extLst>
                  <a:ext uri="{FF2B5EF4-FFF2-40B4-BE49-F238E27FC236}">
                    <a16:creationId xmlns:a16="http://schemas.microsoft.com/office/drawing/2014/main" id="{A030592D-1192-9201-3EFC-B69418513B47}"/>
                  </a:ext>
                </a:extLst>
              </p:cNvPr>
              <p:cNvSpPr/>
              <p:nvPr/>
            </p:nvSpPr>
            <p:spPr>
              <a:xfrm>
                <a:off x="5045101" y="10027733"/>
                <a:ext cx="394721" cy="411842"/>
              </a:xfrm>
              <a:custGeom>
                <a:avLst/>
                <a:gdLst>
                  <a:gd name="connsiteX0" fmla="*/ 349641 w 394721"/>
                  <a:gd name="connsiteY0" fmla="*/ 8134 h 411842"/>
                  <a:gd name="connsiteX1" fmla="*/ 386619 w 394721"/>
                  <a:gd name="connsiteY1" fmla="*/ 7232 h 411842"/>
                  <a:gd name="connsiteX2" fmla="*/ 389375 w 394721"/>
                  <a:gd name="connsiteY2" fmla="*/ 42041 h 411842"/>
                  <a:gd name="connsiteX3" fmla="*/ 387521 w 394721"/>
                  <a:gd name="connsiteY3" fmla="*/ 44211 h 411842"/>
                  <a:gd name="connsiteX4" fmla="*/ 45112 w 394721"/>
                  <a:gd name="connsiteY4" fmla="*/ 403741 h 411842"/>
                  <a:gd name="connsiteX5" fmla="*/ 8133 w 394721"/>
                  <a:gd name="connsiteY5" fmla="*/ 404643 h 411842"/>
                  <a:gd name="connsiteX6" fmla="*/ 5376 w 394721"/>
                  <a:gd name="connsiteY6" fmla="*/ 369832 h 411842"/>
                  <a:gd name="connsiteX7" fmla="*/ 7231 w 394721"/>
                  <a:gd name="connsiteY7" fmla="*/ 367662 h 411842"/>
                  <a:gd name="connsiteX8" fmla="*/ 349641 w 394721"/>
                  <a:gd name="connsiteY8" fmla="*/ 8134 h 41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721" h="411842">
                    <a:moveTo>
                      <a:pt x="349641" y="8134"/>
                    </a:moveTo>
                    <a:cubicBezTo>
                      <a:pt x="359603" y="-2327"/>
                      <a:pt x="376159" y="-2731"/>
                      <a:pt x="386619" y="7232"/>
                    </a:cubicBezTo>
                    <a:cubicBezTo>
                      <a:pt x="396383" y="16530"/>
                      <a:pt x="397385" y="31572"/>
                      <a:pt x="389375" y="42041"/>
                    </a:cubicBezTo>
                    <a:lnTo>
                      <a:pt x="387521" y="44211"/>
                    </a:lnTo>
                    <a:lnTo>
                      <a:pt x="45112" y="403741"/>
                    </a:lnTo>
                    <a:cubicBezTo>
                      <a:pt x="35149" y="414202"/>
                      <a:pt x="18593" y="414605"/>
                      <a:pt x="8133" y="404643"/>
                    </a:cubicBezTo>
                    <a:cubicBezTo>
                      <a:pt x="-1631" y="395344"/>
                      <a:pt x="-2633" y="380301"/>
                      <a:pt x="5376" y="369832"/>
                    </a:cubicBezTo>
                    <a:lnTo>
                      <a:pt x="7231" y="367662"/>
                    </a:lnTo>
                    <a:lnTo>
                      <a:pt x="349641" y="8134"/>
                    </a:lnTo>
                    <a:close/>
                  </a:path>
                </a:pathLst>
              </a:custGeom>
              <a:solidFill>
                <a:schemeClr val="tx2"/>
              </a:solidFill>
              <a:ln w="20836" cap="flat">
                <a:solidFill>
                  <a:schemeClr val="accent1"/>
                </a:solid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sp>
            <p:nvSpPr>
              <p:cNvPr id="41" name="Freeform 182">
                <a:extLst>
                  <a:ext uri="{FF2B5EF4-FFF2-40B4-BE49-F238E27FC236}">
                    <a16:creationId xmlns:a16="http://schemas.microsoft.com/office/drawing/2014/main" id="{285C2EED-5F51-372C-BE65-DE6484D9C446}"/>
                  </a:ext>
                </a:extLst>
              </p:cNvPr>
              <p:cNvSpPr/>
              <p:nvPr/>
            </p:nvSpPr>
            <p:spPr>
              <a:xfrm rot="10800000" flipV="1">
                <a:off x="5053661" y="10027733"/>
                <a:ext cx="394721" cy="411842"/>
              </a:xfrm>
              <a:custGeom>
                <a:avLst/>
                <a:gdLst>
                  <a:gd name="connsiteX0" fmla="*/ 349639 w 394721"/>
                  <a:gd name="connsiteY0" fmla="*/ 8134 h 411842"/>
                  <a:gd name="connsiteX1" fmla="*/ 386619 w 394721"/>
                  <a:gd name="connsiteY1" fmla="*/ 7232 h 411842"/>
                  <a:gd name="connsiteX2" fmla="*/ 389375 w 394721"/>
                  <a:gd name="connsiteY2" fmla="*/ 42041 h 411842"/>
                  <a:gd name="connsiteX3" fmla="*/ 387521 w 394721"/>
                  <a:gd name="connsiteY3" fmla="*/ 44211 h 411842"/>
                  <a:gd name="connsiteX4" fmla="*/ 45112 w 394721"/>
                  <a:gd name="connsiteY4" fmla="*/ 403741 h 411842"/>
                  <a:gd name="connsiteX5" fmla="*/ 8133 w 394721"/>
                  <a:gd name="connsiteY5" fmla="*/ 404643 h 411842"/>
                  <a:gd name="connsiteX6" fmla="*/ 5376 w 394721"/>
                  <a:gd name="connsiteY6" fmla="*/ 369832 h 411842"/>
                  <a:gd name="connsiteX7" fmla="*/ 7231 w 394721"/>
                  <a:gd name="connsiteY7" fmla="*/ 367662 h 411842"/>
                  <a:gd name="connsiteX8" fmla="*/ 349639 w 394721"/>
                  <a:gd name="connsiteY8" fmla="*/ 8134 h 41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721" h="411842">
                    <a:moveTo>
                      <a:pt x="349639" y="8134"/>
                    </a:moveTo>
                    <a:cubicBezTo>
                      <a:pt x="359603" y="-2327"/>
                      <a:pt x="376159" y="-2731"/>
                      <a:pt x="386619" y="7232"/>
                    </a:cubicBezTo>
                    <a:cubicBezTo>
                      <a:pt x="396383" y="16530"/>
                      <a:pt x="397385" y="31572"/>
                      <a:pt x="389375" y="42041"/>
                    </a:cubicBezTo>
                    <a:lnTo>
                      <a:pt x="387521" y="44211"/>
                    </a:lnTo>
                    <a:lnTo>
                      <a:pt x="45112" y="403741"/>
                    </a:lnTo>
                    <a:cubicBezTo>
                      <a:pt x="35150" y="414202"/>
                      <a:pt x="18593" y="414605"/>
                      <a:pt x="8133" y="404643"/>
                    </a:cubicBezTo>
                    <a:cubicBezTo>
                      <a:pt x="-1631" y="395344"/>
                      <a:pt x="-2633" y="380301"/>
                      <a:pt x="5376" y="369832"/>
                    </a:cubicBezTo>
                    <a:lnTo>
                      <a:pt x="7231" y="367662"/>
                    </a:lnTo>
                    <a:lnTo>
                      <a:pt x="349639" y="8134"/>
                    </a:lnTo>
                    <a:close/>
                  </a:path>
                </a:pathLst>
              </a:custGeom>
              <a:solidFill>
                <a:schemeClr val="tx2"/>
              </a:solidFill>
              <a:ln w="20836" cap="flat">
                <a:solidFill>
                  <a:schemeClr val="accent1"/>
                </a:solidFill>
                <a:prstDash val="solid"/>
                <a:miter/>
              </a:ln>
            </p:spPr>
            <p:txBody>
              <a:bodyPr rtlCol="0" anchor="ct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Calibri" panose="020F0502020204030204"/>
                  <a:ea typeface="+mn-ea"/>
                  <a:cs typeface="+mn-cs"/>
                </a:endParaRPr>
              </a:p>
            </p:txBody>
          </p:sp>
        </p:grpSp>
      </p:grpSp>
      <p:pic>
        <p:nvPicPr>
          <p:cNvPr id="49" name="Graphic 48">
            <a:extLst>
              <a:ext uri="{FF2B5EF4-FFF2-40B4-BE49-F238E27FC236}">
                <a16:creationId xmlns:a16="http://schemas.microsoft.com/office/drawing/2014/main" id="{7113D7C5-44ED-763A-CE77-8F7837042D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0067" y="3752616"/>
            <a:ext cx="838069" cy="569367"/>
          </a:xfrm>
          <a:prstGeom prst="rect">
            <a:avLst/>
          </a:prstGeom>
        </p:spPr>
      </p:pic>
      <p:sp>
        <p:nvSpPr>
          <p:cNvPr id="9" name="Oval 8">
            <a:extLst>
              <a:ext uri="{FF2B5EF4-FFF2-40B4-BE49-F238E27FC236}">
                <a16:creationId xmlns:a16="http://schemas.microsoft.com/office/drawing/2014/main" id="{3E819FA1-2574-D7DF-90D1-84FD6051D490}"/>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5873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C2764B13-C926-9242-A863-1142DDEE1FC0}"/>
              </a:ext>
            </a:extLst>
          </p:cNvPr>
          <p:cNvSpPr txBox="1"/>
          <p:nvPr/>
        </p:nvSpPr>
        <p:spPr>
          <a:xfrm>
            <a:off x="363495" y="1022408"/>
            <a:ext cx="3461665" cy="369331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s-ES" sz="4000" b="1">
                <a:solidFill>
                  <a:schemeClr val="bg2"/>
                </a:solidFill>
                <a:latin typeface="Scotia Headline" panose="020B0503020203020204" pitchFamily="34" charset="0"/>
              </a:rPr>
              <a:t>Ejemplo de una Historia de Usuario con criterios de aceptación</a:t>
            </a:r>
            <a:endParaRPr lang="en-US" sz="4000" b="1">
              <a:solidFill>
                <a:schemeClr val="bg2"/>
              </a:solidFill>
              <a:latin typeface="Scotia Headline" panose="020B0503020203020204" pitchFamily="34" charset="0"/>
            </a:endParaRPr>
          </a:p>
        </p:txBody>
      </p:sp>
      <p:sp>
        <p:nvSpPr>
          <p:cNvPr id="3" name="TextBox 8">
            <a:extLst>
              <a:ext uri="{FF2B5EF4-FFF2-40B4-BE49-F238E27FC236}">
                <a16:creationId xmlns:a16="http://schemas.microsoft.com/office/drawing/2014/main" id="{CD4282B3-F9D6-D64A-B428-017CEE9E1820}"/>
              </a:ext>
            </a:extLst>
          </p:cNvPr>
          <p:cNvSpPr txBox="1"/>
          <p:nvPr/>
        </p:nvSpPr>
        <p:spPr>
          <a:xfrm>
            <a:off x="4270904" y="843677"/>
            <a:ext cx="7557601" cy="443198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p>
            <a:pPr algn="just">
              <a:defRPr sz="3000">
                <a:solidFill>
                  <a:srgbClr val="FFFFFF"/>
                </a:solidFill>
                <a:latin typeface="Gilroy ExtraBold"/>
                <a:ea typeface="Gilroy ExtraBold"/>
                <a:cs typeface="Gilroy ExtraBold"/>
                <a:sym typeface="Gilroy ExtraBold"/>
              </a:defRPr>
            </a:pPr>
            <a:r>
              <a:rPr lang="es-ES" sz="1600" b="1">
                <a:solidFill>
                  <a:schemeClr val="bg1">
                    <a:lumMod val="50000"/>
                  </a:schemeClr>
                </a:solidFill>
                <a:latin typeface="Scotia Regular"/>
              </a:rPr>
              <a:t>Título: Reporte de vacaciones.</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600">
              <a:solidFill>
                <a:schemeClr val="bg1">
                  <a:lumMod val="50000"/>
                </a:schemeClr>
              </a:solidFill>
              <a:latin typeface="Scotia Regular" panose="020B0503020203020204" pitchFamily="34" charset="0"/>
            </a:endParaRPr>
          </a:p>
          <a:p>
            <a:pPr algn="just">
              <a:defRPr sz="3000">
                <a:solidFill>
                  <a:srgbClr val="FFFFFF"/>
                </a:solidFill>
                <a:latin typeface="Gilroy ExtraBold"/>
                <a:ea typeface="Gilroy ExtraBold"/>
                <a:cs typeface="Gilroy ExtraBold"/>
                <a:sym typeface="Gilroy ExtraBold"/>
              </a:defRPr>
            </a:pPr>
            <a:r>
              <a:rPr lang="es-ES" sz="1600">
                <a:solidFill>
                  <a:schemeClr val="bg1">
                    <a:lumMod val="50000"/>
                  </a:schemeClr>
                </a:solidFill>
                <a:latin typeface="Scotia Regular"/>
              </a:rPr>
              <a:t>Como Usuario de Recursos Humanos, quiero un reporte de los días de vacaciones por empleado, para saber las fechas que estarán disponibles los empleados en el año.</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600" b="1">
              <a:solidFill>
                <a:schemeClr val="bg1">
                  <a:lumMod val="50000"/>
                </a:schemeClr>
              </a:solidFill>
              <a:latin typeface="Scotia Regular" panose="020B0503020203020204" pitchFamily="34" charset="0"/>
            </a:endParaRPr>
          </a:p>
          <a:p>
            <a:pPr algn="just">
              <a:defRPr sz="3000">
                <a:solidFill>
                  <a:srgbClr val="FFFFFF"/>
                </a:solidFill>
                <a:latin typeface="Gilroy ExtraBold"/>
                <a:ea typeface="Gilroy ExtraBold"/>
                <a:cs typeface="Gilroy ExtraBold"/>
                <a:sym typeface="Gilroy ExtraBold"/>
              </a:defRPr>
            </a:pPr>
            <a:r>
              <a:rPr lang="es-ES" sz="1600" b="1">
                <a:solidFill>
                  <a:schemeClr val="bg1">
                    <a:lumMod val="50000"/>
                  </a:schemeClr>
                </a:solidFill>
                <a:latin typeface="Scotia Regular"/>
              </a:rPr>
              <a:t>Criterios BÁSICOS de Aceptación:</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600" b="1">
              <a:solidFill>
                <a:schemeClr val="bg1">
                  <a:lumMod val="50000"/>
                </a:schemeClr>
              </a:solidFill>
              <a:latin typeface="Scotia Regular" panose="020B0503020203020204" pitchFamily="34" charset="0"/>
            </a:endParaRP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r>
              <a:rPr lang="es-ES" sz="1600">
                <a:solidFill>
                  <a:schemeClr val="bg1">
                    <a:lumMod val="50000"/>
                  </a:schemeClr>
                </a:solidFill>
                <a:latin typeface="Scotia Regular"/>
              </a:rPr>
              <a:t>La información del informe debe exportarse a Excel.</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600">
              <a:solidFill>
                <a:schemeClr val="bg1">
                  <a:lumMod val="50000"/>
                </a:schemeClr>
              </a:solidFill>
              <a:latin typeface="Scotia Regular" panose="020B0503020203020204" pitchFamily="34" charset="0"/>
            </a:endParaRP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r>
              <a:rPr lang="es-ES" sz="1600">
                <a:solidFill>
                  <a:schemeClr val="bg1">
                    <a:lumMod val="50000"/>
                  </a:schemeClr>
                </a:solidFill>
                <a:latin typeface="Scotia Regular"/>
              </a:rPr>
              <a:t>El informe se emite por rango de fechas.</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600">
              <a:solidFill>
                <a:schemeClr val="bg1">
                  <a:lumMod val="50000"/>
                </a:schemeClr>
              </a:solidFill>
              <a:latin typeface="Scotia Regular" panose="020B0503020203020204" pitchFamily="34" charset="0"/>
            </a:endParaRP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r>
              <a:rPr lang="es-ES" sz="1600">
                <a:solidFill>
                  <a:schemeClr val="bg1">
                    <a:lumMod val="50000"/>
                  </a:schemeClr>
                </a:solidFill>
                <a:latin typeface="Scotia Regular"/>
              </a:rPr>
              <a:t>El Empleado está claramente identificado.</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600">
              <a:solidFill>
                <a:schemeClr val="bg1">
                  <a:lumMod val="50000"/>
                </a:schemeClr>
              </a:solidFill>
              <a:latin typeface="Scotia Regular" panose="020B0503020203020204" pitchFamily="34" charset="0"/>
            </a:endParaRP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r>
              <a:rPr lang="es-ES" sz="1600">
                <a:solidFill>
                  <a:schemeClr val="bg1">
                    <a:lumMod val="50000"/>
                  </a:schemeClr>
                </a:solidFill>
                <a:latin typeface="Scotia Regular"/>
              </a:rPr>
              <a:t>Se pueden observar gráficamente los días que va a tomar el Empleado mes a mes.</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600">
              <a:solidFill>
                <a:schemeClr val="bg1">
                  <a:lumMod val="50000"/>
                </a:schemeClr>
              </a:solidFill>
              <a:latin typeface="Scotia Regular" panose="020B0503020203020204" pitchFamily="34" charset="0"/>
            </a:endParaRP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r>
              <a:rPr lang="es-ES" sz="1600">
                <a:solidFill>
                  <a:schemeClr val="bg1">
                    <a:lumMod val="50000"/>
                  </a:schemeClr>
                </a:solidFill>
                <a:latin typeface="Scotia Regular"/>
              </a:rPr>
              <a:t>El informe debe poder ser visto únicamente por el responsable del área.</a:t>
            </a: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endParaRPr lang="es-ES" sz="1600">
              <a:solidFill>
                <a:schemeClr val="bg1">
                  <a:lumMod val="50000"/>
                </a:schemeClr>
              </a:solidFill>
              <a:latin typeface="Scotia Regular" panose="020B0503020203020204" pitchFamily="34" charset="0"/>
            </a:endParaRPr>
          </a:p>
          <a:p>
            <a:pPr marL="457200" indent="-457200" algn="just">
              <a:buFont typeface="+mj-lt"/>
              <a:buAutoNum type="arabicPeriod"/>
              <a:defRPr sz="3000">
                <a:solidFill>
                  <a:srgbClr val="FFFFFF"/>
                </a:solidFill>
                <a:latin typeface="Gilroy ExtraBold"/>
                <a:ea typeface="Gilroy ExtraBold"/>
                <a:cs typeface="Gilroy ExtraBold"/>
                <a:sym typeface="Gilroy ExtraBold"/>
              </a:defRPr>
            </a:pPr>
            <a:r>
              <a:rPr lang="es-ES" sz="1600">
                <a:solidFill>
                  <a:schemeClr val="bg1">
                    <a:lumMod val="50000"/>
                  </a:schemeClr>
                </a:solidFill>
                <a:latin typeface="Scotia Regular"/>
              </a:rPr>
              <a:t>El informe debe generarse en un máximo de 5 segundos.</a:t>
            </a:r>
            <a:endParaRPr lang="es-MX" sz="1600">
              <a:solidFill>
                <a:schemeClr val="bg1">
                  <a:lumMod val="50000"/>
                </a:schemeClr>
              </a:solidFill>
              <a:latin typeface="Scotia Regular"/>
            </a:endParaRPr>
          </a:p>
        </p:txBody>
      </p:sp>
      <p:pic>
        <p:nvPicPr>
          <p:cNvPr id="4" name="Picture 2">
            <a:extLst>
              <a:ext uri="{FF2B5EF4-FFF2-40B4-BE49-F238E27FC236}">
                <a16:creationId xmlns:a16="http://schemas.microsoft.com/office/drawing/2014/main" id="{99F9CD7E-3793-880A-1C54-BAB9BE42EF39}"/>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C2A517A3-5DAE-1465-ED26-E93F0ADCDA62}"/>
              </a:ext>
            </a:extLst>
          </p:cNvPr>
          <p:cNvSpPr/>
          <p:nvPr/>
        </p:nvSpPr>
        <p:spPr>
          <a:xfrm>
            <a:off x="11068933" y="6587825"/>
            <a:ext cx="161925" cy="149735"/>
          </a:xfrm>
          <a:prstGeom prst="ellipse">
            <a:avLst/>
          </a:prstGeom>
          <a:solidFill>
            <a:schemeClr val="accent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1066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chemeClr val="accent5"/>
        </a:solid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C2764B13-C926-9242-A863-1142DDEE1FC0}"/>
              </a:ext>
            </a:extLst>
          </p:cNvPr>
          <p:cNvSpPr txBox="1"/>
          <p:nvPr/>
        </p:nvSpPr>
        <p:spPr>
          <a:xfrm>
            <a:off x="363495" y="1022408"/>
            <a:ext cx="3461665" cy="369331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s-CO" sz="4000" b="1">
                <a:solidFill>
                  <a:schemeClr val="bg2"/>
                </a:solidFill>
                <a:latin typeface="Scotia Headline" panose="020B0503020203020204" pitchFamily="34" charset="0"/>
              </a:rPr>
              <a:t>Ejemplo de una Historia de Usuario con Criterios de Aceptación. </a:t>
            </a:r>
            <a:endParaRPr lang="en-US" sz="4000" b="1">
              <a:solidFill>
                <a:schemeClr val="bg2"/>
              </a:solidFill>
              <a:latin typeface="Scotia Headline" panose="020B0503020203020204" pitchFamily="34" charset="0"/>
            </a:endParaRPr>
          </a:p>
        </p:txBody>
      </p:sp>
      <p:sp>
        <p:nvSpPr>
          <p:cNvPr id="3" name="TextBox 8">
            <a:extLst>
              <a:ext uri="{FF2B5EF4-FFF2-40B4-BE49-F238E27FC236}">
                <a16:creationId xmlns:a16="http://schemas.microsoft.com/office/drawing/2014/main" id="{CD4282B3-F9D6-D64A-B428-017CEE9E1820}"/>
              </a:ext>
            </a:extLst>
          </p:cNvPr>
          <p:cNvSpPr txBox="1"/>
          <p:nvPr/>
        </p:nvSpPr>
        <p:spPr>
          <a:xfrm>
            <a:off x="4242329" y="837742"/>
            <a:ext cx="7654396" cy="323165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p>
            <a:pPr algn="just">
              <a:defRPr sz="3000">
                <a:solidFill>
                  <a:srgbClr val="FFFFFF"/>
                </a:solidFill>
                <a:latin typeface="Gilroy ExtraBold"/>
                <a:ea typeface="Gilroy ExtraBold"/>
                <a:cs typeface="Gilroy ExtraBold"/>
                <a:sym typeface="Gilroy ExtraBold"/>
              </a:defRPr>
            </a:pPr>
            <a:r>
              <a:rPr lang="es-ES" sz="1400" b="1">
                <a:solidFill>
                  <a:schemeClr val="bg1">
                    <a:lumMod val="50000"/>
                  </a:schemeClr>
                </a:solidFill>
                <a:latin typeface="Scotia Regular" panose="020B0503020203020204" pitchFamily="34" charset="0"/>
              </a:rPr>
              <a:t>La </a:t>
            </a:r>
            <a:r>
              <a:rPr lang="es-ES" sz="1400" b="1">
                <a:solidFill>
                  <a:schemeClr val="accent5"/>
                </a:solidFill>
                <a:latin typeface="Scotia Regular" panose="020B0503020203020204" pitchFamily="34" charset="0"/>
              </a:rPr>
              <a:t>plantilla</a:t>
            </a:r>
            <a:r>
              <a:rPr lang="es-ES" sz="1400" b="1">
                <a:solidFill>
                  <a:schemeClr val="bg1">
                    <a:lumMod val="50000"/>
                  </a:schemeClr>
                </a:solidFill>
                <a:latin typeface="Scotia Regular" panose="020B0503020203020204" pitchFamily="34" charset="0"/>
              </a:rPr>
              <a:t> que más se recomienda utilizar para la definición de Criterios de Aceptación respeta la siguiente estructura básica:</a:t>
            </a:r>
          </a:p>
          <a:p>
            <a:pPr algn="just">
              <a:defRPr sz="3000">
                <a:solidFill>
                  <a:srgbClr val="FFFFFF"/>
                </a:solidFill>
                <a:latin typeface="Gilroy ExtraBold"/>
                <a:ea typeface="Gilroy ExtraBold"/>
                <a:cs typeface="Gilroy ExtraBold"/>
                <a:sym typeface="Gilroy ExtraBold"/>
              </a:defRPr>
            </a:pPr>
            <a:endParaRPr lang="es-MX" sz="1400" b="1">
              <a:solidFill>
                <a:schemeClr val="bg1">
                  <a:lumMod val="50000"/>
                </a:schemeClr>
              </a:solidFill>
              <a:latin typeface="Scotia Regular" panose="020B0503020203020204" pitchFamily="34" charset="0"/>
            </a:endParaRPr>
          </a:p>
          <a:p>
            <a:pPr algn="just">
              <a:defRPr sz="3000">
                <a:solidFill>
                  <a:srgbClr val="FFFFFF"/>
                </a:solidFill>
                <a:latin typeface="Gilroy ExtraBold"/>
                <a:ea typeface="Gilroy ExtraBold"/>
                <a:cs typeface="Gilroy ExtraBold"/>
                <a:sym typeface="Gilroy ExtraBold"/>
              </a:defRPr>
            </a:pPr>
            <a:r>
              <a:rPr lang="en-CA" sz="1400" b="1" err="1">
                <a:solidFill>
                  <a:schemeClr val="bg1">
                    <a:lumMod val="50000"/>
                  </a:schemeClr>
                </a:solidFill>
                <a:latin typeface="Scotia Regular" panose="020B0503020203020204" pitchFamily="34" charset="0"/>
              </a:rPr>
              <a:t>Escenario</a:t>
            </a:r>
            <a:r>
              <a:rPr lang="es-MX" sz="1400" b="1">
                <a:solidFill>
                  <a:schemeClr val="bg1">
                    <a:lumMod val="50000"/>
                  </a:schemeClr>
                </a:solidFill>
                <a:latin typeface="Scotia Regular" panose="020B0503020203020204" pitchFamily="34" charset="0"/>
              </a:rPr>
              <a:t> # 1:</a:t>
            </a:r>
          </a:p>
          <a:p>
            <a:pPr marL="914400" lvl="1" indent="-457200" algn="just">
              <a:buFont typeface="+mj-lt"/>
              <a:buAutoNum type="arabicPeriod"/>
              <a:defRPr sz="3000">
                <a:solidFill>
                  <a:srgbClr val="FFFFFF"/>
                </a:solidFill>
                <a:latin typeface="Gilroy ExtraBold"/>
                <a:ea typeface="Gilroy ExtraBold"/>
                <a:cs typeface="Gilroy ExtraBold"/>
                <a:sym typeface="Gilroy ExtraBold"/>
              </a:defRPr>
            </a:pPr>
            <a:r>
              <a:rPr lang="en-CA" sz="1400" b="1">
                <a:solidFill>
                  <a:srgbClr val="00B0F0"/>
                </a:solidFill>
                <a:latin typeface="Scotia Regular" panose="020B0503020203020204" pitchFamily="34" charset="0"/>
              </a:rPr>
              <a:t>GIVEN/DADO </a:t>
            </a:r>
            <a:r>
              <a:rPr lang="en-CA" sz="1400" b="1">
                <a:solidFill>
                  <a:schemeClr val="bg1">
                    <a:lumMod val="50000"/>
                  </a:schemeClr>
                </a:solidFill>
                <a:latin typeface="Scotia Regular" panose="020B0503020203020204" pitchFamily="34" charset="0"/>
              </a:rPr>
              <a:t>&lt;</a:t>
            </a:r>
            <a:r>
              <a:rPr lang="es-ES" sz="1400" b="1">
                <a:solidFill>
                  <a:schemeClr val="bg1">
                    <a:lumMod val="50000"/>
                  </a:schemeClr>
                </a:solidFill>
                <a:latin typeface="Scotia Regular" panose="020B0503020203020204" pitchFamily="34" charset="0"/>
              </a:rPr>
              <a:t>PARAMETROS ANTES DEL INICIO DE LA ACCIÓN&gt; (Y/O)</a:t>
            </a:r>
          </a:p>
          <a:p>
            <a:pPr marL="914400" lvl="1" indent="-457200" algn="just">
              <a:buFont typeface="+mj-lt"/>
              <a:buAutoNum type="arabicPeriod"/>
              <a:defRPr sz="3000">
                <a:solidFill>
                  <a:srgbClr val="FFFFFF"/>
                </a:solidFill>
                <a:latin typeface="Gilroy ExtraBold"/>
                <a:ea typeface="Gilroy ExtraBold"/>
                <a:cs typeface="Gilroy ExtraBold"/>
                <a:sym typeface="Gilroy ExtraBold"/>
              </a:defRPr>
            </a:pPr>
            <a:r>
              <a:rPr lang="en-CA" sz="1400" b="1">
                <a:solidFill>
                  <a:srgbClr val="00B0F0"/>
                </a:solidFill>
                <a:latin typeface="Scotia Regular" panose="020B0503020203020204" pitchFamily="34" charset="0"/>
              </a:rPr>
              <a:t>WHEN /CUANDO</a:t>
            </a:r>
            <a:r>
              <a:rPr lang="es-ES" sz="1400" b="1">
                <a:solidFill>
                  <a:schemeClr val="bg1">
                    <a:lumMod val="50000"/>
                  </a:schemeClr>
                </a:solidFill>
                <a:latin typeface="Scotia Regular" panose="020B0503020203020204" pitchFamily="34" charset="0"/>
              </a:rPr>
              <a:t>&lt;ACCIÓN ACTIVADA POR EL USUARIO&gt;</a:t>
            </a:r>
          </a:p>
          <a:p>
            <a:pPr marL="914400" lvl="1" indent="-457200" algn="just">
              <a:buFont typeface="+mj-lt"/>
              <a:buAutoNum type="arabicPeriod"/>
              <a:defRPr sz="3000">
                <a:solidFill>
                  <a:srgbClr val="FFFFFF"/>
                </a:solidFill>
                <a:latin typeface="Gilroy ExtraBold"/>
                <a:ea typeface="Gilroy ExtraBold"/>
                <a:cs typeface="Gilroy ExtraBold"/>
                <a:sym typeface="Gilroy ExtraBold"/>
              </a:defRPr>
            </a:pPr>
            <a:r>
              <a:rPr lang="en-CA" sz="1400" b="1">
                <a:solidFill>
                  <a:srgbClr val="00B0F0"/>
                </a:solidFill>
                <a:latin typeface="Scotia Regular" panose="020B0503020203020204" pitchFamily="34" charset="0"/>
              </a:rPr>
              <a:t>THEN/ENTONCES </a:t>
            </a:r>
            <a:r>
              <a:rPr lang="es-ES" sz="1400" b="1">
                <a:solidFill>
                  <a:schemeClr val="bg1">
                    <a:lumMod val="50000"/>
                  </a:schemeClr>
                </a:solidFill>
                <a:latin typeface="Scotia Regular" panose="020B0503020203020204" pitchFamily="34" charset="0"/>
              </a:rPr>
              <a:t>&lt;RESPUESTA ENTREGADA POR EL SISTEMA&gt; (Y/O)</a:t>
            </a:r>
            <a:endParaRPr lang="en-CA" sz="1400" b="1">
              <a:solidFill>
                <a:schemeClr val="bg1">
                  <a:lumMod val="50000"/>
                </a:schemeClr>
              </a:solidFill>
              <a:latin typeface="Scotia Regular" panose="020B0503020203020204" pitchFamily="34" charset="0"/>
            </a:endParaRPr>
          </a:p>
          <a:p>
            <a:pPr lvl="1" algn="just">
              <a:defRPr sz="3000">
                <a:solidFill>
                  <a:srgbClr val="FFFFFF"/>
                </a:solidFill>
                <a:latin typeface="Gilroy ExtraBold"/>
                <a:ea typeface="Gilroy ExtraBold"/>
                <a:cs typeface="Gilroy ExtraBold"/>
                <a:sym typeface="Gilroy ExtraBold"/>
              </a:defRPr>
            </a:pPr>
            <a:endParaRPr lang="en-CA" sz="1400" b="1">
              <a:solidFill>
                <a:schemeClr val="bg1">
                  <a:lumMod val="50000"/>
                </a:schemeClr>
              </a:solidFill>
              <a:latin typeface="Scotia Regular" panose="020B0503020203020204" pitchFamily="34" charset="0"/>
            </a:endParaRPr>
          </a:p>
          <a:p>
            <a:pPr lvl="1" algn="just">
              <a:defRPr sz="3000">
                <a:solidFill>
                  <a:srgbClr val="FFFFFF"/>
                </a:solidFill>
                <a:latin typeface="Gilroy ExtraBold"/>
                <a:ea typeface="Gilroy ExtraBold"/>
                <a:cs typeface="Gilroy ExtraBold"/>
                <a:sym typeface="Gilroy ExtraBold"/>
              </a:defRPr>
            </a:pPr>
            <a:r>
              <a:rPr lang="en-CA" sz="1400" b="1">
                <a:solidFill>
                  <a:schemeClr val="bg1">
                    <a:lumMod val="50000"/>
                  </a:schemeClr>
                </a:solidFill>
                <a:latin typeface="Scotia Regular" panose="020B0503020203020204" pitchFamily="34" charset="0"/>
              </a:rPr>
              <a:t>Example:</a:t>
            </a:r>
          </a:p>
          <a:p>
            <a:pPr lvl="1" algn="just">
              <a:defRPr sz="3000">
                <a:solidFill>
                  <a:srgbClr val="FFFFFF"/>
                </a:solidFill>
                <a:latin typeface="Gilroy ExtraBold"/>
                <a:ea typeface="Gilroy ExtraBold"/>
                <a:cs typeface="Gilroy ExtraBold"/>
                <a:sym typeface="Gilroy ExtraBold"/>
              </a:defRPr>
            </a:pPr>
            <a:r>
              <a:rPr lang="en-CA" sz="1400" b="1">
                <a:solidFill>
                  <a:srgbClr val="00B0F0"/>
                </a:solidFill>
                <a:latin typeface="Scotia Regular" panose="020B0503020203020204" pitchFamily="34" charset="0"/>
              </a:rPr>
              <a:t>GIVEN/DADO… </a:t>
            </a:r>
            <a:r>
              <a:rPr lang="es-ES" sz="1400" b="1">
                <a:solidFill>
                  <a:schemeClr val="bg1">
                    <a:lumMod val="50000"/>
                  </a:schemeClr>
                </a:solidFill>
                <a:latin typeface="Scotia Regular" panose="020B0503020203020204" pitchFamily="34" charset="0"/>
              </a:rPr>
              <a:t>que el RESPONSABLE DEL ÁREA elige INFORME DE VACACIONES,</a:t>
            </a:r>
          </a:p>
          <a:p>
            <a:pPr lvl="1" algn="just">
              <a:defRPr sz="3000">
                <a:solidFill>
                  <a:srgbClr val="FFFFFF"/>
                </a:solidFill>
                <a:latin typeface="Gilroy ExtraBold"/>
                <a:ea typeface="Gilroy ExtraBold"/>
                <a:cs typeface="Gilroy ExtraBold"/>
                <a:sym typeface="Gilroy ExtraBold"/>
              </a:defRPr>
            </a:pPr>
            <a:endParaRPr lang="en-CA" sz="1400" b="1">
              <a:solidFill>
                <a:schemeClr val="bg1">
                  <a:lumMod val="50000"/>
                </a:schemeClr>
              </a:solidFill>
              <a:latin typeface="Scotia Regular" panose="020B0503020203020204" pitchFamily="34" charset="0"/>
            </a:endParaRPr>
          </a:p>
          <a:p>
            <a:pPr lvl="1" algn="just">
              <a:defRPr sz="3000">
                <a:solidFill>
                  <a:srgbClr val="FFFFFF"/>
                </a:solidFill>
                <a:latin typeface="Gilroy ExtraBold"/>
                <a:ea typeface="Gilroy ExtraBold"/>
                <a:cs typeface="Gilroy ExtraBold"/>
                <a:sym typeface="Gilroy ExtraBold"/>
              </a:defRPr>
            </a:pPr>
            <a:r>
              <a:rPr lang="en-CA" sz="1400" b="1">
                <a:solidFill>
                  <a:srgbClr val="00B0F0"/>
                </a:solidFill>
                <a:latin typeface="Scotia Regular" panose="020B0503020203020204" pitchFamily="34" charset="0"/>
              </a:rPr>
              <a:t>WHEN/CUANDO… </a:t>
            </a:r>
            <a:r>
              <a:rPr lang="es-ES" sz="1400" b="1">
                <a:solidFill>
                  <a:schemeClr val="bg1">
                    <a:lumMod val="50000"/>
                  </a:schemeClr>
                </a:solidFill>
                <a:latin typeface="Scotia Regular" panose="020B0503020203020204" pitchFamily="34" charset="0"/>
              </a:rPr>
              <a:t>El Responsable de Área ingresó a consultar un futuro período de Vacaciones para un Empleado en particular</a:t>
            </a:r>
          </a:p>
          <a:p>
            <a:pPr lvl="1" algn="just">
              <a:defRPr sz="3000">
                <a:solidFill>
                  <a:srgbClr val="FFFFFF"/>
                </a:solidFill>
                <a:latin typeface="Gilroy ExtraBold"/>
                <a:ea typeface="Gilroy ExtraBold"/>
                <a:cs typeface="Gilroy ExtraBold"/>
                <a:sym typeface="Gilroy ExtraBold"/>
              </a:defRPr>
            </a:pPr>
            <a:endParaRPr lang="en-CA" sz="1400" b="1">
              <a:solidFill>
                <a:schemeClr val="bg1">
                  <a:lumMod val="50000"/>
                </a:schemeClr>
              </a:solidFill>
              <a:latin typeface="Scotia Regular" panose="020B0503020203020204" pitchFamily="34" charset="0"/>
            </a:endParaRPr>
          </a:p>
          <a:p>
            <a:pPr lvl="1" algn="just">
              <a:defRPr sz="3000">
                <a:solidFill>
                  <a:srgbClr val="FFFFFF"/>
                </a:solidFill>
                <a:latin typeface="Gilroy ExtraBold"/>
                <a:ea typeface="Gilroy ExtraBold"/>
                <a:cs typeface="Gilroy ExtraBold"/>
                <a:sym typeface="Gilroy ExtraBold"/>
              </a:defRPr>
            </a:pPr>
            <a:r>
              <a:rPr lang="en-CA" sz="1400" b="1">
                <a:solidFill>
                  <a:srgbClr val="00B0F0"/>
                </a:solidFill>
                <a:latin typeface="Scotia Regular" panose="020B0503020203020204" pitchFamily="34" charset="0"/>
              </a:rPr>
              <a:t>THEN/ENTONCES… </a:t>
            </a:r>
            <a:r>
              <a:rPr lang="es-ES" sz="1400" b="1">
                <a:solidFill>
                  <a:schemeClr val="bg1">
                    <a:lumMod val="50000"/>
                  </a:schemeClr>
                </a:solidFill>
                <a:latin typeface="Scotia Regular" panose="020B0503020203020204" pitchFamily="34" charset="0"/>
              </a:rPr>
              <a:t>el SISTEMA muestra el reporte en un máximo de 5 minutos.</a:t>
            </a:r>
            <a:endParaRPr lang="es-MX" sz="1400" b="1">
              <a:solidFill>
                <a:schemeClr val="bg1">
                  <a:lumMod val="50000"/>
                </a:schemeClr>
              </a:solidFill>
              <a:latin typeface="Scotia Regular" panose="020B0503020203020204" pitchFamily="34" charset="0"/>
            </a:endParaRPr>
          </a:p>
        </p:txBody>
      </p:sp>
      <p:sp>
        <p:nvSpPr>
          <p:cNvPr id="6" name="CuadroTexto 5">
            <a:extLst>
              <a:ext uri="{FF2B5EF4-FFF2-40B4-BE49-F238E27FC236}">
                <a16:creationId xmlns:a16="http://schemas.microsoft.com/office/drawing/2014/main" id="{A56D2B24-CEC1-452F-8E52-15D50A546524}"/>
              </a:ext>
            </a:extLst>
          </p:cNvPr>
          <p:cNvSpPr txBox="1"/>
          <p:nvPr/>
        </p:nvSpPr>
        <p:spPr>
          <a:xfrm>
            <a:off x="4449421" y="4683895"/>
            <a:ext cx="7447304" cy="1661993"/>
          </a:xfrm>
          <a:prstGeom prst="rect">
            <a:avLst/>
          </a:prstGeom>
          <a:noFill/>
        </p:spPr>
        <p:txBody>
          <a:bodyPr wrap="square">
            <a:spAutoFit/>
          </a:bodyPr>
          <a:lstStyle/>
          <a:p>
            <a:pPr>
              <a:defRPr sz="3000">
                <a:solidFill>
                  <a:srgbClr val="FFFFFF"/>
                </a:solidFill>
                <a:latin typeface="Gilroy ExtraBold"/>
                <a:ea typeface="Gilroy ExtraBold"/>
                <a:cs typeface="Gilroy ExtraBold"/>
                <a:sym typeface="Gilroy ExtraBold"/>
              </a:defRPr>
            </a:pPr>
            <a:r>
              <a:rPr lang="en-CA" sz="1600" b="1" err="1">
                <a:solidFill>
                  <a:schemeClr val="bg1">
                    <a:lumMod val="50000"/>
                  </a:schemeClr>
                </a:solidFill>
                <a:latin typeface="Scotia Regular" panose="020B0503020203020204" pitchFamily="34" charset="0"/>
              </a:rPr>
              <a:t>Escenario</a:t>
            </a:r>
            <a:r>
              <a:rPr lang="en-CA" sz="1600" b="1">
                <a:solidFill>
                  <a:schemeClr val="bg1">
                    <a:lumMod val="50000"/>
                  </a:schemeClr>
                </a:solidFill>
                <a:latin typeface="Scotia Regular" panose="020B0503020203020204" pitchFamily="34" charset="0"/>
              </a:rPr>
              <a:t> #2:</a:t>
            </a:r>
          </a:p>
          <a:p>
            <a:pPr>
              <a:defRPr sz="3000">
                <a:solidFill>
                  <a:srgbClr val="FFFFFF"/>
                </a:solidFill>
                <a:latin typeface="Gilroy ExtraBold"/>
                <a:ea typeface="Gilroy ExtraBold"/>
                <a:cs typeface="Gilroy ExtraBold"/>
                <a:sym typeface="Gilroy ExtraBold"/>
              </a:defRPr>
            </a:pPr>
            <a:endParaRPr lang="en-CA" sz="1600" b="1">
              <a:solidFill>
                <a:schemeClr val="bg1">
                  <a:lumMod val="50000"/>
                </a:schemeClr>
              </a:solidFill>
              <a:latin typeface="Scotia Regular" panose="020B0503020203020204" pitchFamily="34" charset="0"/>
            </a:endParaRPr>
          </a:p>
          <a:p>
            <a:pPr lvl="2">
              <a:defRPr sz="3000">
                <a:solidFill>
                  <a:srgbClr val="FFFFFF"/>
                </a:solidFill>
                <a:latin typeface="Gilroy ExtraBold"/>
                <a:ea typeface="Gilroy ExtraBold"/>
                <a:cs typeface="Gilroy ExtraBold"/>
                <a:sym typeface="Gilroy ExtraBold"/>
              </a:defRPr>
            </a:pPr>
            <a:r>
              <a:rPr lang="en-CA" sz="1400" b="1">
                <a:solidFill>
                  <a:srgbClr val="00B0F0"/>
                </a:solidFill>
                <a:latin typeface="Scotia Regular" panose="020B0503020203020204" pitchFamily="34" charset="0"/>
              </a:rPr>
              <a:t>SINCE/DESDE…</a:t>
            </a:r>
            <a:r>
              <a:rPr lang="en-CA" sz="1400" b="1">
                <a:solidFill>
                  <a:schemeClr val="bg1">
                    <a:lumMod val="50000"/>
                  </a:schemeClr>
                </a:solidFill>
                <a:latin typeface="Scotia Regular" panose="020B0503020203020204" pitchFamily="34" charset="0"/>
              </a:rPr>
              <a:t> que </a:t>
            </a:r>
            <a:r>
              <a:rPr lang="es-ES" sz="1400" b="1">
                <a:solidFill>
                  <a:schemeClr val="bg1">
                    <a:lumMod val="50000"/>
                  </a:schemeClr>
                </a:solidFill>
                <a:latin typeface="Scotia Regular" panose="020B0503020203020204" pitchFamily="34" charset="0"/>
              </a:rPr>
              <a:t>se está mostrando el INFORME DE VACACIONES,</a:t>
            </a:r>
          </a:p>
          <a:p>
            <a:pPr lvl="2">
              <a:defRPr sz="3000">
                <a:solidFill>
                  <a:srgbClr val="FFFFFF"/>
                </a:solidFill>
                <a:latin typeface="Gilroy ExtraBold"/>
                <a:ea typeface="Gilroy ExtraBold"/>
                <a:cs typeface="Gilroy ExtraBold"/>
                <a:sym typeface="Gilroy ExtraBold"/>
              </a:defRPr>
            </a:pPr>
            <a:endParaRPr lang="en-CA" sz="1400" b="1">
              <a:solidFill>
                <a:schemeClr val="bg1">
                  <a:lumMod val="50000"/>
                </a:schemeClr>
              </a:solidFill>
              <a:latin typeface="Scotia Regular" panose="020B0503020203020204" pitchFamily="34" charset="0"/>
            </a:endParaRPr>
          </a:p>
          <a:p>
            <a:pPr lvl="2">
              <a:defRPr sz="3000">
                <a:solidFill>
                  <a:srgbClr val="FFFFFF"/>
                </a:solidFill>
                <a:latin typeface="Gilroy ExtraBold"/>
                <a:ea typeface="Gilroy ExtraBold"/>
                <a:cs typeface="Gilroy ExtraBold"/>
                <a:sym typeface="Gilroy ExtraBold"/>
              </a:defRPr>
            </a:pPr>
            <a:r>
              <a:rPr lang="en-CA" sz="1400" b="1">
                <a:solidFill>
                  <a:srgbClr val="00B0F0"/>
                </a:solidFill>
                <a:latin typeface="Scotia Regular" panose="020B0503020203020204" pitchFamily="34" charset="0"/>
              </a:rPr>
              <a:t>WHEN/CUANDO…</a:t>
            </a:r>
            <a:r>
              <a:rPr lang="en-CA" sz="1400" b="1">
                <a:solidFill>
                  <a:schemeClr val="bg1">
                    <a:lumMod val="50000"/>
                  </a:schemeClr>
                </a:solidFill>
                <a:latin typeface="Scotia Regular" panose="020B0503020203020204" pitchFamily="34" charset="0"/>
              </a:rPr>
              <a:t> </a:t>
            </a:r>
            <a:r>
              <a:rPr lang="es-ES" sz="1400" b="1">
                <a:solidFill>
                  <a:schemeClr val="bg1">
                    <a:lumMod val="50000"/>
                  </a:schemeClr>
                </a:solidFill>
                <a:latin typeface="Scotia Regular" panose="020B0503020203020204" pitchFamily="34" charset="0"/>
              </a:rPr>
              <a:t>EL RESPONSABLE DEL ÁREA elige GUARDAR INFORME</a:t>
            </a:r>
            <a:r>
              <a:rPr lang="en-CA" sz="1400" b="1">
                <a:solidFill>
                  <a:schemeClr val="bg1">
                    <a:lumMod val="50000"/>
                  </a:schemeClr>
                </a:solidFill>
                <a:latin typeface="Scotia Regular" panose="020B0503020203020204" pitchFamily="34" charset="0"/>
              </a:rPr>
              <a:t>,</a:t>
            </a:r>
          </a:p>
          <a:p>
            <a:pPr lvl="2">
              <a:defRPr sz="3000">
                <a:solidFill>
                  <a:srgbClr val="FFFFFF"/>
                </a:solidFill>
                <a:latin typeface="Gilroy ExtraBold"/>
                <a:ea typeface="Gilroy ExtraBold"/>
                <a:cs typeface="Gilroy ExtraBold"/>
                <a:sym typeface="Gilroy ExtraBold"/>
              </a:defRPr>
            </a:pPr>
            <a:endParaRPr lang="en-CA" sz="1400" b="1">
              <a:solidFill>
                <a:schemeClr val="bg1">
                  <a:lumMod val="50000"/>
                </a:schemeClr>
              </a:solidFill>
              <a:latin typeface="Scotia Regular" panose="020B0503020203020204" pitchFamily="34" charset="0"/>
            </a:endParaRPr>
          </a:p>
          <a:p>
            <a:pPr lvl="2">
              <a:defRPr sz="3000">
                <a:solidFill>
                  <a:srgbClr val="FFFFFF"/>
                </a:solidFill>
                <a:latin typeface="Gilroy ExtraBold"/>
                <a:ea typeface="Gilroy ExtraBold"/>
                <a:cs typeface="Gilroy ExtraBold"/>
                <a:sym typeface="Gilroy ExtraBold"/>
              </a:defRPr>
            </a:pPr>
            <a:r>
              <a:rPr lang="en-CA" sz="1400" b="1">
                <a:solidFill>
                  <a:srgbClr val="00B0F0"/>
                </a:solidFill>
                <a:latin typeface="Scotia Regular" panose="020B0503020203020204" pitchFamily="34" charset="0"/>
              </a:rPr>
              <a:t>THEN/ENTONCES…</a:t>
            </a:r>
            <a:r>
              <a:rPr lang="en-CA" sz="1400" b="1">
                <a:solidFill>
                  <a:schemeClr val="bg1">
                    <a:lumMod val="50000"/>
                  </a:schemeClr>
                </a:solidFill>
                <a:latin typeface="Scotia Regular" panose="020B0503020203020204" pitchFamily="34" charset="0"/>
              </a:rPr>
              <a:t> </a:t>
            </a:r>
            <a:r>
              <a:rPr lang="es-CO" sz="1400" b="1">
                <a:solidFill>
                  <a:schemeClr val="bg1">
                    <a:lumMod val="50000"/>
                  </a:schemeClr>
                </a:solidFill>
                <a:latin typeface="Scotia Regular" panose="020B0503020203020204" pitchFamily="34" charset="0"/>
              </a:rPr>
              <a:t>el SISTEMA guarda el reporte </a:t>
            </a:r>
            <a:r>
              <a:rPr lang="en-CA" sz="1400" b="1">
                <a:solidFill>
                  <a:schemeClr val="bg1">
                    <a:lumMod val="50000"/>
                  </a:schemeClr>
                </a:solidFill>
                <a:latin typeface="Scotia Regular" panose="020B0503020203020204" pitchFamily="34" charset="0"/>
              </a:rPr>
              <a:t>.</a:t>
            </a:r>
            <a:endParaRPr lang="es-MX" sz="1400" b="1">
              <a:solidFill>
                <a:schemeClr val="bg1">
                  <a:lumMod val="50000"/>
                </a:schemeClr>
              </a:solidFill>
              <a:latin typeface="Scotia Regular" panose="020B0503020203020204" pitchFamily="34" charset="0"/>
            </a:endParaRPr>
          </a:p>
        </p:txBody>
      </p:sp>
      <p:pic>
        <p:nvPicPr>
          <p:cNvPr id="4" name="Picture 2">
            <a:extLst>
              <a:ext uri="{FF2B5EF4-FFF2-40B4-BE49-F238E27FC236}">
                <a16:creationId xmlns:a16="http://schemas.microsoft.com/office/drawing/2014/main" id="{D16603FA-7D19-24CD-977F-09266608319A}"/>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a:extLst>
              <a:ext uri="{FF2B5EF4-FFF2-40B4-BE49-F238E27FC236}">
                <a16:creationId xmlns:a16="http://schemas.microsoft.com/office/drawing/2014/main" id="{AEFBE4B9-7604-4F17-AC12-2DD23D9E42CD}"/>
              </a:ext>
            </a:extLst>
          </p:cNvPr>
          <p:cNvSpPr/>
          <p:nvPr/>
        </p:nvSpPr>
        <p:spPr>
          <a:xfrm>
            <a:off x="11068933" y="6587825"/>
            <a:ext cx="161925" cy="149735"/>
          </a:xfrm>
          <a:prstGeom prst="ellipse">
            <a:avLst/>
          </a:prstGeom>
          <a:solidFill>
            <a:schemeClr val="accent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92290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E819D4B-79C4-A237-F36F-C9EF45B8B977}"/>
              </a:ext>
            </a:extLst>
          </p:cNvPr>
          <p:cNvSpPr/>
          <p:nvPr/>
        </p:nvSpPr>
        <p:spPr>
          <a:xfrm>
            <a:off x="397" y="224"/>
            <a:ext cx="12191206" cy="1927566"/>
          </a:xfrm>
          <a:prstGeom prst="rect">
            <a:avLst/>
          </a:prstGeom>
          <a:solidFill>
            <a:schemeClr val="accent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hangingPunct="0"/>
            <a:endParaRPr lang="en-US" sz="800">
              <a:solidFill>
                <a:srgbClr val="323232"/>
              </a:solidFill>
              <a:latin typeface="Gotham"/>
              <a:ea typeface="Gotham"/>
              <a:cs typeface="Gotham"/>
              <a:sym typeface="Gotham"/>
            </a:endParaRPr>
          </a:p>
        </p:txBody>
      </p:sp>
      <p:sp>
        <p:nvSpPr>
          <p:cNvPr id="10" name="Title 3">
            <a:extLst>
              <a:ext uri="{FF2B5EF4-FFF2-40B4-BE49-F238E27FC236}">
                <a16:creationId xmlns:a16="http://schemas.microsoft.com/office/drawing/2014/main" id="{B9231A09-E19C-7D44-B9B9-D2CC1D4906E0}"/>
              </a:ext>
            </a:extLst>
          </p:cNvPr>
          <p:cNvSpPr txBox="1">
            <a:spLocks/>
          </p:cNvSpPr>
          <p:nvPr/>
        </p:nvSpPr>
        <p:spPr bwMode="gray">
          <a:xfrm>
            <a:off x="431408" y="966910"/>
            <a:ext cx="10515600" cy="469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defTabSz="685766" rtl="0" eaLnBrk="1" latinLnBrk="0" hangingPunct="1">
              <a:lnSpc>
                <a:spcPct val="90000"/>
              </a:lnSpc>
              <a:spcBef>
                <a:spcPct val="0"/>
              </a:spcBef>
              <a:buNone/>
              <a:defRPr sz="3300" b="1" i="0" kern="1200">
                <a:solidFill>
                  <a:schemeClr val="tx1"/>
                </a:solidFill>
                <a:latin typeface="Scotia Headline" panose="020B0503020203020204" pitchFamily="34" charset="0"/>
                <a:ea typeface="+mj-ea"/>
                <a:cs typeface="+mj-cs"/>
              </a:defRPr>
            </a:lvl1pPr>
          </a:lstStyle>
          <a:p>
            <a:pPr fontAlgn="auto">
              <a:spcAft>
                <a:spcPts val="0"/>
              </a:spcAft>
            </a:pPr>
            <a:r>
              <a:rPr lang="en-CA">
                <a:solidFill>
                  <a:schemeClr val="bg2"/>
                </a:solidFill>
                <a:latin typeface="Scotia"/>
              </a:rPr>
              <a:t>Product Backlog</a:t>
            </a:r>
            <a:endParaRPr lang="en-US">
              <a:solidFill>
                <a:schemeClr val="bg2"/>
              </a:solidFill>
              <a:latin typeface="Scotia"/>
            </a:endParaRPr>
          </a:p>
        </p:txBody>
      </p:sp>
      <p:sp>
        <p:nvSpPr>
          <p:cNvPr id="3" name="Oval 2">
            <a:extLst>
              <a:ext uri="{FF2B5EF4-FFF2-40B4-BE49-F238E27FC236}">
                <a16:creationId xmlns:a16="http://schemas.microsoft.com/office/drawing/2014/main" id="{0FCFCB9D-1669-84FC-14EF-93D2644700B4}"/>
              </a:ext>
            </a:extLst>
          </p:cNvPr>
          <p:cNvSpPr/>
          <p:nvPr/>
        </p:nvSpPr>
        <p:spPr>
          <a:xfrm>
            <a:off x="11084808" y="6587825"/>
            <a:ext cx="161925" cy="149735"/>
          </a:xfrm>
          <a:prstGeom prst="ellipse">
            <a:avLst/>
          </a:prstGeom>
          <a:solidFill>
            <a:srgbClr val="7849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2">
            <a:extLst>
              <a:ext uri="{FF2B5EF4-FFF2-40B4-BE49-F238E27FC236}">
                <a16:creationId xmlns:a16="http://schemas.microsoft.com/office/drawing/2014/main" id="{D335569A-DE77-EF00-EE5F-94B84C64DE23}"/>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637" y="6459388"/>
            <a:ext cx="873363" cy="39861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diagram of a product backlog">
            <a:extLst>
              <a:ext uri="{FF2B5EF4-FFF2-40B4-BE49-F238E27FC236}">
                <a16:creationId xmlns:a16="http://schemas.microsoft.com/office/drawing/2014/main" id="{801D13F2-2BAB-CB58-4A82-65C958E9EBB1}"/>
              </a:ext>
            </a:extLst>
          </p:cNvPr>
          <p:cNvPicPr>
            <a:picLocks noChangeAspect="1"/>
          </p:cNvPicPr>
          <p:nvPr/>
        </p:nvPicPr>
        <p:blipFill>
          <a:blip r:embed="rId4"/>
          <a:stretch>
            <a:fillRect/>
          </a:stretch>
        </p:blipFill>
        <p:spPr>
          <a:xfrm>
            <a:off x="2540977" y="2055813"/>
            <a:ext cx="6934200" cy="4524375"/>
          </a:xfrm>
          <a:prstGeom prst="rect">
            <a:avLst/>
          </a:prstGeom>
        </p:spPr>
      </p:pic>
    </p:spTree>
    <p:extLst>
      <p:ext uri="{BB962C8B-B14F-4D97-AF65-F5344CB8AC3E}">
        <p14:creationId xmlns:p14="http://schemas.microsoft.com/office/powerpoint/2010/main" val="40862495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6">
            <a:extLst>
              <a:ext uri="{FF2B5EF4-FFF2-40B4-BE49-F238E27FC236}">
                <a16:creationId xmlns:a16="http://schemas.microsoft.com/office/drawing/2014/main" id="{2FF120AF-589D-A343-B1A4-0EF94FD6A519}"/>
              </a:ext>
            </a:extLst>
          </p:cNvPr>
          <p:cNvSpPr txBox="1"/>
          <p:nvPr/>
        </p:nvSpPr>
        <p:spPr>
          <a:xfrm>
            <a:off x="569077" y="1933206"/>
            <a:ext cx="6319995" cy="92512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sz="4900">
                <a:solidFill>
                  <a:srgbClr val="FFFFFF"/>
                </a:solidFill>
                <a:latin typeface="Gilroy ExtraBold"/>
                <a:ea typeface="Gilroy ExtraBold"/>
                <a:cs typeface="Gilroy ExtraBold"/>
                <a:sym typeface="Gilroy ExtraBold"/>
              </a:defRPr>
            </a:pPr>
            <a:r>
              <a:rPr kumimoji="0" lang="es-ES" sz="6600" b="1" i="0" u="none" strike="noStrike" kern="1200" cap="none" spc="0" normalizeH="0" baseline="0" noProof="0" err="1">
                <a:ln>
                  <a:noFill/>
                </a:ln>
                <a:solidFill>
                  <a:srgbClr val="FFFFFF"/>
                </a:solidFill>
                <a:effectLst/>
                <a:uLnTx/>
                <a:uFillTx/>
                <a:latin typeface="Scotia Headline" panose="020B0503020203020204" pitchFamily="34" charset="0"/>
                <a:sym typeface="Gilroy ExtraBold"/>
              </a:rPr>
              <a:t>DoR</a:t>
            </a:r>
            <a:r>
              <a:rPr kumimoji="0" lang="es-ES" sz="6600" b="1" i="0" u="none" strike="noStrike" kern="1200" cap="none" spc="0" normalizeH="0" baseline="0" noProof="0">
                <a:ln>
                  <a:noFill/>
                </a:ln>
                <a:solidFill>
                  <a:srgbClr val="FFFFFF"/>
                </a:solidFill>
                <a:effectLst/>
                <a:uLnTx/>
                <a:uFillTx/>
                <a:latin typeface="Scotia Headline" panose="020B0503020203020204" pitchFamily="34" charset="0"/>
                <a:sym typeface="Gilroy ExtraBold"/>
              </a:rPr>
              <a:t> &amp; </a:t>
            </a:r>
            <a:r>
              <a:rPr kumimoji="0" lang="es-ES" sz="6600" b="1" i="0" u="none" strike="noStrike" kern="1200" cap="none" spc="0" normalizeH="0" baseline="0" noProof="0" err="1">
                <a:ln>
                  <a:noFill/>
                </a:ln>
                <a:solidFill>
                  <a:srgbClr val="FFFFFF"/>
                </a:solidFill>
                <a:effectLst/>
                <a:uLnTx/>
                <a:uFillTx/>
                <a:latin typeface="Scotia Headline" panose="020B0503020203020204" pitchFamily="34" charset="0"/>
                <a:sym typeface="Gilroy ExtraBold"/>
              </a:rPr>
              <a:t>DoD</a:t>
            </a:r>
            <a:endParaRPr kumimoji="0" lang="es-CO" sz="6600" b="1" i="0" u="none" strike="noStrike" kern="1200" cap="none" spc="0" normalizeH="0" baseline="0" noProof="0">
              <a:ln>
                <a:noFill/>
              </a:ln>
              <a:solidFill>
                <a:srgbClr val="FFFFFF"/>
              </a:solidFill>
              <a:effectLst/>
              <a:uLnTx/>
              <a:uFillTx/>
              <a:latin typeface="Scotia Headline" panose="020B0503020203020204" pitchFamily="34" charset="0"/>
              <a:sym typeface="Gilroy ExtraBold"/>
            </a:endParaRPr>
          </a:p>
        </p:txBody>
      </p:sp>
      <p:sp>
        <p:nvSpPr>
          <p:cNvPr id="9" name="TextBox 8">
            <a:extLst>
              <a:ext uri="{FF2B5EF4-FFF2-40B4-BE49-F238E27FC236}">
                <a16:creationId xmlns:a16="http://schemas.microsoft.com/office/drawing/2014/main" id="{6E9E82A6-C5ED-A74B-A9C2-817CBA21EEDE}"/>
              </a:ext>
            </a:extLst>
          </p:cNvPr>
          <p:cNvSpPr txBox="1"/>
          <p:nvPr/>
        </p:nvSpPr>
        <p:spPr>
          <a:xfrm>
            <a:off x="719998" y="1355035"/>
            <a:ext cx="1023077" cy="49244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4900">
                <a:solidFill>
                  <a:srgbClr val="FFFFFF"/>
                </a:solidFill>
                <a:latin typeface="Gilroy ExtraBold"/>
                <a:ea typeface="Gilroy ExtraBold"/>
                <a:cs typeface="Gilroy ExtraBold"/>
                <a:sym typeface="Gilroy ExtraBold"/>
              </a:defRPr>
            </a:pPr>
            <a:r>
              <a:rPr kumimoji="0" lang="en-US" sz="3200" b="1" i="0" u="none" strike="noStrike" kern="1200" cap="none" spc="0" normalizeH="0" baseline="0" noProof="0">
                <a:ln>
                  <a:noFill/>
                </a:ln>
                <a:solidFill>
                  <a:srgbClr val="FFFFFF"/>
                </a:solidFill>
                <a:effectLst/>
                <a:uLnTx/>
                <a:uFillTx/>
                <a:latin typeface="Scotia Headline" panose="020B0503020203020204" pitchFamily="34" charset="0"/>
                <a:sym typeface="Gilroy ExtraBold"/>
              </a:rPr>
              <a:t>06</a:t>
            </a:r>
            <a:endParaRPr kumimoji="0" sz="3200" b="1" i="0" u="none" strike="noStrike" kern="1200" cap="none" spc="0" normalizeH="0" baseline="0" noProof="0">
              <a:ln>
                <a:noFill/>
              </a:ln>
              <a:solidFill>
                <a:srgbClr val="FFFFFF"/>
              </a:solidFill>
              <a:effectLst/>
              <a:uLnTx/>
              <a:uFillTx/>
              <a:latin typeface="Scotia Headline" panose="020B0503020203020204" pitchFamily="34" charset="0"/>
              <a:sym typeface="Gilroy ExtraBold"/>
            </a:endParaRPr>
          </a:p>
        </p:txBody>
      </p:sp>
      <p:pic>
        <p:nvPicPr>
          <p:cNvPr id="2" name="Picture 2">
            <a:extLst>
              <a:ext uri="{FF2B5EF4-FFF2-40B4-BE49-F238E27FC236}">
                <a16:creationId xmlns:a16="http://schemas.microsoft.com/office/drawing/2014/main" id="{5B194BEE-E53C-4BB4-12CE-39DA7DD725AC}"/>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Upstream Kanban: The 5-Step Process to Narrowing Down Your Customer  Requests | Nave">
            <a:extLst>
              <a:ext uri="{FF2B5EF4-FFF2-40B4-BE49-F238E27FC236}">
                <a16:creationId xmlns:a16="http://schemas.microsoft.com/office/drawing/2014/main" id="{69CC61C8-5D49-526A-581B-B9C74A523B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86199" y="3190461"/>
            <a:ext cx="7659757" cy="280458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Oval 3">
            <a:extLst>
              <a:ext uri="{FF2B5EF4-FFF2-40B4-BE49-F238E27FC236}">
                <a16:creationId xmlns:a16="http://schemas.microsoft.com/office/drawing/2014/main" id="{B262D0F5-9EFB-8E0D-E51A-86F1C16CDA59}"/>
              </a:ext>
            </a:extLst>
          </p:cNvPr>
          <p:cNvSpPr/>
          <p:nvPr/>
        </p:nvSpPr>
        <p:spPr>
          <a:xfrm>
            <a:off x="11068933" y="6587825"/>
            <a:ext cx="161925" cy="149735"/>
          </a:xfrm>
          <a:prstGeom prst="ellipse">
            <a:avLst/>
          </a:prstGeom>
          <a:solidFill>
            <a:schemeClr val="accent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76665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81491DC-0D19-3F41-A28B-AF83D89EA479}"/>
              </a:ext>
            </a:extLst>
          </p:cNvPr>
          <p:cNvSpPr>
            <a:spLocks noGrp="1"/>
          </p:cNvSpPr>
          <p:nvPr>
            <p:ph type="body" sz="quarter" idx="10"/>
          </p:nvPr>
        </p:nvSpPr>
        <p:spPr/>
        <p:txBody>
          <a:bodyPr/>
          <a:lstStyle/>
          <a:p>
            <a:r>
              <a:rPr lang="en-CA"/>
              <a:t>01 Section header</a:t>
            </a:r>
          </a:p>
        </p:txBody>
      </p:sp>
      <p:sp>
        <p:nvSpPr>
          <p:cNvPr id="4" name="Title 3">
            <a:extLst>
              <a:ext uri="{FF2B5EF4-FFF2-40B4-BE49-F238E27FC236}">
                <a16:creationId xmlns:a16="http://schemas.microsoft.com/office/drawing/2014/main" id="{A79FF30C-9B0C-2E4F-B5D2-C3A9B798498E}"/>
              </a:ext>
            </a:extLst>
          </p:cNvPr>
          <p:cNvSpPr>
            <a:spLocks noGrp="1"/>
          </p:cNvSpPr>
          <p:nvPr>
            <p:ph type="title"/>
          </p:nvPr>
        </p:nvSpPr>
        <p:spPr/>
        <p:txBody>
          <a:bodyPr/>
          <a:lstStyle/>
          <a:p>
            <a:r>
              <a:rPr lang="es-ES" sz="3600">
                <a:solidFill>
                  <a:schemeClr val="tx1">
                    <a:lumMod val="75000"/>
                  </a:schemeClr>
                </a:solidFill>
              </a:rPr>
              <a:t>Definición de Listo y Definición de Hecho</a:t>
            </a:r>
            <a:endParaRPr lang="en-CA" sz="3600">
              <a:solidFill>
                <a:schemeClr val="tx1">
                  <a:lumMod val="75000"/>
                </a:schemeClr>
              </a:solidFill>
            </a:endParaRPr>
          </a:p>
        </p:txBody>
      </p:sp>
      <p:sp>
        <p:nvSpPr>
          <p:cNvPr id="25" name="Text Placeholder 24">
            <a:extLst>
              <a:ext uri="{FF2B5EF4-FFF2-40B4-BE49-F238E27FC236}">
                <a16:creationId xmlns:a16="http://schemas.microsoft.com/office/drawing/2014/main" id="{70D29146-2593-624B-539F-FE837521E038}"/>
              </a:ext>
            </a:extLst>
          </p:cNvPr>
          <p:cNvSpPr>
            <a:spLocks noGrp="1"/>
          </p:cNvSpPr>
          <p:nvPr>
            <p:ph type="body" sz="quarter" idx="33"/>
          </p:nvPr>
        </p:nvSpPr>
        <p:spPr>
          <a:xfrm>
            <a:off x="6828739" y="2409825"/>
            <a:ext cx="3503613" cy="3502025"/>
          </a:xfrm>
        </p:spPr>
        <p:txBody>
          <a:bodyPr/>
          <a:lstStyle/>
          <a:p>
            <a:r>
              <a:rPr lang="es-CO" err="1"/>
              <a:t>DoD</a:t>
            </a:r>
            <a:endParaRPr lang="en-US"/>
          </a:p>
        </p:txBody>
      </p:sp>
      <p:sp>
        <p:nvSpPr>
          <p:cNvPr id="27" name="Text Placeholder 26">
            <a:extLst>
              <a:ext uri="{FF2B5EF4-FFF2-40B4-BE49-F238E27FC236}">
                <a16:creationId xmlns:a16="http://schemas.microsoft.com/office/drawing/2014/main" id="{ED5056FD-206D-CE86-71A7-D5C5B0F4A17C}"/>
              </a:ext>
            </a:extLst>
          </p:cNvPr>
          <p:cNvSpPr>
            <a:spLocks noGrp="1"/>
          </p:cNvSpPr>
          <p:nvPr>
            <p:ph type="body" sz="quarter" idx="27"/>
          </p:nvPr>
        </p:nvSpPr>
        <p:spPr>
          <a:xfrm>
            <a:off x="6873557" y="3635345"/>
            <a:ext cx="3503613" cy="364207"/>
          </a:xfrm>
        </p:spPr>
        <p:txBody>
          <a:bodyPr/>
          <a:lstStyle/>
          <a:p>
            <a:pPr>
              <a:spcBef>
                <a:spcPts val="0"/>
              </a:spcBef>
            </a:pPr>
            <a:r>
              <a:rPr lang="es-CO"/>
              <a:t>Definición de </a:t>
            </a:r>
          </a:p>
          <a:p>
            <a:pPr>
              <a:spcBef>
                <a:spcPts val="0"/>
              </a:spcBef>
            </a:pPr>
            <a:r>
              <a:rPr lang="es-CO"/>
              <a:t>Hecho/Terminado</a:t>
            </a:r>
            <a:endParaRPr lang="en-US"/>
          </a:p>
        </p:txBody>
      </p:sp>
      <p:sp>
        <p:nvSpPr>
          <p:cNvPr id="29" name="Text Placeholder 28">
            <a:extLst>
              <a:ext uri="{FF2B5EF4-FFF2-40B4-BE49-F238E27FC236}">
                <a16:creationId xmlns:a16="http://schemas.microsoft.com/office/drawing/2014/main" id="{DAB58B09-FF8F-636E-8816-4347064747D3}"/>
              </a:ext>
            </a:extLst>
          </p:cNvPr>
          <p:cNvSpPr>
            <a:spLocks noGrp="1"/>
          </p:cNvSpPr>
          <p:nvPr>
            <p:ph type="body" sz="quarter" idx="28"/>
          </p:nvPr>
        </p:nvSpPr>
        <p:spPr>
          <a:xfrm>
            <a:off x="7211268" y="4195524"/>
            <a:ext cx="2908092" cy="1520354"/>
          </a:xfrm>
        </p:spPr>
        <p:txBody>
          <a:bodyPr vert="horz" lIns="0" tIns="0" rIns="0" bIns="0" rtlCol="0">
            <a:noAutofit/>
          </a:bodyPr>
          <a:lstStyle/>
          <a:p>
            <a:pPr marL="285750" indent="-285750" algn="l">
              <a:buChar char="•"/>
            </a:pPr>
            <a:r>
              <a:rPr lang="es-ES" sz="1600"/>
              <a:t>Criterios para determinar cuándo un incremento de producto está completo.</a:t>
            </a:r>
          </a:p>
          <a:p>
            <a:pPr marL="285750" indent="-285750" algn="l">
              <a:buChar char="•"/>
            </a:pPr>
            <a:r>
              <a:rPr lang="es-ES" sz="1600"/>
              <a:t>Asegura la calidad y consistencia del entregable.</a:t>
            </a:r>
            <a:endParaRPr lang="en-US" sz="1600"/>
          </a:p>
        </p:txBody>
      </p:sp>
      <p:sp>
        <p:nvSpPr>
          <p:cNvPr id="31" name="Text Placeholder 30">
            <a:extLst>
              <a:ext uri="{FF2B5EF4-FFF2-40B4-BE49-F238E27FC236}">
                <a16:creationId xmlns:a16="http://schemas.microsoft.com/office/drawing/2014/main" id="{CC8254D8-6502-0750-8D59-C6F835B04B0A}"/>
              </a:ext>
            </a:extLst>
          </p:cNvPr>
          <p:cNvSpPr>
            <a:spLocks noGrp="1"/>
          </p:cNvSpPr>
          <p:nvPr>
            <p:ph type="body" sz="quarter" idx="24"/>
          </p:nvPr>
        </p:nvSpPr>
        <p:spPr>
          <a:xfrm>
            <a:off x="1818701" y="2409825"/>
            <a:ext cx="3503613" cy="3871818"/>
          </a:xfrm>
        </p:spPr>
        <p:txBody>
          <a:bodyPr/>
          <a:lstStyle/>
          <a:p>
            <a:r>
              <a:rPr lang="es-CO" err="1"/>
              <a:t>DoR</a:t>
            </a:r>
            <a:endParaRPr lang="en-US"/>
          </a:p>
        </p:txBody>
      </p:sp>
      <p:sp>
        <p:nvSpPr>
          <p:cNvPr id="33" name="Text Placeholder 32">
            <a:extLst>
              <a:ext uri="{FF2B5EF4-FFF2-40B4-BE49-F238E27FC236}">
                <a16:creationId xmlns:a16="http://schemas.microsoft.com/office/drawing/2014/main" id="{A1F4AACD-6916-77D5-6697-A7527830BEF8}"/>
              </a:ext>
            </a:extLst>
          </p:cNvPr>
          <p:cNvSpPr>
            <a:spLocks noGrp="1"/>
          </p:cNvSpPr>
          <p:nvPr>
            <p:ph type="body" sz="quarter" idx="12"/>
          </p:nvPr>
        </p:nvSpPr>
        <p:spPr>
          <a:xfrm>
            <a:off x="2196575" y="3783373"/>
            <a:ext cx="2747865" cy="364207"/>
          </a:xfrm>
        </p:spPr>
        <p:txBody>
          <a:bodyPr/>
          <a:lstStyle/>
          <a:p>
            <a:r>
              <a:rPr lang="es-CO"/>
              <a:t>Definición de Listo</a:t>
            </a:r>
          </a:p>
        </p:txBody>
      </p:sp>
      <p:sp>
        <p:nvSpPr>
          <p:cNvPr id="35" name="Text Placeholder 34">
            <a:extLst>
              <a:ext uri="{FF2B5EF4-FFF2-40B4-BE49-F238E27FC236}">
                <a16:creationId xmlns:a16="http://schemas.microsoft.com/office/drawing/2014/main" id="{098E78BD-706A-1B5F-480D-B13BE73C78A3}"/>
              </a:ext>
            </a:extLst>
          </p:cNvPr>
          <p:cNvSpPr>
            <a:spLocks noGrp="1"/>
          </p:cNvSpPr>
          <p:nvPr>
            <p:ph type="body" sz="quarter" idx="13"/>
          </p:nvPr>
        </p:nvSpPr>
        <p:spPr>
          <a:xfrm>
            <a:off x="2196575" y="4147580"/>
            <a:ext cx="2747865" cy="1520354"/>
          </a:xfrm>
        </p:spPr>
        <p:txBody>
          <a:bodyPr vert="horz" lIns="0" tIns="0" rIns="0" bIns="0" rtlCol="0" anchor="t">
            <a:noAutofit/>
          </a:bodyPr>
          <a:lstStyle/>
          <a:p>
            <a:pPr marL="285750" indent="-285750" algn="l">
              <a:buFont typeface="Arial" panose="020B0604020202020204" pitchFamily="34" charset="0"/>
              <a:buChar char="•"/>
            </a:pPr>
            <a:r>
              <a:rPr lang="es-ES" sz="1600"/>
              <a:t>Criterios para evaluar las historias antes de comenzar.</a:t>
            </a:r>
          </a:p>
          <a:p>
            <a:pPr marL="285750" indent="-285750" algn="l">
              <a:buFont typeface="Arial" panose="020B0604020202020204" pitchFamily="34" charset="0"/>
              <a:buChar char="•"/>
            </a:pPr>
            <a:r>
              <a:rPr lang="es-ES" sz="1600"/>
              <a:t>Asegura que las historias sean accionables y claras.</a:t>
            </a:r>
          </a:p>
          <a:p>
            <a:pPr marL="285750" indent="-285750" algn="l">
              <a:buFont typeface="Arial" panose="020B0604020202020204" pitchFamily="34" charset="0"/>
              <a:buChar char="•"/>
            </a:pPr>
            <a:r>
              <a:rPr lang="es-ES" sz="1600"/>
              <a:t>Disponibilidad de recursos para empezar la historia</a:t>
            </a:r>
          </a:p>
        </p:txBody>
      </p:sp>
      <p:pic>
        <p:nvPicPr>
          <p:cNvPr id="39" name="Picture 38">
            <a:extLst>
              <a:ext uri="{FF2B5EF4-FFF2-40B4-BE49-F238E27FC236}">
                <a16:creationId xmlns:a16="http://schemas.microsoft.com/office/drawing/2014/main" id="{282C2D6C-9CF6-377A-45C1-DC5158C04814}"/>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5632664" y="3822152"/>
            <a:ext cx="926672" cy="920576"/>
          </a:xfrm>
          <a:prstGeom prst="rect">
            <a:avLst/>
          </a:prstGeom>
        </p:spPr>
      </p:pic>
      <p:pic>
        <p:nvPicPr>
          <p:cNvPr id="2" name="Picture 2">
            <a:extLst>
              <a:ext uri="{FF2B5EF4-FFF2-40B4-BE49-F238E27FC236}">
                <a16:creationId xmlns:a16="http://schemas.microsoft.com/office/drawing/2014/main" id="{CE230FC5-7670-3910-4103-A3B63B7357D7}"/>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90442007-2437-9A1C-2F4B-C11B824C7462}"/>
              </a:ext>
            </a:extLst>
          </p:cNvPr>
          <p:cNvSpPr/>
          <p:nvPr/>
        </p:nvSpPr>
        <p:spPr>
          <a:xfrm>
            <a:off x="11068933" y="6587825"/>
            <a:ext cx="161925" cy="149735"/>
          </a:xfrm>
          <a:prstGeom prst="ellipse">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72265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E3AAC-BF73-B649-AB5F-333F3FC0D3C2}"/>
              </a:ext>
            </a:extLst>
          </p:cNvPr>
          <p:cNvSpPr>
            <a:spLocks noGrp="1"/>
          </p:cNvSpPr>
          <p:nvPr>
            <p:ph type="title"/>
          </p:nvPr>
        </p:nvSpPr>
        <p:spPr/>
        <p:txBody>
          <a:bodyPr/>
          <a:lstStyle/>
          <a:p>
            <a:r>
              <a:rPr lang="es-CO">
                <a:solidFill>
                  <a:schemeClr val="tx1">
                    <a:lumMod val="75000"/>
                  </a:schemeClr>
                </a:solidFill>
              </a:rPr>
              <a:t>Componentes Clave de </a:t>
            </a:r>
            <a:r>
              <a:rPr lang="es-CO" err="1">
                <a:solidFill>
                  <a:schemeClr val="tx1">
                    <a:lumMod val="75000"/>
                  </a:schemeClr>
                </a:solidFill>
              </a:rPr>
              <a:t>DoR</a:t>
            </a:r>
            <a:endParaRPr lang="es-CO">
              <a:solidFill>
                <a:schemeClr val="tx1">
                  <a:lumMod val="75000"/>
                </a:schemeClr>
              </a:solidFill>
            </a:endParaRPr>
          </a:p>
        </p:txBody>
      </p:sp>
      <p:sp>
        <p:nvSpPr>
          <p:cNvPr id="9" name="Text Placeholder 8">
            <a:extLst>
              <a:ext uri="{FF2B5EF4-FFF2-40B4-BE49-F238E27FC236}">
                <a16:creationId xmlns:a16="http://schemas.microsoft.com/office/drawing/2014/main" id="{45C7C125-E622-0645-94BE-A5B625AF3081}"/>
              </a:ext>
            </a:extLst>
          </p:cNvPr>
          <p:cNvSpPr>
            <a:spLocks noGrp="1"/>
          </p:cNvSpPr>
          <p:nvPr>
            <p:ph type="body" sz="quarter" idx="11"/>
          </p:nvPr>
        </p:nvSpPr>
        <p:spPr>
          <a:xfrm>
            <a:off x="471051" y="2251163"/>
            <a:ext cx="6864470" cy="4342677"/>
          </a:xfrm>
        </p:spPr>
        <p:txBody>
          <a:bodyPr vert="horz" lIns="0" tIns="0" rIns="0" bIns="0" rtlCol="0" anchor="t">
            <a:noAutofit/>
          </a:bodyPr>
          <a:lstStyle/>
          <a:p>
            <a:pPr marL="0" lvl="0" indent="0">
              <a:buNone/>
            </a:pPr>
            <a:r>
              <a:rPr lang="es-ES" b="1">
                <a:solidFill>
                  <a:srgbClr val="7849B8"/>
                </a:solidFill>
                <a:latin typeface="+mj-lt"/>
              </a:rPr>
              <a:t>Método INVEST:</a:t>
            </a:r>
          </a:p>
          <a:p>
            <a:pPr marL="742950" lvl="1" indent="-285750">
              <a:buFont typeface="Arial" panose="020B0604020202020204" pitchFamily="34" charset="0"/>
              <a:buChar char="•"/>
            </a:pPr>
            <a:r>
              <a:rPr lang="es-ES" sz="1600" b="1"/>
              <a:t>Independiente</a:t>
            </a:r>
            <a:r>
              <a:rPr lang="es-ES" sz="1600"/>
              <a:t>: Tareas autónomas.</a:t>
            </a:r>
          </a:p>
          <a:p>
            <a:pPr marL="742950" lvl="1" indent="-285750">
              <a:buFont typeface="Arial" panose="020B0604020202020204" pitchFamily="34" charset="0"/>
              <a:buChar char="•"/>
            </a:pPr>
            <a:r>
              <a:rPr lang="es-ES" sz="1600" b="1"/>
              <a:t>Negociable</a:t>
            </a:r>
            <a:r>
              <a:rPr lang="es-ES" sz="1600"/>
              <a:t>: Flexibles y abiertas a opciones.</a:t>
            </a:r>
          </a:p>
          <a:p>
            <a:pPr marL="742950" lvl="1" indent="-285750">
              <a:buFont typeface="Arial" panose="020B0604020202020204" pitchFamily="34" charset="0"/>
              <a:buChar char="•"/>
            </a:pPr>
            <a:r>
              <a:rPr lang="es-ES" sz="1600" b="1"/>
              <a:t>Valiosa</a:t>
            </a:r>
            <a:r>
              <a:rPr lang="es-ES" sz="1600"/>
              <a:t>: Agrega valor al producto y negocio.</a:t>
            </a:r>
          </a:p>
          <a:p>
            <a:pPr marL="742950" lvl="1" indent="-285750">
              <a:buFont typeface="Arial" panose="020B0604020202020204" pitchFamily="34" charset="0"/>
              <a:buChar char="•"/>
            </a:pPr>
            <a:r>
              <a:rPr lang="es-ES" sz="1600" b="1"/>
              <a:t>Estimable</a:t>
            </a:r>
            <a:r>
              <a:rPr lang="es-ES" sz="1600"/>
              <a:t>: Factibles y medibles.</a:t>
            </a:r>
          </a:p>
          <a:p>
            <a:pPr marL="742950" lvl="1" indent="-285750">
              <a:buFont typeface="Arial" panose="020B0604020202020204" pitchFamily="34" charset="0"/>
              <a:buChar char="•"/>
            </a:pPr>
            <a:r>
              <a:rPr lang="es-ES" sz="1600" b="1"/>
              <a:t>Pequeña</a:t>
            </a:r>
            <a:r>
              <a:rPr lang="es-ES" sz="1600"/>
              <a:t>: Manejables y desglosables.</a:t>
            </a:r>
          </a:p>
          <a:p>
            <a:pPr marL="742950" lvl="1" indent="-285750">
              <a:buFont typeface="Arial" panose="020B0604020202020204" pitchFamily="34" charset="0"/>
              <a:buChar char="•"/>
            </a:pPr>
            <a:r>
              <a:rPr lang="es-ES" sz="1600" b="1"/>
              <a:t>Comprobable</a:t>
            </a:r>
            <a:r>
              <a:rPr lang="es-ES" sz="1600"/>
              <a:t>: Criterios claros de éxito y finalización.</a:t>
            </a:r>
          </a:p>
          <a:p>
            <a:pPr marL="742950" lvl="1" indent="-285750">
              <a:buFont typeface="Arial" panose="020B0604020202020204" pitchFamily="34" charset="0"/>
              <a:buChar char="•"/>
            </a:pPr>
            <a:endParaRPr lang="es-ES" sz="1400" b="1">
              <a:latin typeface="+mj-lt"/>
            </a:endParaRPr>
          </a:p>
          <a:p>
            <a:pPr marL="0" lvl="0" indent="0">
              <a:buNone/>
            </a:pPr>
            <a:r>
              <a:rPr lang="es-ES" b="1">
                <a:solidFill>
                  <a:srgbClr val="7849B8"/>
                </a:solidFill>
                <a:latin typeface="+mj-lt"/>
              </a:rPr>
              <a:t>Consideraciones Adicionales:</a:t>
            </a:r>
          </a:p>
          <a:p>
            <a:pPr marL="742950" lvl="1" indent="-285750">
              <a:buFont typeface="Arial" panose="020B0604020202020204" pitchFamily="34" charset="0"/>
              <a:buChar char="•"/>
            </a:pPr>
            <a:r>
              <a:rPr lang="es-ES" sz="1600" b="1"/>
              <a:t>Requisitos Técnicos: </a:t>
            </a:r>
            <a:r>
              <a:rPr lang="es-ES" sz="1600"/>
              <a:t>Asegurar los recursos técnicos.</a:t>
            </a:r>
          </a:p>
          <a:p>
            <a:pPr marL="742950" lvl="1" indent="-285750">
              <a:buFont typeface="Arial" panose="020B0604020202020204" pitchFamily="34" charset="0"/>
              <a:buChar char="•"/>
            </a:pPr>
            <a:r>
              <a:rPr lang="es-ES" sz="1600" b="1"/>
              <a:t>Estimaciones de Tiempo: </a:t>
            </a:r>
            <a:r>
              <a:rPr lang="es-ES" sz="1600"/>
              <a:t>Realizar estimación relativa como equipo.</a:t>
            </a:r>
          </a:p>
          <a:p>
            <a:pPr marL="742950" lvl="1" indent="-285750">
              <a:buFont typeface="Arial" panose="020B0604020202020204" pitchFamily="34" charset="0"/>
              <a:buChar char="•"/>
            </a:pPr>
            <a:r>
              <a:rPr lang="es-ES" sz="1600" b="1"/>
              <a:t>Definición de Hecho (</a:t>
            </a:r>
            <a:r>
              <a:rPr lang="es-ES" sz="1600" b="1" err="1"/>
              <a:t>DoD</a:t>
            </a:r>
            <a:r>
              <a:rPr lang="es-ES" sz="1600" b="1"/>
              <a:t>): </a:t>
            </a:r>
            <a:r>
              <a:rPr lang="es-ES" sz="1600"/>
              <a:t>Establecer cómo se medirá el éxito.</a:t>
            </a:r>
          </a:p>
        </p:txBody>
      </p:sp>
      <p:sp>
        <p:nvSpPr>
          <p:cNvPr id="7" name="Text Placeholder 6">
            <a:extLst>
              <a:ext uri="{FF2B5EF4-FFF2-40B4-BE49-F238E27FC236}">
                <a16:creationId xmlns:a16="http://schemas.microsoft.com/office/drawing/2014/main" id="{F35508B9-1530-7C4C-9241-CA61453DEABE}"/>
              </a:ext>
            </a:extLst>
          </p:cNvPr>
          <p:cNvSpPr>
            <a:spLocks noGrp="1"/>
          </p:cNvSpPr>
          <p:nvPr>
            <p:ph type="body" sz="quarter" idx="13"/>
          </p:nvPr>
        </p:nvSpPr>
        <p:spPr/>
        <p:txBody>
          <a:bodyPr>
            <a:normAutofit fontScale="85000" lnSpcReduction="10000"/>
          </a:bodyPr>
          <a:lstStyle/>
          <a:p>
            <a:r>
              <a:rPr lang="es-ES">
                <a:solidFill>
                  <a:schemeClr val="tx2"/>
                </a:solidFill>
              </a:rPr>
              <a:t>Componentes Clave de la Definición de Listo (</a:t>
            </a:r>
            <a:r>
              <a:rPr lang="es-ES" err="1">
                <a:solidFill>
                  <a:schemeClr val="tx2"/>
                </a:solidFill>
              </a:rPr>
              <a:t>DoR</a:t>
            </a:r>
            <a:r>
              <a:rPr lang="es-ES">
                <a:solidFill>
                  <a:schemeClr val="tx2"/>
                </a:solidFill>
              </a:rPr>
              <a:t>)</a:t>
            </a:r>
            <a:endParaRPr lang="en-CA">
              <a:solidFill>
                <a:schemeClr val="tx2"/>
              </a:solidFill>
            </a:endParaRPr>
          </a:p>
        </p:txBody>
      </p:sp>
      <p:pic>
        <p:nvPicPr>
          <p:cNvPr id="1026" name="Picture 2" descr="Definition of Ready, agora escalado - Blog Adaptworks">
            <a:extLst>
              <a:ext uri="{FF2B5EF4-FFF2-40B4-BE49-F238E27FC236}">
                <a16:creationId xmlns:a16="http://schemas.microsoft.com/office/drawing/2014/main" id="{7A7EDB13-E628-B249-998C-0AB0C4EF44EA}"/>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75872" y="1887883"/>
            <a:ext cx="4116128" cy="262199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1D72385-907B-9B90-4C9B-11EB4A20B26D}"/>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B9B4C8C1-8E57-EB55-3C14-6DEF8DAFA3F9}"/>
              </a:ext>
            </a:extLst>
          </p:cNvPr>
          <p:cNvSpPr/>
          <p:nvPr/>
        </p:nvSpPr>
        <p:spPr>
          <a:xfrm>
            <a:off x="11068933" y="6587825"/>
            <a:ext cx="161925" cy="149735"/>
          </a:xfrm>
          <a:prstGeom prst="ellipse">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26996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E3AAC-BF73-B649-AB5F-333F3FC0D3C2}"/>
              </a:ext>
            </a:extLst>
          </p:cNvPr>
          <p:cNvSpPr>
            <a:spLocks noGrp="1"/>
          </p:cNvSpPr>
          <p:nvPr>
            <p:ph type="title"/>
          </p:nvPr>
        </p:nvSpPr>
        <p:spPr/>
        <p:txBody>
          <a:bodyPr/>
          <a:lstStyle/>
          <a:p>
            <a:r>
              <a:rPr lang="es-CO">
                <a:solidFill>
                  <a:schemeClr val="tx1">
                    <a:lumMod val="75000"/>
                  </a:schemeClr>
                </a:solidFill>
              </a:rPr>
              <a:t>Componentes Clave de </a:t>
            </a:r>
            <a:r>
              <a:rPr lang="es-CO" err="1">
                <a:solidFill>
                  <a:schemeClr val="tx1">
                    <a:lumMod val="75000"/>
                  </a:schemeClr>
                </a:solidFill>
              </a:rPr>
              <a:t>DoD</a:t>
            </a:r>
            <a:endParaRPr lang="es-CO">
              <a:solidFill>
                <a:schemeClr val="tx1">
                  <a:lumMod val="75000"/>
                </a:schemeClr>
              </a:solidFill>
            </a:endParaRPr>
          </a:p>
        </p:txBody>
      </p:sp>
      <p:sp>
        <p:nvSpPr>
          <p:cNvPr id="9" name="Text Placeholder 8">
            <a:extLst>
              <a:ext uri="{FF2B5EF4-FFF2-40B4-BE49-F238E27FC236}">
                <a16:creationId xmlns:a16="http://schemas.microsoft.com/office/drawing/2014/main" id="{45C7C125-E622-0645-94BE-A5B625AF3081}"/>
              </a:ext>
            </a:extLst>
          </p:cNvPr>
          <p:cNvSpPr>
            <a:spLocks noGrp="1"/>
          </p:cNvSpPr>
          <p:nvPr>
            <p:ph type="body" sz="quarter" idx="11"/>
          </p:nvPr>
        </p:nvSpPr>
        <p:spPr>
          <a:xfrm>
            <a:off x="471489" y="2251163"/>
            <a:ext cx="6853871" cy="4342677"/>
          </a:xfrm>
        </p:spPr>
        <p:txBody>
          <a:bodyPr/>
          <a:lstStyle/>
          <a:p>
            <a:pPr marL="0" lvl="0" indent="0">
              <a:buNone/>
            </a:pPr>
            <a:r>
              <a:rPr lang="es-ES" b="1">
                <a:solidFill>
                  <a:srgbClr val="7849B8"/>
                </a:solidFill>
                <a:latin typeface="+mj-lt"/>
              </a:rPr>
              <a:t>Criterios de Calidad:</a:t>
            </a:r>
          </a:p>
          <a:p>
            <a:pPr marL="742950" lvl="1" indent="-285750">
              <a:buFont typeface="Arial" panose="020B0604020202020204" pitchFamily="34" charset="0"/>
              <a:buChar char="•"/>
            </a:pPr>
            <a:r>
              <a:rPr lang="es-ES" sz="1600" b="1">
                <a:solidFill>
                  <a:schemeClr val="tx1"/>
                </a:solidFill>
              </a:rPr>
              <a:t>Pruebas Completas: </a:t>
            </a:r>
            <a:r>
              <a:rPr lang="es-ES" sz="1600">
                <a:solidFill>
                  <a:schemeClr val="tx1"/>
                </a:solidFill>
              </a:rPr>
              <a:t>Código probado a fondo.</a:t>
            </a:r>
          </a:p>
          <a:p>
            <a:pPr marL="742950" lvl="1" indent="-285750">
              <a:buFont typeface="Arial" panose="020B0604020202020204" pitchFamily="34" charset="0"/>
              <a:buChar char="•"/>
            </a:pPr>
            <a:r>
              <a:rPr lang="es-ES" sz="1600" b="1">
                <a:solidFill>
                  <a:schemeClr val="tx1"/>
                </a:solidFill>
              </a:rPr>
              <a:t>Despliegue en Entorno de Prueba</a:t>
            </a:r>
            <a:r>
              <a:rPr lang="es-ES" sz="1600">
                <a:solidFill>
                  <a:schemeClr val="tx1"/>
                </a:solidFill>
              </a:rPr>
              <a:t>s: Incremento probado por el equipo.</a:t>
            </a:r>
          </a:p>
          <a:p>
            <a:pPr marL="742950" lvl="1" indent="-285750">
              <a:buFont typeface="Arial" panose="020B0604020202020204" pitchFamily="34" charset="0"/>
              <a:buChar char="•"/>
            </a:pPr>
            <a:r>
              <a:rPr lang="es-ES" sz="1600" b="1">
                <a:solidFill>
                  <a:schemeClr val="tx1"/>
                </a:solidFill>
              </a:rPr>
              <a:t>Documentación Completa: </a:t>
            </a:r>
            <a:r>
              <a:rPr lang="es-ES" sz="1600">
                <a:solidFill>
                  <a:schemeClr val="tx1"/>
                </a:solidFill>
              </a:rPr>
              <a:t>Toda la documentación escrita y editada.</a:t>
            </a:r>
          </a:p>
          <a:p>
            <a:pPr marL="742950" lvl="1" indent="-285750">
              <a:buFont typeface="Arial" panose="020B0604020202020204" pitchFamily="34" charset="0"/>
              <a:buChar char="•"/>
            </a:pPr>
            <a:endParaRPr lang="es-ES" sz="1600">
              <a:solidFill>
                <a:schemeClr val="tx1"/>
              </a:solidFill>
            </a:endParaRPr>
          </a:p>
          <a:p>
            <a:pPr marL="0" lvl="0" indent="0">
              <a:buNone/>
            </a:pPr>
            <a:r>
              <a:rPr lang="es-ES" b="1">
                <a:solidFill>
                  <a:srgbClr val="7849B8"/>
                </a:solidFill>
                <a:latin typeface="+mj-lt"/>
              </a:rPr>
              <a:t>Beneficios:</a:t>
            </a:r>
          </a:p>
          <a:p>
            <a:pPr marL="742950" lvl="1" indent="-285750" algn="just">
              <a:buFont typeface="Arial" panose="020B0604020202020204" pitchFamily="34" charset="0"/>
              <a:buChar char="•"/>
            </a:pPr>
            <a:r>
              <a:rPr lang="es-ES" sz="1600" b="1">
                <a:solidFill>
                  <a:schemeClr val="tx1"/>
                </a:solidFill>
              </a:rPr>
              <a:t>Mejora la Calidad: </a:t>
            </a:r>
            <a:r>
              <a:rPr lang="es-ES" sz="1600">
                <a:solidFill>
                  <a:schemeClr val="tx1"/>
                </a:solidFill>
              </a:rPr>
              <a:t>Asegura estándares de calidad.</a:t>
            </a:r>
          </a:p>
          <a:p>
            <a:pPr marL="742950" lvl="1" indent="-285750" algn="just">
              <a:buFont typeface="Arial" panose="020B0604020202020204" pitchFamily="34" charset="0"/>
              <a:buChar char="•"/>
            </a:pPr>
            <a:r>
              <a:rPr lang="es-ES" sz="1600" b="1">
                <a:solidFill>
                  <a:schemeClr val="tx1"/>
                </a:solidFill>
              </a:rPr>
              <a:t>Minimiza Riesgos: </a:t>
            </a:r>
            <a:r>
              <a:rPr lang="es-ES" sz="1600">
                <a:solidFill>
                  <a:schemeClr val="tx1"/>
                </a:solidFill>
              </a:rPr>
              <a:t>Reduce la necesidad de retrabajo.</a:t>
            </a:r>
          </a:p>
          <a:p>
            <a:pPr marL="742950" lvl="1" indent="-285750" algn="just">
              <a:buFont typeface="Arial" panose="020B0604020202020204" pitchFamily="34" charset="0"/>
              <a:buChar char="•"/>
            </a:pPr>
            <a:r>
              <a:rPr lang="es-ES" sz="1600" b="1">
                <a:solidFill>
                  <a:schemeClr val="tx1"/>
                </a:solidFill>
              </a:rPr>
              <a:t>Alineación del Equipo: </a:t>
            </a:r>
            <a:r>
              <a:rPr lang="es-ES" sz="1600">
                <a:solidFill>
                  <a:schemeClr val="tx1"/>
                </a:solidFill>
              </a:rPr>
              <a:t>Fomenta un entendimiento compartido.</a:t>
            </a:r>
          </a:p>
          <a:p>
            <a:pPr marL="742950" lvl="1" indent="-285750" algn="just">
              <a:buFont typeface="Arial" panose="020B0604020202020204" pitchFamily="34" charset="0"/>
              <a:buChar char="•"/>
            </a:pPr>
            <a:r>
              <a:rPr lang="es-ES" sz="1600" b="1">
                <a:solidFill>
                  <a:schemeClr val="tx1"/>
                </a:solidFill>
              </a:rPr>
              <a:t>Medición del Progreso: </a:t>
            </a:r>
            <a:r>
              <a:rPr lang="es-ES" sz="1600">
                <a:solidFill>
                  <a:schemeClr val="tx1"/>
                </a:solidFill>
              </a:rPr>
              <a:t>Permite rastrear el progreso del equipo.</a:t>
            </a:r>
          </a:p>
        </p:txBody>
      </p:sp>
      <p:sp>
        <p:nvSpPr>
          <p:cNvPr id="7" name="Text Placeholder 6">
            <a:extLst>
              <a:ext uri="{FF2B5EF4-FFF2-40B4-BE49-F238E27FC236}">
                <a16:creationId xmlns:a16="http://schemas.microsoft.com/office/drawing/2014/main" id="{F35508B9-1530-7C4C-9241-CA61453DEABE}"/>
              </a:ext>
            </a:extLst>
          </p:cNvPr>
          <p:cNvSpPr>
            <a:spLocks noGrp="1"/>
          </p:cNvSpPr>
          <p:nvPr>
            <p:ph type="body" sz="quarter" idx="13"/>
          </p:nvPr>
        </p:nvSpPr>
        <p:spPr/>
        <p:txBody>
          <a:bodyPr>
            <a:normAutofit fontScale="85000" lnSpcReduction="10000"/>
          </a:bodyPr>
          <a:lstStyle/>
          <a:p>
            <a:r>
              <a:rPr lang="es-ES">
                <a:solidFill>
                  <a:schemeClr val="tx2"/>
                </a:solidFill>
              </a:rPr>
              <a:t>Componentes Clave de la Definición de Hecho (</a:t>
            </a:r>
            <a:r>
              <a:rPr lang="es-ES" err="1">
                <a:solidFill>
                  <a:schemeClr val="tx2"/>
                </a:solidFill>
              </a:rPr>
              <a:t>DoD</a:t>
            </a:r>
            <a:r>
              <a:rPr lang="es-ES">
                <a:solidFill>
                  <a:schemeClr val="tx2"/>
                </a:solidFill>
              </a:rPr>
              <a:t>)</a:t>
            </a:r>
            <a:endParaRPr lang="en-CA">
              <a:solidFill>
                <a:schemeClr val="tx2"/>
              </a:solidFill>
            </a:endParaRPr>
          </a:p>
        </p:txBody>
      </p:sp>
      <p:pic>
        <p:nvPicPr>
          <p:cNvPr id="3" name="Picture 2">
            <a:extLst>
              <a:ext uri="{FF2B5EF4-FFF2-40B4-BE49-F238E27FC236}">
                <a16:creationId xmlns:a16="http://schemas.microsoft.com/office/drawing/2014/main" id="{F9ED06FA-BD74-B666-5381-6B6E7BDEE031}"/>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53A7B3E-F4FB-D051-BA76-0A0D2FD6948A}"/>
              </a:ext>
            </a:extLst>
          </p:cNvPr>
          <p:cNvSpPr/>
          <p:nvPr/>
        </p:nvSpPr>
        <p:spPr>
          <a:xfrm>
            <a:off x="7607299" y="0"/>
            <a:ext cx="4584304" cy="6857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2" descr="Upstream Kanban: The 5-Step Process to Narrowing Down Your Customer  Requests | Nave">
            <a:extLst>
              <a:ext uri="{FF2B5EF4-FFF2-40B4-BE49-F238E27FC236}">
                <a16:creationId xmlns:a16="http://schemas.microsoft.com/office/drawing/2014/main" id="{A09C9B65-1E4A-E6D4-3F25-A05D02B931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270" r="9622"/>
          <a:stretch/>
        </p:blipFill>
        <p:spPr bwMode="auto">
          <a:xfrm>
            <a:off x="7751563" y="2383747"/>
            <a:ext cx="4295775" cy="20902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Oval 4">
            <a:extLst>
              <a:ext uri="{FF2B5EF4-FFF2-40B4-BE49-F238E27FC236}">
                <a16:creationId xmlns:a16="http://schemas.microsoft.com/office/drawing/2014/main" id="{980CEDCF-3803-D856-2C1B-3759103F8DA6}"/>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10" name="Picture 2">
            <a:extLst>
              <a:ext uri="{FF2B5EF4-FFF2-40B4-BE49-F238E27FC236}">
                <a16:creationId xmlns:a16="http://schemas.microsoft.com/office/drawing/2014/main" id="{88F65CA5-1FC7-99F9-8BF0-0AB0953B0CCC}"/>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388"/>
            <a:ext cx="873363" cy="398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918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D62500-9A4F-A449-8AAB-EDF9313D113D}"/>
              </a:ext>
            </a:extLst>
          </p:cNvPr>
          <p:cNvSpPr>
            <a:spLocks noGrp="1"/>
          </p:cNvSpPr>
          <p:nvPr>
            <p:ph type="body" sz="quarter" idx="10"/>
          </p:nvPr>
        </p:nvSpPr>
        <p:spPr/>
        <p:txBody>
          <a:bodyPr/>
          <a:lstStyle/>
          <a:p>
            <a:r>
              <a:rPr lang="en-CA"/>
              <a:t>01 Section header</a:t>
            </a:r>
          </a:p>
        </p:txBody>
      </p:sp>
      <p:sp>
        <p:nvSpPr>
          <p:cNvPr id="3" name="Title 2">
            <a:extLst>
              <a:ext uri="{FF2B5EF4-FFF2-40B4-BE49-F238E27FC236}">
                <a16:creationId xmlns:a16="http://schemas.microsoft.com/office/drawing/2014/main" id="{372B8CEA-2D4E-F843-BD9D-12460561D1EA}"/>
              </a:ext>
            </a:extLst>
          </p:cNvPr>
          <p:cNvSpPr>
            <a:spLocks noGrp="1"/>
          </p:cNvSpPr>
          <p:nvPr>
            <p:ph type="title"/>
          </p:nvPr>
        </p:nvSpPr>
        <p:spPr>
          <a:xfrm>
            <a:off x="615718" y="1226533"/>
            <a:ext cx="4651585" cy="530090"/>
          </a:xfrm>
        </p:spPr>
        <p:txBody>
          <a:bodyPr/>
          <a:lstStyle/>
          <a:p>
            <a:pPr algn="ctr"/>
            <a:r>
              <a:rPr lang="es-CO" sz="3600" b="1" i="0">
                <a:solidFill>
                  <a:schemeClr val="tx1">
                    <a:lumMod val="75000"/>
                  </a:schemeClr>
                </a:solidFill>
                <a:effectLst/>
                <a:latin typeface="Segoe UI" panose="020B0502040204020203" pitchFamily="34" charset="0"/>
              </a:rPr>
              <a:t>Pasos para Crear </a:t>
            </a:r>
            <a:r>
              <a:rPr lang="es-CO" sz="3600" b="1" i="0" err="1">
                <a:solidFill>
                  <a:schemeClr val="tx1">
                    <a:lumMod val="75000"/>
                  </a:schemeClr>
                </a:solidFill>
                <a:effectLst/>
                <a:latin typeface="Segoe UI" panose="020B0502040204020203" pitchFamily="34" charset="0"/>
              </a:rPr>
              <a:t>DoR</a:t>
            </a:r>
            <a:r>
              <a:rPr lang="es-CO" sz="3600" b="1" i="0">
                <a:solidFill>
                  <a:schemeClr val="tx1">
                    <a:lumMod val="75000"/>
                  </a:schemeClr>
                </a:solidFill>
                <a:effectLst/>
                <a:latin typeface="Segoe UI" panose="020B0502040204020203" pitchFamily="34" charset="0"/>
              </a:rPr>
              <a:t>:</a:t>
            </a:r>
            <a:br>
              <a:rPr lang="es-CO" sz="3600" b="0" i="0">
                <a:solidFill>
                  <a:schemeClr val="tx1">
                    <a:lumMod val="75000"/>
                  </a:schemeClr>
                </a:solidFill>
                <a:effectLst/>
                <a:latin typeface="Segoe UI" panose="020B0502040204020203" pitchFamily="34" charset="0"/>
              </a:rPr>
            </a:br>
            <a:endParaRPr lang="es-CO" sz="3600">
              <a:solidFill>
                <a:schemeClr val="tx1">
                  <a:lumMod val="75000"/>
                </a:schemeClr>
              </a:solidFill>
            </a:endParaRPr>
          </a:p>
        </p:txBody>
      </p:sp>
      <p:sp>
        <p:nvSpPr>
          <p:cNvPr id="4" name="Text Placeholder 3">
            <a:extLst>
              <a:ext uri="{FF2B5EF4-FFF2-40B4-BE49-F238E27FC236}">
                <a16:creationId xmlns:a16="http://schemas.microsoft.com/office/drawing/2014/main" id="{672BB2D1-D4F0-3343-9A72-8E44AC102A71}"/>
              </a:ext>
            </a:extLst>
          </p:cNvPr>
          <p:cNvSpPr>
            <a:spLocks noGrp="1"/>
          </p:cNvSpPr>
          <p:nvPr>
            <p:ph type="body" sz="quarter" idx="11"/>
          </p:nvPr>
        </p:nvSpPr>
        <p:spPr>
          <a:xfrm>
            <a:off x="613410" y="2451418"/>
            <a:ext cx="4489450" cy="4081462"/>
          </a:xfrm>
        </p:spPr>
        <p:txBody>
          <a:bodyPr/>
          <a:lstStyle/>
          <a:p>
            <a:pPr lvl="0">
              <a:defRPr/>
            </a:pPr>
            <a:r>
              <a:rPr lang="es-ES">
                <a:solidFill>
                  <a:srgbClr val="333333"/>
                </a:solidFill>
              </a:rPr>
              <a:t>Definir responsabilidades del equipo.</a:t>
            </a:r>
          </a:p>
          <a:p>
            <a:pPr lvl="0">
              <a:defRPr/>
            </a:pPr>
            <a:r>
              <a:rPr lang="es-ES">
                <a:solidFill>
                  <a:srgbClr val="333333"/>
                </a:solidFill>
              </a:rPr>
              <a:t>Involucrar a los interesados.</a:t>
            </a:r>
          </a:p>
          <a:p>
            <a:pPr lvl="0">
              <a:defRPr/>
            </a:pPr>
            <a:r>
              <a:rPr lang="es-ES">
                <a:solidFill>
                  <a:srgbClr val="333333"/>
                </a:solidFill>
              </a:rPr>
              <a:t>Especificar la estructura y formato de </a:t>
            </a:r>
            <a:r>
              <a:rPr lang="es-ES" err="1">
                <a:solidFill>
                  <a:srgbClr val="333333"/>
                </a:solidFill>
              </a:rPr>
              <a:t>DoR</a:t>
            </a:r>
            <a:r>
              <a:rPr lang="es-ES">
                <a:solidFill>
                  <a:srgbClr val="333333"/>
                </a:solidFill>
              </a:rPr>
              <a:t>.</a:t>
            </a:r>
          </a:p>
          <a:p>
            <a:pPr lvl="0">
              <a:defRPr/>
            </a:pPr>
            <a:r>
              <a:rPr lang="es-ES">
                <a:solidFill>
                  <a:srgbClr val="333333"/>
                </a:solidFill>
              </a:rPr>
              <a:t>Mantener el backlog ordenado.</a:t>
            </a:r>
          </a:p>
          <a:p>
            <a:pPr lvl="0">
              <a:defRPr/>
            </a:pPr>
            <a:r>
              <a:rPr lang="es-ES">
                <a:solidFill>
                  <a:srgbClr val="333333"/>
                </a:solidFill>
              </a:rPr>
              <a:t>Asegurar el cumplimiento de INVEST.</a:t>
            </a:r>
          </a:p>
          <a:p>
            <a:pPr lvl="0">
              <a:defRPr/>
            </a:pPr>
            <a:r>
              <a:rPr lang="es-ES">
                <a:solidFill>
                  <a:srgbClr val="333333"/>
                </a:solidFill>
              </a:rPr>
              <a:t>Revisar y actualizar regularmente.</a:t>
            </a:r>
            <a:endParaRPr lang="en-CA">
              <a:solidFill>
                <a:srgbClr val="333333"/>
              </a:solidFill>
            </a:endParaRPr>
          </a:p>
        </p:txBody>
      </p:sp>
      <p:sp>
        <p:nvSpPr>
          <p:cNvPr id="5" name="Text Placeholder 4">
            <a:extLst>
              <a:ext uri="{FF2B5EF4-FFF2-40B4-BE49-F238E27FC236}">
                <a16:creationId xmlns:a16="http://schemas.microsoft.com/office/drawing/2014/main" id="{D23712E6-1257-E24D-8339-AFCAFB1C3C6F}"/>
              </a:ext>
            </a:extLst>
          </p:cNvPr>
          <p:cNvSpPr>
            <a:spLocks noGrp="1"/>
          </p:cNvSpPr>
          <p:nvPr>
            <p:ph type="body" sz="quarter" idx="12"/>
          </p:nvPr>
        </p:nvSpPr>
        <p:spPr>
          <a:xfrm>
            <a:off x="6980900" y="2451418"/>
            <a:ext cx="4351542" cy="4081462"/>
          </a:xfrm>
        </p:spPr>
        <p:txBody>
          <a:bodyPr>
            <a:normAutofit/>
          </a:bodyPr>
          <a:lstStyle/>
          <a:p>
            <a:pPr marL="371475" lvl="0" indent="-371475">
              <a:buFont typeface="+mj-lt"/>
              <a:buAutoNum type="arabicPeriod"/>
              <a:defRPr/>
            </a:pPr>
            <a:r>
              <a:rPr lang="es-ES">
                <a:solidFill>
                  <a:srgbClr val="333333"/>
                </a:solidFill>
              </a:rPr>
              <a:t>Trabajar con el equipo adecuado.</a:t>
            </a:r>
          </a:p>
          <a:p>
            <a:pPr marL="371475" lvl="0" indent="-371475">
              <a:buFont typeface="+mj-lt"/>
              <a:buAutoNum type="arabicPeriod"/>
              <a:defRPr/>
            </a:pPr>
            <a:r>
              <a:rPr lang="es-ES">
                <a:solidFill>
                  <a:srgbClr val="333333"/>
                </a:solidFill>
              </a:rPr>
              <a:t>Establecer criterios específicos y medibles.</a:t>
            </a:r>
          </a:p>
          <a:p>
            <a:pPr marL="371475" lvl="0" indent="-371475">
              <a:buFont typeface="+mj-lt"/>
              <a:buAutoNum type="arabicPeriod"/>
              <a:defRPr/>
            </a:pPr>
            <a:r>
              <a:rPr lang="es-ES">
                <a:solidFill>
                  <a:srgbClr val="333333"/>
                </a:solidFill>
              </a:rPr>
              <a:t>Construir una lista de verificación de finalización.</a:t>
            </a:r>
          </a:p>
          <a:p>
            <a:pPr marL="371475" lvl="0" indent="-371475">
              <a:buFont typeface="+mj-lt"/>
              <a:buAutoNum type="arabicPeriod"/>
              <a:defRPr/>
            </a:pPr>
            <a:r>
              <a:rPr lang="es-ES">
                <a:solidFill>
                  <a:srgbClr val="333333"/>
                </a:solidFill>
              </a:rPr>
              <a:t>Asignar criterios de aceptación a las historias de usuario.</a:t>
            </a:r>
          </a:p>
          <a:p>
            <a:pPr marL="371475" lvl="0" indent="-371475">
              <a:buFont typeface="+mj-lt"/>
              <a:buAutoNum type="arabicPeriod"/>
              <a:defRPr/>
            </a:pPr>
            <a:r>
              <a:rPr lang="es-ES">
                <a:solidFill>
                  <a:srgbClr val="333333"/>
                </a:solidFill>
              </a:rPr>
              <a:t>Revisar y actualizar regularmente.</a:t>
            </a:r>
            <a:endParaRPr lang="en-CA" sz="1400">
              <a:solidFill>
                <a:srgbClr val="333333"/>
              </a:solidFill>
            </a:endParaRPr>
          </a:p>
        </p:txBody>
      </p:sp>
      <p:sp>
        <p:nvSpPr>
          <p:cNvPr id="6" name="Text Placeholder 5">
            <a:extLst>
              <a:ext uri="{FF2B5EF4-FFF2-40B4-BE49-F238E27FC236}">
                <a16:creationId xmlns:a16="http://schemas.microsoft.com/office/drawing/2014/main" id="{68162E2A-56BA-D74B-9B96-22845C6AA2D5}"/>
              </a:ext>
            </a:extLst>
          </p:cNvPr>
          <p:cNvSpPr>
            <a:spLocks noGrp="1"/>
          </p:cNvSpPr>
          <p:nvPr>
            <p:ph type="body" sz="quarter" idx="13"/>
          </p:nvPr>
        </p:nvSpPr>
        <p:spPr>
          <a:xfrm>
            <a:off x="6974755" y="1226503"/>
            <a:ext cx="3797301" cy="563562"/>
          </a:xfrm>
        </p:spPr>
        <p:txBody>
          <a:bodyPr vert="horz" lIns="0" tIns="0" rIns="0" bIns="0" rtlCol="0" anchor="t">
            <a:noAutofit/>
          </a:bodyPr>
          <a:lstStyle/>
          <a:p>
            <a:pPr algn="ctr">
              <a:spcBef>
                <a:spcPct val="0"/>
              </a:spcBef>
            </a:pPr>
            <a:r>
              <a:rPr lang="es-CO" sz="3600" b="1">
                <a:solidFill>
                  <a:schemeClr val="tx1">
                    <a:lumMod val="75000"/>
                  </a:schemeClr>
                </a:solidFill>
                <a:latin typeface="Segoe UI" panose="020B0502040204020203" pitchFamily="34" charset="0"/>
                <a:ea typeface="+mj-ea"/>
                <a:cs typeface="+mj-cs"/>
              </a:rPr>
              <a:t>Pasos para Crear </a:t>
            </a:r>
            <a:r>
              <a:rPr lang="es-CO" sz="3600" b="1" err="1">
                <a:solidFill>
                  <a:schemeClr val="tx1">
                    <a:lumMod val="75000"/>
                  </a:schemeClr>
                </a:solidFill>
                <a:latin typeface="Segoe UI" panose="020B0502040204020203" pitchFamily="34" charset="0"/>
                <a:ea typeface="+mj-ea"/>
                <a:cs typeface="+mj-cs"/>
              </a:rPr>
              <a:t>DoD</a:t>
            </a:r>
            <a:r>
              <a:rPr lang="es-CO" sz="3600" b="1">
                <a:solidFill>
                  <a:schemeClr val="tx1">
                    <a:lumMod val="75000"/>
                  </a:schemeClr>
                </a:solidFill>
                <a:latin typeface="Segoe UI" panose="020B0502040204020203" pitchFamily="34" charset="0"/>
                <a:ea typeface="+mj-ea"/>
                <a:cs typeface="+mj-cs"/>
              </a:rPr>
              <a:t>:</a:t>
            </a:r>
          </a:p>
        </p:txBody>
      </p:sp>
      <p:sp>
        <p:nvSpPr>
          <p:cNvPr id="7" name="Content Placeholder 6">
            <a:extLst>
              <a:ext uri="{FF2B5EF4-FFF2-40B4-BE49-F238E27FC236}">
                <a16:creationId xmlns:a16="http://schemas.microsoft.com/office/drawing/2014/main" id="{19AA43B8-7355-704B-BF3B-DA019228A784}"/>
              </a:ext>
            </a:extLst>
          </p:cNvPr>
          <p:cNvSpPr>
            <a:spLocks noGrp="1"/>
          </p:cNvSpPr>
          <p:nvPr>
            <p:ph sz="quarter" idx="14"/>
          </p:nvPr>
        </p:nvSpPr>
        <p:spPr>
          <a:xfrm>
            <a:off x="5624771" y="1255261"/>
            <a:ext cx="925200" cy="925200"/>
          </a:xfrm>
        </p:spPr>
        <p:txBody>
          <a:bodyPr/>
          <a:lstStyle/>
          <a:p>
            <a:r>
              <a:rPr lang="en-CA"/>
              <a:t>VS</a:t>
            </a:r>
          </a:p>
        </p:txBody>
      </p:sp>
      <p:pic>
        <p:nvPicPr>
          <p:cNvPr id="8" name="Picture 2">
            <a:extLst>
              <a:ext uri="{FF2B5EF4-FFF2-40B4-BE49-F238E27FC236}">
                <a16:creationId xmlns:a16="http://schemas.microsoft.com/office/drawing/2014/main" id="{26922B45-1CA6-45E5-FAE5-0B3F2EC3670D}"/>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70160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D62500-9A4F-A449-8AAB-EDF9313D113D}"/>
              </a:ext>
            </a:extLst>
          </p:cNvPr>
          <p:cNvSpPr>
            <a:spLocks noGrp="1"/>
          </p:cNvSpPr>
          <p:nvPr>
            <p:ph type="body" sz="quarter" idx="10"/>
          </p:nvPr>
        </p:nvSpPr>
        <p:spPr/>
        <p:txBody>
          <a:bodyPr/>
          <a:lstStyle/>
          <a:p>
            <a:r>
              <a:rPr lang="en-CA"/>
              <a:t>01 Section header</a:t>
            </a:r>
          </a:p>
        </p:txBody>
      </p:sp>
      <p:sp>
        <p:nvSpPr>
          <p:cNvPr id="3" name="Title 2">
            <a:extLst>
              <a:ext uri="{FF2B5EF4-FFF2-40B4-BE49-F238E27FC236}">
                <a16:creationId xmlns:a16="http://schemas.microsoft.com/office/drawing/2014/main" id="{372B8CEA-2D4E-F843-BD9D-12460561D1EA}"/>
              </a:ext>
            </a:extLst>
          </p:cNvPr>
          <p:cNvSpPr>
            <a:spLocks noGrp="1"/>
          </p:cNvSpPr>
          <p:nvPr>
            <p:ph type="title"/>
          </p:nvPr>
        </p:nvSpPr>
        <p:spPr>
          <a:xfrm>
            <a:off x="615718" y="1226533"/>
            <a:ext cx="4651585" cy="530090"/>
          </a:xfrm>
        </p:spPr>
        <p:txBody>
          <a:bodyPr/>
          <a:lstStyle/>
          <a:p>
            <a:pPr algn="ctr"/>
            <a:r>
              <a:rPr lang="es-CO" sz="3600" b="1" i="0">
                <a:solidFill>
                  <a:schemeClr val="tx1">
                    <a:lumMod val="75000"/>
                  </a:schemeClr>
                </a:solidFill>
                <a:effectLst/>
                <a:latin typeface="Segoe UI" panose="020B0502040204020203" pitchFamily="34" charset="0"/>
              </a:rPr>
              <a:t>Ejemplo </a:t>
            </a:r>
            <a:r>
              <a:rPr lang="es-CO" sz="3600" b="1" i="0" err="1">
                <a:solidFill>
                  <a:schemeClr val="tx1">
                    <a:lumMod val="75000"/>
                  </a:schemeClr>
                </a:solidFill>
                <a:effectLst/>
                <a:latin typeface="Segoe UI" panose="020B0502040204020203" pitchFamily="34" charset="0"/>
              </a:rPr>
              <a:t>DoR</a:t>
            </a:r>
            <a:r>
              <a:rPr lang="es-CO" sz="3600" b="1" i="0">
                <a:solidFill>
                  <a:schemeClr val="tx1">
                    <a:lumMod val="75000"/>
                  </a:schemeClr>
                </a:solidFill>
                <a:effectLst/>
                <a:latin typeface="Segoe UI" panose="020B0502040204020203" pitchFamily="34" charset="0"/>
              </a:rPr>
              <a:t>:</a:t>
            </a:r>
            <a:br>
              <a:rPr lang="es-CO" sz="3600" b="0" i="0">
                <a:solidFill>
                  <a:schemeClr val="tx1">
                    <a:lumMod val="75000"/>
                  </a:schemeClr>
                </a:solidFill>
                <a:effectLst/>
                <a:latin typeface="Segoe UI" panose="020B0502040204020203" pitchFamily="34" charset="0"/>
              </a:rPr>
            </a:br>
            <a:endParaRPr lang="es-CO" sz="3600">
              <a:solidFill>
                <a:schemeClr val="tx1">
                  <a:lumMod val="75000"/>
                </a:schemeClr>
              </a:solidFill>
            </a:endParaRPr>
          </a:p>
        </p:txBody>
      </p:sp>
      <p:sp>
        <p:nvSpPr>
          <p:cNvPr id="4" name="Text Placeholder 3">
            <a:extLst>
              <a:ext uri="{FF2B5EF4-FFF2-40B4-BE49-F238E27FC236}">
                <a16:creationId xmlns:a16="http://schemas.microsoft.com/office/drawing/2014/main" id="{672BB2D1-D4F0-3343-9A72-8E44AC102A71}"/>
              </a:ext>
            </a:extLst>
          </p:cNvPr>
          <p:cNvSpPr>
            <a:spLocks noGrp="1"/>
          </p:cNvSpPr>
          <p:nvPr>
            <p:ph type="body" sz="quarter" idx="11"/>
          </p:nvPr>
        </p:nvSpPr>
        <p:spPr>
          <a:xfrm>
            <a:off x="615719" y="2349818"/>
            <a:ext cx="4845340" cy="4081462"/>
          </a:xfrm>
        </p:spPr>
        <p:txBody>
          <a:bodyPr vert="horz" lIns="0" tIns="0" rIns="0" bIns="0" rtlCol="0" anchor="t">
            <a:normAutofit/>
          </a:bodyPr>
          <a:lstStyle/>
          <a:p>
            <a:pPr marL="200025" indent="-171450" algn="just">
              <a:lnSpc>
                <a:spcPct val="100000"/>
              </a:lnSpc>
              <a:buFont typeface="Arial" panose="020B0604020202020204" pitchFamily="34" charset="0"/>
              <a:buChar char="•"/>
            </a:pPr>
            <a:r>
              <a:rPr lang="es-ES" sz="1100" b="1">
                <a:solidFill>
                  <a:srgbClr val="242424"/>
                </a:solidFill>
                <a:latin typeface="Segoe UI"/>
                <a:cs typeface="Segoe UI"/>
              </a:rPr>
              <a:t>Viabilidad: </a:t>
            </a:r>
            <a:r>
              <a:rPr lang="es-ES" sz="1100">
                <a:solidFill>
                  <a:srgbClr val="242424"/>
                </a:solidFill>
                <a:latin typeface="Segoe UI"/>
                <a:cs typeface="Segoe UI"/>
              </a:rPr>
              <a:t>La historia de usuario</a:t>
            </a:r>
            <a:r>
              <a:rPr lang="es-ES" sz="1100" b="1">
                <a:solidFill>
                  <a:srgbClr val="242424"/>
                </a:solidFill>
                <a:latin typeface="Segoe UI"/>
                <a:cs typeface="Segoe UI"/>
              </a:rPr>
              <a:t> </a:t>
            </a:r>
            <a:r>
              <a:rPr lang="es-ES" sz="1100">
                <a:solidFill>
                  <a:srgbClr val="242424"/>
                </a:solidFill>
                <a:latin typeface="Segoe UI"/>
                <a:cs typeface="Segoe UI"/>
              </a:rPr>
              <a:t>debe ser viable y alcanzable dentro de la iteración y no debe tener dependencias. </a:t>
            </a:r>
          </a:p>
          <a:p>
            <a:pPr marL="200025" indent="-171450" algn="just">
              <a:lnSpc>
                <a:spcPct val="100000"/>
              </a:lnSpc>
              <a:buFont typeface="Arial" panose="020B0604020202020204" pitchFamily="34" charset="0"/>
              <a:buChar char="•"/>
            </a:pPr>
            <a:r>
              <a:rPr lang="es-ES" sz="1100" b="1" i="0">
                <a:solidFill>
                  <a:srgbClr val="242424"/>
                </a:solidFill>
                <a:effectLst/>
                <a:latin typeface="Segoe UI"/>
                <a:cs typeface="Segoe UI"/>
              </a:rPr>
              <a:t>Comprensión Compartida:</a:t>
            </a:r>
            <a:r>
              <a:rPr lang="es-ES" sz="1100" b="0" i="0">
                <a:solidFill>
                  <a:srgbClr val="242424"/>
                </a:solidFill>
                <a:effectLst/>
                <a:latin typeface="Segoe UI"/>
                <a:cs typeface="Segoe UI"/>
              </a:rPr>
              <a:t> El equipo entiende colectivamente </a:t>
            </a:r>
            <a:r>
              <a:rPr lang="es-ES" sz="1100">
                <a:solidFill>
                  <a:srgbClr val="242424"/>
                </a:solidFill>
                <a:latin typeface="Segoe UI"/>
                <a:cs typeface="Segoe UI"/>
              </a:rPr>
              <a:t>la necesidad y valor de la Historia de Usuario/</a:t>
            </a:r>
            <a:r>
              <a:rPr lang="es-ES" sz="1100" err="1">
                <a:solidFill>
                  <a:srgbClr val="242424"/>
                </a:solidFill>
                <a:latin typeface="Segoe UI"/>
                <a:cs typeface="Segoe UI"/>
              </a:rPr>
              <a:t>User</a:t>
            </a:r>
            <a:r>
              <a:rPr lang="es-ES" sz="1100">
                <a:solidFill>
                  <a:srgbClr val="242424"/>
                </a:solidFill>
                <a:latin typeface="Segoe UI"/>
                <a:cs typeface="Segoe UI"/>
              </a:rPr>
              <a:t> </a:t>
            </a:r>
            <a:r>
              <a:rPr lang="es-ES" sz="1100" err="1">
                <a:solidFill>
                  <a:srgbClr val="242424"/>
                </a:solidFill>
                <a:latin typeface="Segoe UI"/>
                <a:cs typeface="Segoe UI"/>
              </a:rPr>
              <a:t>Story</a:t>
            </a:r>
            <a:r>
              <a:rPr lang="es-ES" sz="1100">
                <a:solidFill>
                  <a:srgbClr val="242424"/>
                </a:solidFill>
                <a:latin typeface="Segoe UI"/>
                <a:cs typeface="Segoe UI"/>
              </a:rPr>
              <a:t>.</a:t>
            </a:r>
          </a:p>
          <a:p>
            <a:pPr marL="200025" indent="-171450" algn="just">
              <a:lnSpc>
                <a:spcPct val="100000"/>
              </a:lnSpc>
              <a:buFont typeface="Arial" panose="020B0604020202020204" pitchFamily="34" charset="0"/>
              <a:buChar char="•"/>
            </a:pPr>
            <a:r>
              <a:rPr lang="es-ES" sz="1100" b="1">
                <a:solidFill>
                  <a:srgbClr val="242424"/>
                </a:solidFill>
                <a:latin typeface="Segoe UI"/>
                <a:cs typeface="Segoe UI"/>
              </a:rPr>
              <a:t>Valor</a:t>
            </a:r>
            <a:r>
              <a:rPr lang="es-ES" sz="1100" b="1" i="0">
                <a:solidFill>
                  <a:srgbClr val="242424"/>
                </a:solidFill>
                <a:effectLst/>
                <a:latin typeface="Segoe UI"/>
                <a:cs typeface="Segoe UI"/>
              </a:rPr>
              <a:t>:</a:t>
            </a:r>
            <a:r>
              <a:rPr lang="es-ES" sz="1100" b="0" i="0">
                <a:solidFill>
                  <a:srgbClr val="242424"/>
                </a:solidFill>
                <a:effectLst/>
                <a:latin typeface="Segoe UI"/>
                <a:cs typeface="Segoe UI"/>
              </a:rPr>
              <a:t> El equipo reconoce el impacto</a:t>
            </a:r>
            <a:r>
              <a:rPr lang="es-ES" sz="1100">
                <a:solidFill>
                  <a:srgbClr val="242424"/>
                </a:solidFill>
                <a:latin typeface="Segoe UI"/>
                <a:cs typeface="Segoe UI"/>
              </a:rPr>
              <a:t> hacia</a:t>
            </a:r>
            <a:r>
              <a:rPr lang="es-ES" sz="1100" b="0" i="0">
                <a:solidFill>
                  <a:srgbClr val="242424"/>
                </a:solidFill>
                <a:effectLst/>
                <a:latin typeface="Segoe UI"/>
                <a:cs typeface="Segoe UI"/>
              </a:rPr>
              <a:t> </a:t>
            </a:r>
            <a:r>
              <a:rPr lang="es-ES" sz="1100">
                <a:solidFill>
                  <a:srgbClr val="242424"/>
                </a:solidFill>
                <a:latin typeface="Segoe UI"/>
                <a:cs typeface="Segoe UI"/>
              </a:rPr>
              <a:t>el cliente</a:t>
            </a:r>
            <a:r>
              <a:rPr lang="es-ES" sz="1100" b="0" i="0">
                <a:solidFill>
                  <a:srgbClr val="242424"/>
                </a:solidFill>
                <a:effectLst/>
                <a:latin typeface="Segoe UI"/>
                <a:cs typeface="Segoe UI"/>
              </a:rPr>
              <a:t> y el negocio.</a:t>
            </a:r>
            <a:endParaRPr lang="es-ES"/>
          </a:p>
          <a:p>
            <a:pPr marL="200025" indent="-171450" algn="just">
              <a:lnSpc>
                <a:spcPct val="100000"/>
              </a:lnSpc>
              <a:buFont typeface="Arial" panose="020B0604020202020204" pitchFamily="34" charset="0"/>
              <a:buChar char="•"/>
            </a:pPr>
            <a:r>
              <a:rPr lang="es-ES" sz="1100" b="1" i="0">
                <a:solidFill>
                  <a:srgbClr val="242424"/>
                </a:solidFill>
                <a:effectLst/>
                <a:latin typeface="Segoe UI"/>
                <a:cs typeface="Segoe UI"/>
              </a:rPr>
              <a:t>Criterios y Cronograma:</a:t>
            </a:r>
            <a:r>
              <a:rPr lang="es-ES" sz="1100" b="0" i="0">
                <a:solidFill>
                  <a:srgbClr val="242424"/>
                </a:solidFill>
                <a:effectLst/>
                <a:latin typeface="Segoe UI"/>
                <a:cs typeface="Segoe UI"/>
              </a:rPr>
              <a:t> El equipo </a:t>
            </a:r>
            <a:r>
              <a:rPr lang="es-ES" sz="1100">
                <a:solidFill>
                  <a:srgbClr val="242424"/>
                </a:solidFill>
                <a:latin typeface="Segoe UI"/>
                <a:cs typeface="Segoe UI"/>
              </a:rPr>
              <a:t>realiza una estimación relativa para</a:t>
            </a:r>
            <a:r>
              <a:rPr lang="es-ES" sz="1100" b="0" i="0">
                <a:solidFill>
                  <a:srgbClr val="242424"/>
                </a:solidFill>
                <a:effectLst/>
                <a:latin typeface="Segoe UI"/>
                <a:cs typeface="Segoe UI"/>
              </a:rPr>
              <a:t> completar la </a:t>
            </a:r>
            <a:r>
              <a:rPr lang="es-ES" sz="1100">
                <a:solidFill>
                  <a:srgbClr val="242424"/>
                </a:solidFill>
                <a:latin typeface="Segoe UI"/>
                <a:cs typeface="Segoe UI"/>
              </a:rPr>
              <a:t>US basado</a:t>
            </a:r>
            <a:r>
              <a:rPr lang="es-ES" sz="1100" b="0" i="0">
                <a:solidFill>
                  <a:srgbClr val="242424"/>
                </a:solidFill>
                <a:effectLst/>
                <a:latin typeface="Segoe UI"/>
                <a:cs typeface="Segoe UI"/>
              </a:rPr>
              <a:t> en puntos de referencia clave</a:t>
            </a:r>
            <a:r>
              <a:rPr lang="es-ES" sz="1100">
                <a:solidFill>
                  <a:srgbClr val="242424"/>
                </a:solidFill>
                <a:latin typeface="Segoe UI"/>
                <a:cs typeface="Segoe UI"/>
              </a:rPr>
              <a:t> (Pivote).</a:t>
            </a:r>
            <a:endParaRPr lang="es-ES" sz="1100" b="0" i="0">
              <a:solidFill>
                <a:srgbClr val="242424"/>
              </a:solidFill>
              <a:effectLst/>
              <a:latin typeface="Segoe UI"/>
              <a:cs typeface="Segoe UI"/>
            </a:endParaRPr>
          </a:p>
          <a:p>
            <a:pPr marL="200025" indent="-171450" algn="just">
              <a:lnSpc>
                <a:spcPct val="100000"/>
              </a:lnSpc>
              <a:buFont typeface="Arial" panose="020B0604020202020204" pitchFamily="34" charset="0"/>
              <a:buChar char="•"/>
            </a:pPr>
            <a:r>
              <a:rPr lang="es-ES" sz="1100" b="1" i="0">
                <a:solidFill>
                  <a:srgbClr val="242424"/>
                </a:solidFill>
                <a:effectLst/>
                <a:latin typeface="Segoe UI"/>
                <a:cs typeface="Segoe UI"/>
              </a:rPr>
              <a:t>Comprobable y Verificable:</a:t>
            </a:r>
            <a:r>
              <a:rPr lang="es-ES" sz="1100" b="0" i="0">
                <a:solidFill>
                  <a:srgbClr val="242424"/>
                </a:solidFill>
                <a:effectLst/>
                <a:latin typeface="Segoe UI"/>
                <a:cs typeface="Segoe UI"/>
              </a:rPr>
              <a:t> </a:t>
            </a:r>
            <a:r>
              <a:rPr lang="es-ES" sz="1100">
                <a:solidFill>
                  <a:srgbClr val="242424"/>
                </a:solidFill>
                <a:latin typeface="Segoe UI"/>
                <a:cs typeface="Segoe UI"/>
              </a:rPr>
              <a:t>Se establecieron los criterios de aceptación para validar la historia de usuario una vez se complete</a:t>
            </a:r>
            <a:endParaRPr lang="es-ES" sz="1100" b="0" i="0">
              <a:solidFill>
                <a:srgbClr val="242424"/>
              </a:solidFill>
              <a:effectLst/>
              <a:latin typeface="Segoe UI" panose="020B0502040204020203" pitchFamily="34" charset="0"/>
              <a:cs typeface="Segoe UI"/>
            </a:endParaRPr>
          </a:p>
          <a:p>
            <a:pPr marL="0" indent="0" algn="just">
              <a:buNone/>
            </a:pPr>
            <a:br>
              <a:rPr lang="es-ES" sz="1100"/>
            </a:br>
            <a:endParaRPr lang="en-CA" sz="1100">
              <a:solidFill>
                <a:srgbClr val="333333"/>
              </a:solidFill>
            </a:endParaRPr>
          </a:p>
        </p:txBody>
      </p:sp>
      <p:sp>
        <p:nvSpPr>
          <p:cNvPr id="5" name="Text Placeholder 4">
            <a:extLst>
              <a:ext uri="{FF2B5EF4-FFF2-40B4-BE49-F238E27FC236}">
                <a16:creationId xmlns:a16="http://schemas.microsoft.com/office/drawing/2014/main" id="{D23712E6-1257-E24D-8339-AFCAFB1C3C6F}"/>
              </a:ext>
            </a:extLst>
          </p:cNvPr>
          <p:cNvSpPr>
            <a:spLocks noGrp="1"/>
          </p:cNvSpPr>
          <p:nvPr>
            <p:ph type="body" sz="quarter" idx="12"/>
          </p:nvPr>
        </p:nvSpPr>
        <p:spPr>
          <a:xfrm>
            <a:off x="6980900" y="2451418"/>
            <a:ext cx="4845340" cy="4081462"/>
          </a:xfrm>
        </p:spPr>
        <p:txBody>
          <a:bodyPr vert="horz" lIns="0" tIns="0" rIns="0" bIns="0" rtlCol="0" anchor="t">
            <a:normAutofit/>
          </a:bodyPr>
          <a:lstStyle/>
          <a:p>
            <a:pPr marL="171450" indent="-171450" algn="just">
              <a:lnSpc>
                <a:spcPct val="100000"/>
              </a:lnSpc>
              <a:buFont typeface="Arial" panose="020B0604020202020204" pitchFamily="34" charset="0"/>
              <a:buChar char="•"/>
            </a:pPr>
            <a:r>
              <a:rPr lang="es-ES" sz="1100" b="1">
                <a:solidFill>
                  <a:srgbClr val="242424"/>
                </a:solidFill>
                <a:latin typeface="Segoe UI" panose="020B0502040204020203" pitchFamily="34" charset="0"/>
              </a:rPr>
              <a:t>Pruebas Completas: </a:t>
            </a:r>
            <a:r>
              <a:rPr lang="es-ES" sz="1100">
                <a:solidFill>
                  <a:srgbClr val="242424"/>
                </a:solidFill>
                <a:latin typeface="Segoe UI" panose="020B0502040204020203" pitchFamily="34" charset="0"/>
              </a:rPr>
              <a:t>Todo el código probado a fondo mediante pruebas unitarias, de integración y de extremo a extremo.</a:t>
            </a:r>
            <a:endParaRPr lang="en-US"/>
          </a:p>
          <a:p>
            <a:pPr marL="171450" indent="-171450" algn="just">
              <a:lnSpc>
                <a:spcPct val="100000"/>
              </a:lnSpc>
              <a:buFont typeface="Arial" panose="020B0604020202020204" pitchFamily="34" charset="0"/>
              <a:buChar char="•"/>
            </a:pPr>
            <a:r>
              <a:rPr lang="es-ES" sz="1100" b="1">
                <a:solidFill>
                  <a:srgbClr val="242424"/>
                </a:solidFill>
                <a:latin typeface="Segoe UI"/>
                <a:cs typeface="Segoe UI"/>
              </a:rPr>
              <a:t>Despliegue en Entorno de Pruebas: </a:t>
            </a:r>
            <a:r>
              <a:rPr lang="es-ES" sz="1100">
                <a:solidFill>
                  <a:srgbClr val="242424"/>
                </a:solidFill>
                <a:latin typeface="Segoe UI"/>
                <a:cs typeface="Segoe UI"/>
              </a:rPr>
              <a:t>Incremento de producto desplegado y probado por el equipo.</a:t>
            </a:r>
          </a:p>
          <a:p>
            <a:pPr marL="171450" indent="-171450" algn="just">
              <a:lnSpc>
                <a:spcPct val="100000"/>
              </a:lnSpc>
              <a:buFont typeface="Arial" panose="020B0604020202020204" pitchFamily="34" charset="0"/>
              <a:buChar char="•"/>
            </a:pPr>
            <a:r>
              <a:rPr lang="es-ES" sz="1100" b="1">
                <a:solidFill>
                  <a:srgbClr val="242424"/>
                </a:solidFill>
                <a:latin typeface="Segoe UI"/>
                <a:cs typeface="Segoe UI"/>
              </a:rPr>
              <a:t>Documentación Completa: </a:t>
            </a:r>
            <a:r>
              <a:rPr lang="es-ES" sz="1100">
                <a:solidFill>
                  <a:srgbClr val="242424"/>
                </a:solidFill>
                <a:latin typeface="Segoe UI"/>
                <a:cs typeface="Segoe UI"/>
              </a:rPr>
              <a:t>Toda la documentación escrita y editada.</a:t>
            </a:r>
          </a:p>
        </p:txBody>
      </p:sp>
      <p:sp>
        <p:nvSpPr>
          <p:cNvPr id="6" name="Text Placeholder 5">
            <a:extLst>
              <a:ext uri="{FF2B5EF4-FFF2-40B4-BE49-F238E27FC236}">
                <a16:creationId xmlns:a16="http://schemas.microsoft.com/office/drawing/2014/main" id="{68162E2A-56BA-D74B-9B96-22845C6AA2D5}"/>
              </a:ext>
            </a:extLst>
          </p:cNvPr>
          <p:cNvSpPr>
            <a:spLocks noGrp="1"/>
          </p:cNvSpPr>
          <p:nvPr>
            <p:ph type="body" sz="quarter" idx="13"/>
          </p:nvPr>
        </p:nvSpPr>
        <p:spPr>
          <a:xfrm>
            <a:off x="6974755" y="1226503"/>
            <a:ext cx="3797301" cy="563562"/>
          </a:xfrm>
        </p:spPr>
        <p:txBody>
          <a:bodyPr vert="horz" lIns="0" tIns="0" rIns="0" bIns="0" rtlCol="0" anchor="t">
            <a:noAutofit/>
          </a:bodyPr>
          <a:lstStyle/>
          <a:p>
            <a:pPr algn="ctr">
              <a:spcBef>
                <a:spcPct val="0"/>
              </a:spcBef>
            </a:pPr>
            <a:r>
              <a:rPr lang="es-CO" sz="3600" b="1">
                <a:solidFill>
                  <a:schemeClr val="tx1">
                    <a:lumMod val="75000"/>
                  </a:schemeClr>
                </a:solidFill>
                <a:latin typeface="Segoe UI" panose="020B0502040204020203" pitchFamily="34" charset="0"/>
                <a:ea typeface="+mj-ea"/>
                <a:cs typeface="+mj-cs"/>
              </a:rPr>
              <a:t>Ejemplo </a:t>
            </a:r>
            <a:r>
              <a:rPr lang="es-CO" sz="3600" b="1" err="1">
                <a:solidFill>
                  <a:schemeClr val="tx1">
                    <a:lumMod val="75000"/>
                  </a:schemeClr>
                </a:solidFill>
                <a:latin typeface="Segoe UI" panose="020B0502040204020203" pitchFamily="34" charset="0"/>
                <a:ea typeface="+mj-ea"/>
                <a:cs typeface="+mj-cs"/>
              </a:rPr>
              <a:t>DoD</a:t>
            </a:r>
            <a:r>
              <a:rPr lang="es-CO" sz="3600" b="1">
                <a:solidFill>
                  <a:schemeClr val="tx1">
                    <a:lumMod val="75000"/>
                  </a:schemeClr>
                </a:solidFill>
                <a:latin typeface="Segoe UI" panose="020B0502040204020203" pitchFamily="34" charset="0"/>
                <a:ea typeface="+mj-ea"/>
                <a:cs typeface="+mj-cs"/>
              </a:rPr>
              <a:t>:</a:t>
            </a:r>
          </a:p>
        </p:txBody>
      </p:sp>
      <p:sp>
        <p:nvSpPr>
          <p:cNvPr id="7" name="Content Placeholder 6">
            <a:extLst>
              <a:ext uri="{FF2B5EF4-FFF2-40B4-BE49-F238E27FC236}">
                <a16:creationId xmlns:a16="http://schemas.microsoft.com/office/drawing/2014/main" id="{19AA43B8-7355-704B-BF3B-DA019228A784}"/>
              </a:ext>
            </a:extLst>
          </p:cNvPr>
          <p:cNvSpPr>
            <a:spLocks noGrp="1"/>
          </p:cNvSpPr>
          <p:nvPr>
            <p:ph sz="quarter" idx="14"/>
          </p:nvPr>
        </p:nvSpPr>
        <p:spPr>
          <a:xfrm>
            <a:off x="5624771" y="1255261"/>
            <a:ext cx="925200" cy="925200"/>
          </a:xfrm>
        </p:spPr>
        <p:txBody>
          <a:bodyPr/>
          <a:lstStyle/>
          <a:p>
            <a:r>
              <a:rPr lang="en-CA"/>
              <a:t>VS</a:t>
            </a:r>
          </a:p>
        </p:txBody>
      </p:sp>
      <p:pic>
        <p:nvPicPr>
          <p:cNvPr id="8" name="Picture 2">
            <a:extLst>
              <a:ext uri="{FF2B5EF4-FFF2-40B4-BE49-F238E27FC236}">
                <a16:creationId xmlns:a16="http://schemas.microsoft.com/office/drawing/2014/main" id="{BBAAE67D-1803-4B27-24C1-4FF098E3C1C7}"/>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a:extLst>
              <a:ext uri="{FF2B5EF4-FFF2-40B4-BE49-F238E27FC236}">
                <a16:creationId xmlns:a16="http://schemas.microsoft.com/office/drawing/2014/main" id="{EF21AA75-EF46-3F14-4130-B2BE4FE64A05}"/>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38753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AD76BB95-FEDE-CC4A-AE48-375D58A0196F}"/>
              </a:ext>
            </a:extLst>
          </p:cNvPr>
          <p:cNvSpPr txBox="1"/>
          <p:nvPr/>
        </p:nvSpPr>
        <p:spPr>
          <a:xfrm>
            <a:off x="363496" y="1022408"/>
            <a:ext cx="3214592" cy="67710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n-US" sz="4400" b="1">
                <a:solidFill>
                  <a:schemeClr val="bg2"/>
                </a:solidFill>
                <a:latin typeface="Scotia Headline" panose="020B0503020203020204" pitchFamily="34" charset="0"/>
              </a:rPr>
              <a:t>Agenda</a:t>
            </a:r>
            <a:endParaRPr sz="4400" b="1">
              <a:solidFill>
                <a:schemeClr val="bg2"/>
              </a:solidFill>
              <a:latin typeface="Scotia Headline" panose="020B0503020203020204" pitchFamily="34" charset="0"/>
            </a:endParaRPr>
          </a:p>
        </p:txBody>
      </p:sp>
      <p:sp>
        <p:nvSpPr>
          <p:cNvPr id="4" name="TextBox 3">
            <a:extLst>
              <a:ext uri="{FF2B5EF4-FFF2-40B4-BE49-F238E27FC236}">
                <a16:creationId xmlns:a16="http://schemas.microsoft.com/office/drawing/2014/main" id="{55B8879B-1461-AB4B-BB2F-C31DB0EBD94B}"/>
              </a:ext>
            </a:extLst>
          </p:cNvPr>
          <p:cNvSpPr txBox="1"/>
          <p:nvPr/>
        </p:nvSpPr>
        <p:spPr>
          <a:xfrm>
            <a:off x="4544111" y="761867"/>
            <a:ext cx="1038325" cy="482863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nSpc>
                <a:spcPct val="250000"/>
              </a:lnSpc>
            </a:pPr>
            <a:r>
              <a:rPr lang="en-US" sz="1600" b="1">
                <a:solidFill>
                  <a:schemeClr val="tx2"/>
                </a:solidFill>
                <a:latin typeface="Scotia Headline" panose="020B0503020203020204" pitchFamily="34" charset="0"/>
              </a:rPr>
              <a:t>01</a:t>
            </a:r>
          </a:p>
          <a:p>
            <a:pPr>
              <a:lnSpc>
                <a:spcPct val="250000"/>
              </a:lnSpc>
            </a:pPr>
            <a:r>
              <a:rPr lang="en-US" sz="1600" b="1">
                <a:solidFill>
                  <a:schemeClr val="tx2"/>
                </a:solidFill>
                <a:latin typeface="Scotia Headline" panose="020B0503020203020204" pitchFamily="34" charset="0"/>
              </a:rPr>
              <a:t>02</a:t>
            </a:r>
          </a:p>
          <a:p>
            <a:pPr>
              <a:lnSpc>
                <a:spcPct val="250000"/>
              </a:lnSpc>
            </a:pPr>
            <a:r>
              <a:rPr lang="en-US" sz="1600" b="1">
                <a:solidFill>
                  <a:schemeClr val="tx2"/>
                </a:solidFill>
                <a:latin typeface="Scotia Headline" panose="020B0503020203020204" pitchFamily="34" charset="0"/>
              </a:rPr>
              <a:t>03</a:t>
            </a:r>
          </a:p>
          <a:p>
            <a:pPr>
              <a:lnSpc>
                <a:spcPct val="250000"/>
              </a:lnSpc>
            </a:pPr>
            <a:r>
              <a:rPr lang="en-US" sz="1600" b="1">
                <a:solidFill>
                  <a:schemeClr val="tx2"/>
                </a:solidFill>
                <a:latin typeface="Scotia Headline" panose="020B0503020203020204" pitchFamily="34" charset="0"/>
              </a:rPr>
              <a:t>04</a:t>
            </a:r>
          </a:p>
          <a:p>
            <a:pPr>
              <a:lnSpc>
                <a:spcPct val="250000"/>
              </a:lnSpc>
            </a:pPr>
            <a:r>
              <a:rPr lang="en-US" sz="1600" b="1">
                <a:solidFill>
                  <a:schemeClr val="tx2"/>
                </a:solidFill>
                <a:latin typeface="Scotia Headline" panose="020B0503020203020204" pitchFamily="34" charset="0"/>
              </a:rPr>
              <a:t>05</a:t>
            </a:r>
          </a:p>
          <a:p>
            <a:pPr>
              <a:lnSpc>
                <a:spcPct val="250000"/>
              </a:lnSpc>
            </a:pPr>
            <a:r>
              <a:rPr lang="es-MX" sz="1600" b="1">
                <a:solidFill>
                  <a:schemeClr val="tx2"/>
                </a:solidFill>
                <a:latin typeface="Scotia Headline" panose="020B0503020203020204" pitchFamily="34" charset="0"/>
              </a:rPr>
              <a:t>06</a:t>
            </a:r>
          </a:p>
          <a:p>
            <a:pPr>
              <a:lnSpc>
                <a:spcPct val="250000"/>
              </a:lnSpc>
            </a:pPr>
            <a:endParaRPr lang="es-MX" sz="1600" b="1">
              <a:solidFill>
                <a:schemeClr val="tx2"/>
              </a:solidFill>
              <a:latin typeface="Scotia Headline" panose="020B0503020203020204" pitchFamily="34" charset="0"/>
            </a:endParaRPr>
          </a:p>
          <a:p>
            <a:pPr>
              <a:lnSpc>
                <a:spcPct val="250000"/>
              </a:lnSpc>
            </a:pPr>
            <a:endParaRPr lang="es-MX" sz="1600" b="1">
              <a:solidFill>
                <a:schemeClr val="tx2"/>
              </a:solidFill>
              <a:latin typeface="Scotia Headline" panose="020B0503020203020204" pitchFamily="34" charset="0"/>
            </a:endParaRPr>
          </a:p>
        </p:txBody>
      </p:sp>
      <p:sp>
        <p:nvSpPr>
          <p:cNvPr id="2" name="TextBox 1">
            <a:extLst>
              <a:ext uri="{FF2B5EF4-FFF2-40B4-BE49-F238E27FC236}">
                <a16:creationId xmlns:a16="http://schemas.microsoft.com/office/drawing/2014/main" id="{55E5E797-CEB6-3140-B3A9-4CEEE83928C5}"/>
              </a:ext>
            </a:extLst>
          </p:cNvPr>
          <p:cNvSpPr txBox="1"/>
          <p:nvPr/>
        </p:nvSpPr>
        <p:spPr>
          <a:xfrm>
            <a:off x="5307892" y="761611"/>
            <a:ext cx="5474933" cy="3597523"/>
          </a:xfrm>
          <a:prstGeom prst="rect">
            <a:avLst/>
          </a:prstGeom>
          <a:noFill/>
        </p:spPr>
        <p:txBody>
          <a:bodyPr wrap="square" lIns="0" tIns="0" rIns="0" bIns="0" rtlCol="0" anchor="t">
            <a:spAutoFit/>
          </a:bodyPr>
          <a:lstStyle/>
          <a:p>
            <a:pPr>
              <a:lnSpc>
                <a:spcPct val="250000"/>
              </a:lnSpc>
              <a:buClr>
                <a:schemeClr val="tx2"/>
              </a:buClr>
            </a:pPr>
            <a:r>
              <a:rPr lang="es-ES" sz="1600" b="1">
                <a:latin typeface="Scotia Headline"/>
              </a:rPr>
              <a:t>¿Qué es una </a:t>
            </a:r>
            <a:r>
              <a:rPr lang="es-ES" sz="1600" b="1" err="1">
                <a:latin typeface="Scotia Headline"/>
              </a:rPr>
              <a:t>Epica</a:t>
            </a:r>
            <a:r>
              <a:rPr lang="es-ES" sz="1600" b="1">
                <a:latin typeface="Scotia Headline"/>
              </a:rPr>
              <a:t>/</a:t>
            </a:r>
            <a:r>
              <a:rPr lang="es-ES" sz="1600" b="1" err="1">
                <a:latin typeface="Scotia Headline"/>
              </a:rPr>
              <a:t>Epic</a:t>
            </a:r>
            <a:r>
              <a:rPr lang="es-ES" sz="1600" b="1">
                <a:latin typeface="Scotia Headline"/>
              </a:rPr>
              <a:t>?</a:t>
            </a:r>
          </a:p>
          <a:p>
            <a:pPr>
              <a:lnSpc>
                <a:spcPct val="250000"/>
              </a:lnSpc>
              <a:buClr>
                <a:schemeClr val="tx2"/>
              </a:buClr>
            </a:pPr>
            <a:r>
              <a:rPr lang="es-ES" sz="1600" b="1">
                <a:latin typeface="Scotia Headline"/>
              </a:rPr>
              <a:t>¿Qué es una historia de usuario/</a:t>
            </a:r>
            <a:r>
              <a:rPr lang="es-ES" sz="1600" b="1" err="1">
                <a:latin typeface="Scotia Headline"/>
              </a:rPr>
              <a:t>User</a:t>
            </a:r>
            <a:r>
              <a:rPr lang="es-ES" sz="1600" b="1">
                <a:latin typeface="Scotia Headline"/>
              </a:rPr>
              <a:t> </a:t>
            </a:r>
            <a:r>
              <a:rPr lang="es-ES" sz="1600" b="1" err="1">
                <a:latin typeface="Scotia Headline"/>
              </a:rPr>
              <a:t>Story</a:t>
            </a:r>
            <a:r>
              <a:rPr lang="es-ES" sz="1600" b="1">
                <a:latin typeface="Scotia Headline"/>
              </a:rPr>
              <a:t>?</a:t>
            </a:r>
          </a:p>
          <a:p>
            <a:pPr>
              <a:lnSpc>
                <a:spcPct val="250000"/>
              </a:lnSpc>
              <a:buClr>
                <a:schemeClr val="tx2"/>
              </a:buClr>
            </a:pPr>
            <a:r>
              <a:rPr lang="es-ES" sz="1600" b="1">
                <a:latin typeface="Scotia Headline"/>
              </a:rPr>
              <a:t>¿Cómo se escribe una historia de usuario/</a:t>
            </a:r>
            <a:r>
              <a:rPr lang="es-ES" sz="1600" b="1" err="1">
                <a:latin typeface="Scotia Headline"/>
              </a:rPr>
              <a:t>User</a:t>
            </a:r>
            <a:r>
              <a:rPr lang="es-ES" sz="1600" b="1">
                <a:latin typeface="Scotia Headline"/>
              </a:rPr>
              <a:t> </a:t>
            </a:r>
            <a:r>
              <a:rPr lang="es-ES" sz="1600" b="1" err="1">
                <a:latin typeface="Scotia Headline"/>
              </a:rPr>
              <a:t>Story</a:t>
            </a:r>
            <a:r>
              <a:rPr lang="es-ES" sz="1600" b="1">
                <a:latin typeface="Scotia Headline"/>
              </a:rPr>
              <a:t>?</a:t>
            </a:r>
          </a:p>
          <a:p>
            <a:pPr>
              <a:lnSpc>
                <a:spcPct val="250000"/>
              </a:lnSpc>
              <a:buClr>
                <a:schemeClr val="tx2"/>
              </a:buClr>
            </a:pPr>
            <a:r>
              <a:rPr lang="es-ES" sz="1600" b="1">
                <a:latin typeface="Scotia Headline"/>
              </a:rPr>
              <a:t>Criterios de aceptación/</a:t>
            </a:r>
            <a:r>
              <a:rPr lang="es-ES" sz="1600" b="1" err="1">
                <a:latin typeface="Scotia Headline"/>
              </a:rPr>
              <a:t>Acceptance</a:t>
            </a:r>
            <a:r>
              <a:rPr lang="es-ES" sz="1600" b="1">
                <a:latin typeface="Scotia Headline"/>
              </a:rPr>
              <a:t> </a:t>
            </a:r>
            <a:r>
              <a:rPr lang="es-ES" sz="1600" b="1" err="1">
                <a:latin typeface="Scotia Headline"/>
              </a:rPr>
              <a:t>criteria</a:t>
            </a:r>
            <a:endParaRPr lang="es-ES" sz="1600" b="1">
              <a:latin typeface="Scotia Headline"/>
            </a:endParaRPr>
          </a:p>
          <a:p>
            <a:pPr>
              <a:lnSpc>
                <a:spcPct val="250000"/>
              </a:lnSpc>
              <a:buClr>
                <a:schemeClr val="tx2"/>
              </a:buClr>
            </a:pPr>
            <a:r>
              <a:rPr lang="es-ES" sz="1600" b="1">
                <a:latin typeface="Scotia Headline"/>
              </a:rPr>
              <a:t>¿Qué es un </a:t>
            </a:r>
            <a:r>
              <a:rPr lang="es-ES" sz="1600" b="1" err="1">
                <a:latin typeface="Scotia Headline"/>
              </a:rPr>
              <a:t>DoR</a:t>
            </a:r>
            <a:r>
              <a:rPr lang="es-ES" sz="1600" b="1">
                <a:latin typeface="Scotia Headline"/>
              </a:rPr>
              <a:t> &amp; </a:t>
            </a:r>
            <a:r>
              <a:rPr lang="es-ES" sz="1600" b="1" err="1">
                <a:latin typeface="Scotia Headline"/>
              </a:rPr>
              <a:t>DoD</a:t>
            </a:r>
            <a:r>
              <a:rPr lang="es-ES" sz="1600" b="1">
                <a:latin typeface="Scotia Headline"/>
              </a:rPr>
              <a:t>?</a:t>
            </a:r>
          </a:p>
          <a:p>
            <a:pPr>
              <a:lnSpc>
                <a:spcPct val="250000"/>
              </a:lnSpc>
              <a:buClr>
                <a:schemeClr val="tx2"/>
              </a:buClr>
            </a:pPr>
            <a:r>
              <a:rPr lang="es-ES" sz="1600" b="1">
                <a:latin typeface="Scotia Headline"/>
              </a:rPr>
              <a:t>Agile Tools </a:t>
            </a:r>
            <a:endParaRPr lang="en-US" sz="1600" b="1">
              <a:latin typeface="Scotia Headline"/>
            </a:endParaRPr>
          </a:p>
        </p:txBody>
      </p:sp>
      <p:pic>
        <p:nvPicPr>
          <p:cNvPr id="5" name="Picture 2">
            <a:extLst>
              <a:ext uri="{FF2B5EF4-FFF2-40B4-BE49-F238E27FC236}">
                <a16:creationId xmlns:a16="http://schemas.microsoft.com/office/drawing/2014/main" id="{6C53E9FE-2A02-9761-193D-36D058A90BDB}"/>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79044"/>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a:extLst>
              <a:ext uri="{FF2B5EF4-FFF2-40B4-BE49-F238E27FC236}">
                <a16:creationId xmlns:a16="http://schemas.microsoft.com/office/drawing/2014/main" id="{CD3B8B45-043C-BB28-65CE-7A869474B36C}"/>
              </a:ext>
            </a:extLst>
          </p:cNvPr>
          <p:cNvSpPr/>
          <p:nvPr/>
        </p:nvSpPr>
        <p:spPr>
          <a:xfrm>
            <a:off x="11097508" y="6587825"/>
            <a:ext cx="161925" cy="149735"/>
          </a:xfrm>
          <a:prstGeom prst="ellipse">
            <a:avLst/>
          </a:prstGeom>
          <a:solidFill>
            <a:srgbClr val="7849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16751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8" name="TextBox 6">
            <a:extLst>
              <a:ext uri="{FF2B5EF4-FFF2-40B4-BE49-F238E27FC236}">
                <a16:creationId xmlns:a16="http://schemas.microsoft.com/office/drawing/2014/main" id="{2FF120AF-589D-A343-B1A4-0EF94FD6A519}"/>
              </a:ext>
            </a:extLst>
          </p:cNvPr>
          <p:cNvSpPr txBox="1"/>
          <p:nvPr/>
        </p:nvSpPr>
        <p:spPr>
          <a:xfrm>
            <a:off x="569077" y="1933206"/>
            <a:ext cx="6319995" cy="37485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sz="4900">
                <a:solidFill>
                  <a:srgbClr val="FFFFFF"/>
                </a:solidFill>
                <a:latin typeface="Gilroy ExtraBold"/>
                <a:ea typeface="Gilroy ExtraBold"/>
                <a:cs typeface="Gilroy ExtraBold"/>
                <a:sym typeface="Gilroy ExtraBold"/>
              </a:defRPr>
            </a:pPr>
            <a:r>
              <a:rPr kumimoji="0" lang="es-ES" sz="5400" b="1" i="0" u="none" strike="noStrike" kern="1200" cap="none" spc="0" normalizeH="0" baseline="0" noProof="0">
                <a:ln>
                  <a:noFill/>
                </a:ln>
                <a:solidFill>
                  <a:srgbClr val="FFFFFF"/>
                </a:solidFill>
                <a:effectLst/>
                <a:uLnTx/>
                <a:uFillTx/>
                <a:latin typeface="Scotia Headline" panose="020B0503020203020204" pitchFamily="34" charset="0"/>
                <a:sym typeface="Gilroy ExtraBold"/>
              </a:rPr>
              <a:t>Herramientas de gestión de Proyectos y/o Productos  en entornos Agiles </a:t>
            </a:r>
            <a:endParaRPr kumimoji="0" lang="es-CO" sz="5400" b="1" i="0" u="none" strike="noStrike" kern="1200" cap="none" spc="0" normalizeH="0" baseline="0" noProof="0">
              <a:ln>
                <a:noFill/>
              </a:ln>
              <a:solidFill>
                <a:srgbClr val="FFFFFF"/>
              </a:solidFill>
              <a:effectLst/>
              <a:uLnTx/>
              <a:uFillTx/>
              <a:latin typeface="Scotia Headline" panose="020B0503020203020204" pitchFamily="34" charset="0"/>
              <a:sym typeface="Gilroy ExtraBold"/>
            </a:endParaRPr>
          </a:p>
        </p:txBody>
      </p:sp>
      <p:sp>
        <p:nvSpPr>
          <p:cNvPr id="9" name="TextBox 8">
            <a:extLst>
              <a:ext uri="{FF2B5EF4-FFF2-40B4-BE49-F238E27FC236}">
                <a16:creationId xmlns:a16="http://schemas.microsoft.com/office/drawing/2014/main" id="{6E9E82A6-C5ED-A74B-A9C2-817CBA21EEDE}"/>
              </a:ext>
            </a:extLst>
          </p:cNvPr>
          <p:cNvSpPr txBox="1"/>
          <p:nvPr/>
        </p:nvSpPr>
        <p:spPr>
          <a:xfrm>
            <a:off x="569077" y="1338470"/>
            <a:ext cx="1023077" cy="4924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4900">
                <a:solidFill>
                  <a:srgbClr val="FFFFFF"/>
                </a:solidFill>
                <a:latin typeface="Gilroy ExtraBold"/>
                <a:ea typeface="Gilroy ExtraBold"/>
                <a:cs typeface="Gilroy ExtraBold"/>
                <a:sym typeface="Gilroy ExtraBold"/>
              </a:defRPr>
            </a:pPr>
            <a:r>
              <a:rPr kumimoji="0" lang="en-US" sz="3200" b="1" i="0" u="none" strike="noStrike" kern="1200" cap="none" spc="0" normalizeH="0" baseline="0" noProof="0">
                <a:ln>
                  <a:noFill/>
                </a:ln>
                <a:solidFill>
                  <a:srgbClr val="FFFFFF"/>
                </a:solidFill>
                <a:effectLst/>
                <a:uLnTx/>
                <a:uFillTx/>
                <a:latin typeface="Scotia Headline" panose="020B0503020203020204" pitchFamily="34" charset="0"/>
                <a:sym typeface="Gilroy ExtraBold"/>
              </a:rPr>
              <a:t>0</a:t>
            </a:r>
            <a:r>
              <a:rPr lang="en-US" sz="3200" b="1">
                <a:solidFill>
                  <a:srgbClr val="FFFFFF"/>
                </a:solidFill>
                <a:latin typeface="Scotia Headline" panose="020B0503020203020204" pitchFamily="34" charset="0"/>
                <a:sym typeface="Gilroy ExtraBold"/>
              </a:rPr>
              <a:t>7</a:t>
            </a:r>
            <a:endParaRPr kumimoji="0" sz="3200" b="1" i="0" u="none" strike="noStrike" kern="1200" cap="none" spc="0" normalizeH="0" baseline="0" noProof="0">
              <a:ln>
                <a:noFill/>
              </a:ln>
              <a:solidFill>
                <a:srgbClr val="FFFFFF"/>
              </a:solidFill>
              <a:effectLst/>
              <a:uLnTx/>
              <a:uFillTx/>
              <a:latin typeface="Scotia Headline" panose="020B0503020203020204" pitchFamily="34" charset="0"/>
              <a:sym typeface="Gilroy ExtraBold"/>
            </a:endParaRPr>
          </a:p>
        </p:txBody>
      </p:sp>
      <p:pic>
        <p:nvPicPr>
          <p:cNvPr id="6" name="Graphic 5" descr="Mining tools with solid fill">
            <a:extLst>
              <a:ext uri="{FF2B5EF4-FFF2-40B4-BE49-F238E27FC236}">
                <a16:creationId xmlns:a16="http://schemas.microsoft.com/office/drawing/2014/main" id="{34993AE7-FAC5-05C8-373C-8E60A4F44F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83799" y="1482572"/>
            <a:ext cx="3736943" cy="3736943"/>
          </a:xfrm>
          <a:prstGeom prst="rect">
            <a:avLst/>
          </a:prstGeom>
        </p:spPr>
      </p:pic>
      <p:pic>
        <p:nvPicPr>
          <p:cNvPr id="2" name="Picture 2">
            <a:extLst>
              <a:ext uri="{FF2B5EF4-FFF2-40B4-BE49-F238E27FC236}">
                <a16:creationId xmlns:a16="http://schemas.microsoft.com/office/drawing/2014/main" id="{5B194BEE-E53C-4BB4-12CE-39DA7DD725AC}"/>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a:extLst>
              <a:ext uri="{FF2B5EF4-FFF2-40B4-BE49-F238E27FC236}">
                <a16:creationId xmlns:a16="http://schemas.microsoft.com/office/drawing/2014/main" id="{EEA820D8-0F1E-E63A-6D7D-521C97B78093}"/>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83886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692903" y="271353"/>
            <a:ext cx="10784372" cy="757124"/>
          </a:xfrm>
          <a:prstGeom prst="rect">
            <a:avLst/>
          </a:prstGeom>
        </p:spPr>
        <p:txBody>
          <a:bodyPr vert="horz" wrap="square" lIns="91434" tIns="45717" rIns="91434" bIns="45717" rtlCol="0" anchor="b" anchorCtr="0">
            <a:spAutoFit/>
          </a:bodyPr>
          <a:lstStyle>
            <a:lvl1pPr algn="l" defTabSz="914400" rtl="0" eaLnBrk="1" latinLnBrk="0" hangingPunct="1">
              <a:lnSpc>
                <a:spcPct val="90000"/>
              </a:lnSpc>
              <a:spcBef>
                <a:spcPct val="0"/>
              </a:spcBef>
              <a:buNone/>
              <a:defRPr sz="3600" kern="1200">
                <a:solidFill>
                  <a:schemeClr val="tx1"/>
                </a:solidFill>
                <a:latin typeface="Calibri" panose="020F0502020204030204" pitchFamily="34" charset="0"/>
                <a:ea typeface="+mj-ea"/>
                <a:cs typeface="+mj-cs"/>
              </a:defRPr>
            </a:lvl1pPr>
          </a:lstStyle>
          <a:p>
            <a:pPr lvl="0">
              <a:defRPr/>
            </a:pPr>
            <a:r>
              <a:rPr lang="es-CO" sz="2400" b="1">
                <a:solidFill>
                  <a:sysClr val="windowText" lastClr="000000"/>
                </a:solidFill>
                <a:latin typeface="Calibri" panose="020F0502020204030204"/>
              </a:rPr>
              <a:t>¿Qué es JIRA? Es un agregador y radiador de información para planificación, gestión de actividades, seguimiento, informes y artefactos.</a:t>
            </a:r>
            <a:endParaRPr lang="en-CA" sz="2400" b="1">
              <a:solidFill>
                <a:sysClr val="windowText" lastClr="000000"/>
              </a:solidFill>
              <a:latin typeface="Calibri" panose="020F0502020204030204"/>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63699" y="2439804"/>
            <a:ext cx="2042779" cy="1532085"/>
          </a:xfrm>
          <a:prstGeom prst="rect">
            <a:avLst/>
          </a:prstGeom>
        </p:spPr>
      </p:pic>
      <p:sp>
        <p:nvSpPr>
          <p:cNvPr id="3" name="TextBox 2"/>
          <p:cNvSpPr txBox="1"/>
          <p:nvPr/>
        </p:nvSpPr>
        <p:spPr>
          <a:xfrm>
            <a:off x="350685" y="2889570"/>
            <a:ext cx="4195059" cy="400110"/>
          </a:xfrm>
          <a:prstGeom prst="rect">
            <a:avLst/>
          </a:prstGeom>
          <a:noFill/>
        </p:spPr>
        <p:txBody>
          <a:bodyPr wrap="none" rtlCol="0">
            <a:spAutoFit/>
          </a:bodyPr>
          <a:lstStyle/>
          <a:p>
            <a:r>
              <a:rPr lang="es-CO" sz="2000"/>
              <a:t>Planificación &amp; Gestión del Backlog.</a:t>
            </a:r>
          </a:p>
        </p:txBody>
      </p:sp>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914408" y="1194231"/>
            <a:ext cx="3781928" cy="16998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8659225" y="2855732"/>
            <a:ext cx="2381421" cy="400110"/>
          </a:xfrm>
          <a:prstGeom prst="rect">
            <a:avLst/>
          </a:prstGeom>
          <a:noFill/>
        </p:spPr>
        <p:txBody>
          <a:bodyPr wrap="none" rtlCol="0">
            <a:spAutoFit/>
          </a:bodyPr>
          <a:lstStyle/>
          <a:p>
            <a:r>
              <a:rPr lang="es-CO" sz="2000"/>
              <a:t>Actividades diarias </a:t>
            </a:r>
          </a:p>
        </p:txBody>
      </p:sp>
      <p:pic>
        <p:nvPicPr>
          <p:cNvPr id="1029" name="Picture 5"/>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93389" y="3567271"/>
            <a:ext cx="3595453" cy="1423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1759691" y="4982752"/>
            <a:ext cx="1377300" cy="400110"/>
          </a:xfrm>
          <a:prstGeom prst="rect">
            <a:avLst/>
          </a:prstGeom>
          <a:noFill/>
        </p:spPr>
        <p:txBody>
          <a:bodyPr wrap="none" rtlCol="0">
            <a:spAutoFit/>
          </a:bodyPr>
          <a:lstStyle/>
          <a:p>
            <a:r>
              <a:rPr lang="es-CO" sz="2000"/>
              <a:t>Artefactos</a:t>
            </a:r>
          </a:p>
        </p:txBody>
      </p:sp>
      <p:sp>
        <p:nvSpPr>
          <p:cNvPr id="14" name="TextBox 13"/>
          <p:cNvSpPr txBox="1"/>
          <p:nvPr/>
        </p:nvSpPr>
        <p:spPr>
          <a:xfrm>
            <a:off x="4288141" y="6228162"/>
            <a:ext cx="3848489" cy="400110"/>
          </a:xfrm>
          <a:prstGeom prst="rect">
            <a:avLst/>
          </a:prstGeom>
          <a:noFill/>
        </p:spPr>
        <p:txBody>
          <a:bodyPr wrap="none" rtlCol="0">
            <a:spAutoFit/>
          </a:bodyPr>
          <a:lstStyle/>
          <a:p>
            <a:r>
              <a:rPr lang="es-CO" sz="2000"/>
              <a:t>Historial, seguimiento, auditoría.</a:t>
            </a:r>
          </a:p>
        </p:txBody>
      </p:sp>
      <p:sp>
        <p:nvSpPr>
          <p:cNvPr id="16" name="TextBox 15"/>
          <p:cNvSpPr txBox="1"/>
          <p:nvPr/>
        </p:nvSpPr>
        <p:spPr>
          <a:xfrm>
            <a:off x="9243358" y="5331308"/>
            <a:ext cx="1213153" cy="400110"/>
          </a:xfrm>
          <a:prstGeom prst="rect">
            <a:avLst/>
          </a:prstGeom>
          <a:noFill/>
        </p:spPr>
        <p:txBody>
          <a:bodyPr wrap="none" rtlCol="0">
            <a:spAutoFit/>
          </a:bodyPr>
          <a:lstStyle/>
          <a:p>
            <a:r>
              <a:rPr lang="es-CO" sz="2000"/>
              <a:t>Reportes</a:t>
            </a:r>
          </a:p>
        </p:txBody>
      </p:sp>
      <p:cxnSp>
        <p:nvCxnSpPr>
          <p:cNvPr id="8" name="Straight Arrow Connector 7"/>
          <p:cNvCxnSpPr/>
          <p:nvPr/>
        </p:nvCxnSpPr>
        <p:spPr>
          <a:xfrm>
            <a:off x="4088843" y="2307246"/>
            <a:ext cx="1302354" cy="563277"/>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229222" y="3567272"/>
            <a:ext cx="1161975" cy="633204"/>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6138567" y="3971890"/>
            <a:ext cx="0" cy="504792"/>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flipV="1">
            <a:off x="6819853" y="3567272"/>
            <a:ext cx="1352462" cy="633204"/>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6693407" y="2194291"/>
            <a:ext cx="1040787" cy="64632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pic>
        <p:nvPicPr>
          <p:cNvPr id="6" name="Picture 2">
            <a:extLst>
              <a:ext uri="{FF2B5EF4-FFF2-40B4-BE49-F238E27FC236}">
                <a16:creationId xmlns:a16="http://schemas.microsoft.com/office/drawing/2014/main" id="{B04F4D64-AE07-3903-B5C5-23BD4C16C080}"/>
              </a:ext>
            </a:extLst>
          </p:cNvPr>
          <p:cNvPicPr>
            <a:picLocks noChangeAspect="1" noChangeArrowheads="1"/>
          </p:cNvPicPr>
          <p:nvPr/>
        </p:nvPicPr>
        <p:blipFill rotWithShape="1">
          <a:blip r:embed="rId6"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1DE2EE8C-978C-251C-24A2-836530F62C98}"/>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F38A7CCE-4877-9B32-ED1E-FC06FD246FB7}"/>
              </a:ext>
            </a:extLst>
          </p:cNvPr>
          <p:cNvPicPr>
            <a:picLocks noChangeAspect="1"/>
          </p:cNvPicPr>
          <p:nvPr/>
        </p:nvPicPr>
        <p:blipFill>
          <a:blip r:embed="rId7"/>
          <a:stretch>
            <a:fillRect/>
          </a:stretch>
        </p:blipFill>
        <p:spPr>
          <a:xfrm>
            <a:off x="956336" y="1155847"/>
            <a:ext cx="2834452" cy="1684764"/>
          </a:xfrm>
          <a:prstGeom prst="rect">
            <a:avLst/>
          </a:prstGeom>
        </p:spPr>
      </p:pic>
      <p:pic>
        <p:nvPicPr>
          <p:cNvPr id="15" name="Picture 14">
            <a:extLst>
              <a:ext uri="{FF2B5EF4-FFF2-40B4-BE49-F238E27FC236}">
                <a16:creationId xmlns:a16="http://schemas.microsoft.com/office/drawing/2014/main" id="{8A7C439E-0C1C-24EB-BFA2-1889F8760247}"/>
              </a:ext>
            </a:extLst>
          </p:cNvPr>
          <p:cNvPicPr>
            <a:picLocks noChangeAspect="1"/>
          </p:cNvPicPr>
          <p:nvPr/>
        </p:nvPicPr>
        <p:blipFill>
          <a:blip r:embed="rId8"/>
          <a:stretch>
            <a:fillRect/>
          </a:stretch>
        </p:blipFill>
        <p:spPr>
          <a:xfrm>
            <a:off x="4571348" y="4698550"/>
            <a:ext cx="2985761" cy="1609093"/>
          </a:xfrm>
          <a:prstGeom prst="rect">
            <a:avLst/>
          </a:prstGeom>
        </p:spPr>
      </p:pic>
      <p:pic>
        <p:nvPicPr>
          <p:cNvPr id="18" name="Picture 17">
            <a:extLst>
              <a:ext uri="{FF2B5EF4-FFF2-40B4-BE49-F238E27FC236}">
                <a16:creationId xmlns:a16="http://schemas.microsoft.com/office/drawing/2014/main" id="{0207CE3C-483E-B88C-64DE-376AD73F94DD}"/>
              </a:ext>
            </a:extLst>
          </p:cNvPr>
          <p:cNvPicPr>
            <a:picLocks noChangeAspect="1"/>
          </p:cNvPicPr>
          <p:nvPr/>
        </p:nvPicPr>
        <p:blipFill>
          <a:blip r:embed="rId9"/>
          <a:stretch>
            <a:fillRect/>
          </a:stretch>
        </p:blipFill>
        <p:spPr>
          <a:xfrm>
            <a:off x="8391586" y="3429000"/>
            <a:ext cx="2868459" cy="2017377"/>
          </a:xfrm>
          <a:prstGeom prst="rect">
            <a:avLst/>
          </a:prstGeom>
        </p:spPr>
      </p:pic>
    </p:spTree>
    <p:extLst>
      <p:ext uri="{BB962C8B-B14F-4D97-AF65-F5344CB8AC3E}">
        <p14:creationId xmlns:p14="http://schemas.microsoft.com/office/powerpoint/2010/main" val="41659287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2"/>
          <p:cNvSpPr txBox="1">
            <a:spLocks/>
          </p:cNvSpPr>
          <p:nvPr/>
        </p:nvSpPr>
        <p:spPr>
          <a:xfrm>
            <a:off x="692903" y="417489"/>
            <a:ext cx="10812945" cy="424726"/>
          </a:xfrm>
          <a:prstGeom prst="rect">
            <a:avLst/>
          </a:prstGeom>
        </p:spPr>
        <p:txBody>
          <a:bodyPr vert="horz" wrap="square" lIns="91434" tIns="45717" rIns="91434" bIns="45717" rtlCol="0" anchor="b" anchorCtr="0">
            <a:spAutoFit/>
          </a:bodyPr>
          <a:lstStyle>
            <a:lvl1pPr algn="l" defTabSz="914400" rtl="0" eaLnBrk="1" latinLnBrk="0" hangingPunct="1">
              <a:lnSpc>
                <a:spcPct val="90000"/>
              </a:lnSpc>
              <a:spcBef>
                <a:spcPct val="0"/>
              </a:spcBef>
              <a:buNone/>
              <a:defRPr sz="3600" kern="1200">
                <a:solidFill>
                  <a:schemeClr val="tx1"/>
                </a:solidFill>
                <a:latin typeface="Calibri" panose="020F0502020204030204" pitchFamily="34" charset="0"/>
                <a:ea typeface="+mj-ea"/>
                <a:cs typeface="+mj-cs"/>
              </a:defRPr>
            </a:lvl1pPr>
          </a:lstStyle>
          <a:p>
            <a:pPr defTabSz="914355">
              <a:defRPr/>
            </a:pPr>
            <a:r>
              <a:rPr lang="es-CO" sz="2400" b="1">
                <a:solidFill>
                  <a:sysClr val="windowText" lastClr="000000"/>
                </a:solidFill>
                <a:latin typeface="Calibri" panose="020F0502020204030204"/>
              </a:rPr>
              <a:t>Planificación y gestión del Backlog</a:t>
            </a:r>
            <a:endParaRPr lang="en-CA" sz="2400" b="1">
              <a:solidFill>
                <a:sysClr val="windowText" lastClr="000000"/>
              </a:solidFill>
              <a:latin typeface="Calibri" panose="020F0502020204030204"/>
            </a:endParaRPr>
          </a:p>
        </p:txBody>
      </p:sp>
      <p:sp>
        <p:nvSpPr>
          <p:cNvPr id="7" name="Content Placeholder 3"/>
          <p:cNvSpPr txBox="1">
            <a:spLocks/>
          </p:cNvSpPr>
          <p:nvPr/>
        </p:nvSpPr>
        <p:spPr>
          <a:xfrm>
            <a:off x="692903" y="924533"/>
            <a:ext cx="11218069" cy="488621"/>
          </a:xfrm>
          <a:prstGeom prst="rect">
            <a:avLst/>
          </a:prstGeom>
        </p:spPr>
        <p:txBody>
          <a:bodyPr vert="horz" lIns="91434" tIns="45717" rIns="91434" bIns="45717"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55">
              <a:buNone/>
              <a:defRPr/>
            </a:pPr>
            <a:r>
              <a:rPr lang="es-CO" sz="2400" b="1">
                <a:solidFill>
                  <a:sysClr val="windowText" lastClr="000000"/>
                </a:solidFill>
                <a:latin typeface="Calibri" panose="020F0502020204030204"/>
              </a:rPr>
              <a:t>Usuarios</a:t>
            </a:r>
            <a:r>
              <a:rPr lang="en-CA" sz="2400">
                <a:solidFill>
                  <a:sysClr val="windowText" lastClr="000000"/>
                </a:solidFill>
                <a:latin typeface="Calibri" panose="020F0502020204030204"/>
              </a:rPr>
              <a:t>:	Project Leads, Product Owners, Change Managers, Program Office</a:t>
            </a:r>
            <a:endParaRPr lang="en-CA" sz="2000">
              <a:solidFill>
                <a:sysClr val="windowText" lastClr="000000"/>
              </a:solidFill>
              <a:latin typeface="Calibri" panose="020F0502020204030204"/>
            </a:endParaRPr>
          </a:p>
        </p:txBody>
      </p:sp>
      <p:sp>
        <p:nvSpPr>
          <p:cNvPr id="2" name="TextBox 1"/>
          <p:cNvSpPr txBox="1"/>
          <p:nvPr/>
        </p:nvSpPr>
        <p:spPr>
          <a:xfrm>
            <a:off x="686154" y="1591910"/>
            <a:ext cx="3602991" cy="3293209"/>
          </a:xfrm>
          <a:prstGeom prst="rect">
            <a:avLst/>
          </a:prstGeom>
          <a:noFill/>
        </p:spPr>
        <p:txBody>
          <a:bodyPr wrap="square" rtlCol="0">
            <a:spAutoFit/>
          </a:bodyPr>
          <a:lstStyle/>
          <a:p>
            <a:pPr marL="285736" indent="-285736">
              <a:buFontTx/>
              <a:buChar char="-"/>
            </a:pPr>
            <a:r>
              <a:rPr lang="es-CO" sz="1600"/>
              <a:t>Identificar actividades, tareas y subtareas.</a:t>
            </a:r>
          </a:p>
          <a:p>
            <a:pPr marL="285736" indent="-285736">
              <a:buFontTx/>
              <a:buChar char="-"/>
            </a:pPr>
            <a:r>
              <a:rPr lang="es-CO" sz="1600"/>
              <a:t>Crear Backlog priorizado.</a:t>
            </a:r>
          </a:p>
          <a:p>
            <a:pPr marL="285736" indent="-285736">
              <a:buFontTx/>
              <a:buChar char="-"/>
            </a:pPr>
            <a:r>
              <a:rPr lang="es-CO" sz="1600"/>
              <a:t>Establecer fechas de vencimiento.</a:t>
            </a:r>
          </a:p>
          <a:p>
            <a:pPr marL="285736" indent="-285736">
              <a:buFontTx/>
              <a:buChar char="-"/>
            </a:pPr>
            <a:r>
              <a:rPr lang="es-CO" sz="1600"/>
              <a:t>Agrupar elementos en épicas.</a:t>
            </a:r>
          </a:p>
          <a:p>
            <a:pPr marL="285736" indent="-285736">
              <a:buFontTx/>
              <a:buChar char="-"/>
            </a:pPr>
            <a:r>
              <a:rPr lang="es-CO" sz="1600"/>
              <a:t>Definir el alcance de los </a:t>
            </a:r>
            <a:r>
              <a:rPr lang="es-CO" sz="1600" err="1"/>
              <a:t>releases</a:t>
            </a:r>
            <a:r>
              <a:rPr lang="es-CO" sz="1600"/>
              <a:t> y establecer hitos.</a:t>
            </a:r>
          </a:p>
          <a:p>
            <a:pPr marL="285736" indent="-285736">
              <a:buFontTx/>
              <a:buChar char="-"/>
            </a:pPr>
            <a:r>
              <a:rPr lang="es-CO" sz="1600"/>
              <a:t>Asignar a un período de tiempo específico (Sprint/Iteraciones).</a:t>
            </a:r>
          </a:p>
          <a:p>
            <a:pPr marL="285736" indent="-285736">
              <a:buFontTx/>
              <a:buChar char="-"/>
            </a:pPr>
            <a:r>
              <a:rPr lang="es-CO" sz="1600"/>
              <a:t>Asignar a una persona específica.</a:t>
            </a:r>
          </a:p>
          <a:p>
            <a:pPr marL="285736" indent="-285736">
              <a:buFontTx/>
              <a:buChar char="-"/>
            </a:pPr>
            <a:r>
              <a:rPr lang="es-CO" sz="1600"/>
              <a:t>Estimar esfuerzo.</a:t>
            </a:r>
          </a:p>
          <a:p>
            <a:pPr marL="285736" indent="-285736">
              <a:buFontTx/>
              <a:buChar char="-"/>
            </a:pPr>
            <a:r>
              <a:rPr lang="es-CO" sz="1600"/>
              <a:t>Enlace a artefactos.</a:t>
            </a:r>
          </a:p>
          <a:p>
            <a:pPr marL="285736" indent="-285736">
              <a:buFontTx/>
              <a:buChar char="-"/>
            </a:pPr>
            <a:r>
              <a:rPr lang="es-CO" sz="1600"/>
              <a:t>Dejar comentarios.</a:t>
            </a:r>
            <a:endParaRPr lang="en-CA" sz="1600"/>
          </a:p>
        </p:txBody>
      </p:sp>
      <p:pic>
        <p:nvPicPr>
          <p:cNvPr id="2053" name="Picture 5"/>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621197" y="1714612"/>
            <a:ext cx="6884650" cy="427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a:extLst>
              <a:ext uri="{FF2B5EF4-FFF2-40B4-BE49-F238E27FC236}">
                <a16:creationId xmlns:a16="http://schemas.microsoft.com/office/drawing/2014/main" id="{C517AAC0-7D2A-4EFD-FDA4-467EFB7976D4}"/>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a:extLst>
              <a:ext uri="{FF2B5EF4-FFF2-40B4-BE49-F238E27FC236}">
                <a16:creationId xmlns:a16="http://schemas.microsoft.com/office/drawing/2014/main" id="{CCB18B3E-0DCD-A224-FE5C-C7C6FA6DA91F}"/>
              </a:ext>
            </a:extLst>
          </p:cNvPr>
          <p:cNvSpPr/>
          <p:nvPr/>
        </p:nvSpPr>
        <p:spPr>
          <a:xfrm>
            <a:off x="11068933" y="6587825"/>
            <a:ext cx="161925" cy="149735"/>
          </a:xfrm>
          <a:prstGeom prst="ellipse">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55911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0BAFD0D-2C24-598D-7D62-631BC85ED186}"/>
              </a:ext>
            </a:extLst>
          </p:cNvPr>
          <p:cNvPicPr>
            <a:picLocks noChangeAspect="1"/>
          </p:cNvPicPr>
          <p:nvPr/>
        </p:nvPicPr>
        <p:blipFill>
          <a:blip r:embed="rId3"/>
          <a:stretch>
            <a:fillRect/>
          </a:stretch>
        </p:blipFill>
        <p:spPr>
          <a:xfrm>
            <a:off x="243627" y="844327"/>
            <a:ext cx="11704745" cy="5534192"/>
          </a:xfrm>
          <a:prstGeom prst="rect">
            <a:avLst/>
          </a:prstGeom>
        </p:spPr>
      </p:pic>
      <p:sp>
        <p:nvSpPr>
          <p:cNvPr id="2" name="Title 1">
            <a:extLst>
              <a:ext uri="{FF2B5EF4-FFF2-40B4-BE49-F238E27FC236}">
                <a16:creationId xmlns:a16="http://schemas.microsoft.com/office/drawing/2014/main" id="{747114EB-31BC-A44E-AB1F-778AFE165A5F}"/>
              </a:ext>
            </a:extLst>
          </p:cNvPr>
          <p:cNvSpPr>
            <a:spLocks noGrp="1"/>
          </p:cNvSpPr>
          <p:nvPr>
            <p:ph type="title"/>
          </p:nvPr>
        </p:nvSpPr>
        <p:spPr/>
        <p:txBody>
          <a:bodyPr/>
          <a:lstStyle/>
          <a:p>
            <a:r>
              <a:rPr lang="es-CO"/>
              <a:t>Plantilla JIRA - Backlog (Vista)</a:t>
            </a:r>
          </a:p>
        </p:txBody>
      </p:sp>
      <p:sp>
        <p:nvSpPr>
          <p:cNvPr id="3" name="TextBox 2">
            <a:extLst>
              <a:ext uri="{FF2B5EF4-FFF2-40B4-BE49-F238E27FC236}">
                <a16:creationId xmlns:a16="http://schemas.microsoft.com/office/drawing/2014/main" id="{9991CB1D-6523-42F2-8E83-ACA4043BCDD1}"/>
              </a:ext>
            </a:extLst>
          </p:cNvPr>
          <p:cNvSpPr txBox="1"/>
          <p:nvPr/>
        </p:nvSpPr>
        <p:spPr>
          <a:xfrm>
            <a:off x="856176" y="1338289"/>
            <a:ext cx="1234313" cy="288028"/>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spAutoFit/>
          </a:bodyPr>
          <a:lstStyle/>
          <a:p>
            <a:pPr algn="ctr">
              <a:lnSpc>
                <a:spcPct val="150000"/>
              </a:lnSpc>
              <a:buClr>
                <a:schemeClr val="accent5"/>
              </a:buClr>
              <a:buSzPct val="80000"/>
            </a:pPr>
            <a:r>
              <a:rPr lang="es-CO" sz="1400" b="1">
                <a:solidFill>
                  <a:srgbClr val="FF0000"/>
                </a:solidFill>
                <a:latin typeface="Scotia" panose="020B0503020203020204" pitchFamily="34" charset="0"/>
              </a:rPr>
              <a:t>Menú principal</a:t>
            </a:r>
          </a:p>
        </p:txBody>
      </p:sp>
      <p:sp>
        <p:nvSpPr>
          <p:cNvPr id="6" name="TextBox 5">
            <a:extLst>
              <a:ext uri="{FF2B5EF4-FFF2-40B4-BE49-F238E27FC236}">
                <a16:creationId xmlns:a16="http://schemas.microsoft.com/office/drawing/2014/main" id="{4688E295-8E2D-47C8-80A1-0A65BC8A0049}"/>
              </a:ext>
            </a:extLst>
          </p:cNvPr>
          <p:cNvSpPr txBox="1"/>
          <p:nvPr/>
        </p:nvSpPr>
        <p:spPr>
          <a:xfrm>
            <a:off x="838543" y="5019588"/>
            <a:ext cx="1354549" cy="800860"/>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nSpc>
                <a:spcPct val="150000"/>
              </a:lnSpc>
              <a:buClr>
                <a:schemeClr val="accent5"/>
              </a:buClr>
              <a:buSzPct val="80000"/>
            </a:pPr>
            <a:r>
              <a:rPr lang="es-CO" sz="1200" b="1">
                <a:solidFill>
                  <a:srgbClr val="FF0000"/>
                </a:solidFill>
                <a:latin typeface="Scotia" panose="020B0503020203020204" pitchFamily="34" charset="0"/>
              </a:rPr>
              <a:t>Dimensión del tiempo – Hitos, Releases </a:t>
            </a:r>
          </a:p>
        </p:txBody>
      </p:sp>
      <p:sp>
        <p:nvSpPr>
          <p:cNvPr id="7" name="TextBox 6">
            <a:extLst>
              <a:ext uri="{FF2B5EF4-FFF2-40B4-BE49-F238E27FC236}">
                <a16:creationId xmlns:a16="http://schemas.microsoft.com/office/drawing/2014/main" id="{1A1BED33-A582-4134-8B7D-DEF126645A4A}"/>
              </a:ext>
            </a:extLst>
          </p:cNvPr>
          <p:cNvSpPr txBox="1"/>
          <p:nvPr/>
        </p:nvSpPr>
        <p:spPr>
          <a:xfrm>
            <a:off x="2342326" y="4151978"/>
            <a:ext cx="1269579" cy="934358"/>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nSpc>
                <a:spcPct val="150000"/>
              </a:lnSpc>
              <a:buClr>
                <a:schemeClr val="accent5"/>
              </a:buClr>
              <a:buSzPct val="80000"/>
            </a:pPr>
            <a:r>
              <a:rPr lang="es-CO" sz="1400" b="1" err="1">
                <a:solidFill>
                  <a:srgbClr val="FF0000"/>
                </a:solidFill>
                <a:latin typeface="Scotia" panose="020B0503020203020204" pitchFamily="34" charset="0"/>
              </a:rPr>
              <a:t>Epics</a:t>
            </a:r>
            <a:r>
              <a:rPr lang="es-CO" sz="1400" b="1">
                <a:solidFill>
                  <a:srgbClr val="FF0000"/>
                </a:solidFill>
                <a:latin typeface="Scotia" panose="020B0503020203020204" pitchFamily="34" charset="0"/>
              </a:rPr>
              <a:t> – Dimensión del alcance.</a:t>
            </a:r>
          </a:p>
        </p:txBody>
      </p:sp>
      <p:sp>
        <p:nvSpPr>
          <p:cNvPr id="8" name="TextBox 7">
            <a:extLst>
              <a:ext uri="{FF2B5EF4-FFF2-40B4-BE49-F238E27FC236}">
                <a16:creationId xmlns:a16="http://schemas.microsoft.com/office/drawing/2014/main" id="{0CC70CC8-E276-40EE-802C-4C5343B5DE35}"/>
              </a:ext>
            </a:extLst>
          </p:cNvPr>
          <p:cNvSpPr txBox="1"/>
          <p:nvPr/>
        </p:nvSpPr>
        <p:spPr>
          <a:xfrm>
            <a:off x="5575716" y="1555876"/>
            <a:ext cx="1184941" cy="288028"/>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spAutoFit/>
          </a:bodyPr>
          <a:lstStyle/>
          <a:p>
            <a:pPr algn="ctr">
              <a:lnSpc>
                <a:spcPct val="150000"/>
              </a:lnSpc>
              <a:buClr>
                <a:schemeClr val="accent5"/>
              </a:buClr>
              <a:buSzPct val="80000"/>
            </a:pPr>
            <a:r>
              <a:rPr lang="es-CO" sz="1400" b="1">
                <a:solidFill>
                  <a:srgbClr val="FF0000"/>
                </a:solidFill>
                <a:latin typeface="Scotia" panose="020B0503020203020204" pitchFamily="34" charset="0"/>
              </a:rPr>
              <a:t>Filtros rápidos</a:t>
            </a:r>
          </a:p>
        </p:txBody>
      </p:sp>
      <p:sp>
        <p:nvSpPr>
          <p:cNvPr id="9" name="TextBox 8">
            <a:extLst>
              <a:ext uri="{FF2B5EF4-FFF2-40B4-BE49-F238E27FC236}">
                <a16:creationId xmlns:a16="http://schemas.microsoft.com/office/drawing/2014/main" id="{3213E498-0844-4E82-9C64-5107227401D0}"/>
              </a:ext>
            </a:extLst>
          </p:cNvPr>
          <p:cNvSpPr txBox="1"/>
          <p:nvPr/>
        </p:nvSpPr>
        <p:spPr>
          <a:xfrm>
            <a:off x="6191718" y="2247897"/>
            <a:ext cx="1050801" cy="288028"/>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spAutoFit/>
          </a:bodyPr>
          <a:lstStyle/>
          <a:p>
            <a:pPr algn="ctr">
              <a:lnSpc>
                <a:spcPct val="150000"/>
              </a:lnSpc>
              <a:buClr>
                <a:schemeClr val="accent5"/>
              </a:buClr>
              <a:buSzPct val="80000"/>
            </a:pPr>
            <a:r>
              <a:rPr lang="es-CO" sz="1400" b="1">
                <a:solidFill>
                  <a:srgbClr val="FF0000"/>
                </a:solidFill>
                <a:latin typeface="Scotia" panose="020B0503020203020204" pitchFamily="34" charset="0"/>
              </a:rPr>
              <a:t>Sprint activo</a:t>
            </a:r>
          </a:p>
        </p:txBody>
      </p:sp>
      <p:sp>
        <p:nvSpPr>
          <p:cNvPr id="10" name="TextBox 9">
            <a:extLst>
              <a:ext uri="{FF2B5EF4-FFF2-40B4-BE49-F238E27FC236}">
                <a16:creationId xmlns:a16="http://schemas.microsoft.com/office/drawing/2014/main" id="{A354B5A0-8116-404D-8CEB-40C84A0D6614}"/>
              </a:ext>
            </a:extLst>
          </p:cNvPr>
          <p:cNvSpPr txBox="1"/>
          <p:nvPr/>
        </p:nvSpPr>
        <p:spPr>
          <a:xfrm>
            <a:off x="5298236" y="3067126"/>
            <a:ext cx="1750095" cy="288028"/>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spAutoFit/>
          </a:bodyPr>
          <a:lstStyle/>
          <a:p>
            <a:pPr algn="ctr">
              <a:lnSpc>
                <a:spcPct val="150000"/>
              </a:lnSpc>
              <a:buClr>
                <a:schemeClr val="accent5"/>
              </a:buClr>
              <a:buSzPct val="80000"/>
            </a:pPr>
            <a:r>
              <a:rPr lang="es-CO" sz="1400" b="1">
                <a:solidFill>
                  <a:srgbClr val="FF0000"/>
                </a:solidFill>
                <a:latin typeface="Scotia" panose="020B0503020203020204" pitchFamily="34" charset="0"/>
              </a:rPr>
              <a:t>Backlog del producto</a:t>
            </a:r>
          </a:p>
        </p:txBody>
      </p:sp>
      <p:sp>
        <p:nvSpPr>
          <p:cNvPr id="11" name="TextBox 10">
            <a:extLst>
              <a:ext uri="{FF2B5EF4-FFF2-40B4-BE49-F238E27FC236}">
                <a16:creationId xmlns:a16="http://schemas.microsoft.com/office/drawing/2014/main" id="{FCBA1A68-966A-46D8-BE95-C8312D539870}"/>
              </a:ext>
            </a:extLst>
          </p:cNvPr>
          <p:cNvSpPr txBox="1"/>
          <p:nvPr/>
        </p:nvSpPr>
        <p:spPr>
          <a:xfrm>
            <a:off x="9540279" y="2964293"/>
            <a:ext cx="2063065" cy="205697"/>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spAutoFit/>
          </a:bodyPr>
          <a:lstStyle/>
          <a:p>
            <a:pPr algn="ctr">
              <a:lnSpc>
                <a:spcPct val="150000"/>
              </a:lnSpc>
              <a:buClr>
                <a:schemeClr val="accent5"/>
              </a:buClr>
              <a:buSzPct val="80000"/>
            </a:pPr>
            <a:r>
              <a:rPr lang="es-CO" sz="1000" b="1">
                <a:solidFill>
                  <a:srgbClr val="FF0000"/>
                </a:solidFill>
                <a:latin typeface="Scotia" panose="020B0503020203020204" pitchFamily="34" charset="0"/>
              </a:rPr>
              <a:t>Detalles del elemento seleccionado</a:t>
            </a:r>
          </a:p>
        </p:txBody>
      </p:sp>
      <p:pic>
        <p:nvPicPr>
          <p:cNvPr id="12" name="Picture 2">
            <a:extLst>
              <a:ext uri="{FF2B5EF4-FFF2-40B4-BE49-F238E27FC236}">
                <a16:creationId xmlns:a16="http://schemas.microsoft.com/office/drawing/2014/main" id="{EF772EE0-A7C6-3000-096B-B4BB3BFDB571}"/>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39AE147A-ED85-48A5-DC9E-CAEAD3D0819B}"/>
              </a:ext>
            </a:extLst>
          </p:cNvPr>
          <p:cNvSpPr/>
          <p:nvPr/>
        </p:nvSpPr>
        <p:spPr>
          <a:xfrm>
            <a:off x="11068933" y="6587825"/>
            <a:ext cx="161925" cy="149735"/>
          </a:xfrm>
          <a:prstGeom prst="ellipse">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22379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2"/>
          <p:cNvSpPr txBox="1">
            <a:spLocks/>
          </p:cNvSpPr>
          <p:nvPr/>
        </p:nvSpPr>
        <p:spPr>
          <a:xfrm>
            <a:off x="692903" y="417489"/>
            <a:ext cx="10812945" cy="424726"/>
          </a:xfrm>
          <a:prstGeom prst="rect">
            <a:avLst/>
          </a:prstGeom>
        </p:spPr>
        <p:txBody>
          <a:bodyPr vert="horz" wrap="square" lIns="91434" tIns="45717" rIns="91434" bIns="45717" rtlCol="0" anchor="b" anchorCtr="0">
            <a:spAutoFit/>
          </a:bodyPr>
          <a:lstStyle>
            <a:lvl1pPr algn="l" defTabSz="914400" rtl="0" eaLnBrk="1" latinLnBrk="0" hangingPunct="1">
              <a:lnSpc>
                <a:spcPct val="90000"/>
              </a:lnSpc>
              <a:spcBef>
                <a:spcPct val="0"/>
              </a:spcBef>
              <a:buNone/>
              <a:defRPr sz="3600" kern="1200">
                <a:solidFill>
                  <a:schemeClr val="tx1"/>
                </a:solidFill>
                <a:latin typeface="Calibri" panose="020F0502020204030204" pitchFamily="34" charset="0"/>
                <a:ea typeface="+mj-ea"/>
                <a:cs typeface="+mj-cs"/>
              </a:defRPr>
            </a:lvl1pPr>
          </a:lstStyle>
          <a:p>
            <a:pPr defTabSz="914355">
              <a:defRPr/>
            </a:pPr>
            <a:r>
              <a:rPr lang="es-CO" sz="2400" b="1">
                <a:solidFill>
                  <a:sysClr val="windowText" lastClr="000000"/>
                </a:solidFill>
                <a:latin typeface="Calibri" panose="020F0502020204030204"/>
              </a:rPr>
              <a:t>Realizar actividades diarias</a:t>
            </a:r>
          </a:p>
        </p:txBody>
      </p:sp>
      <p:sp>
        <p:nvSpPr>
          <p:cNvPr id="7" name="Content Placeholder 3"/>
          <p:cNvSpPr txBox="1">
            <a:spLocks/>
          </p:cNvSpPr>
          <p:nvPr/>
        </p:nvSpPr>
        <p:spPr>
          <a:xfrm>
            <a:off x="692903" y="924533"/>
            <a:ext cx="11218069" cy="488621"/>
          </a:xfrm>
          <a:prstGeom prst="rect">
            <a:avLst/>
          </a:prstGeom>
        </p:spPr>
        <p:txBody>
          <a:bodyPr vert="horz" lIns="91434" tIns="45717" rIns="91434" bIns="45717"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55">
              <a:buNone/>
              <a:defRPr/>
            </a:pPr>
            <a:r>
              <a:rPr lang="es-CO" sz="2400">
                <a:solidFill>
                  <a:sysClr val="windowText" lastClr="000000"/>
                </a:solidFill>
                <a:latin typeface="Calibri" panose="020F0502020204030204"/>
              </a:rPr>
              <a:t>Usuarios:		Todos los participantes del proyecto</a:t>
            </a:r>
            <a:endParaRPr lang="es-CO" sz="2000">
              <a:solidFill>
                <a:sysClr val="windowText" lastClr="000000"/>
              </a:solidFill>
              <a:latin typeface="Calibri" panose="020F0502020204030204"/>
            </a:endParaRPr>
          </a:p>
        </p:txBody>
      </p:sp>
      <p:sp>
        <p:nvSpPr>
          <p:cNvPr id="2" name="TextBox 1"/>
          <p:cNvSpPr txBox="1"/>
          <p:nvPr/>
        </p:nvSpPr>
        <p:spPr>
          <a:xfrm>
            <a:off x="692902" y="1714612"/>
            <a:ext cx="3602991" cy="3785652"/>
          </a:xfrm>
          <a:prstGeom prst="rect">
            <a:avLst/>
          </a:prstGeom>
          <a:noFill/>
        </p:spPr>
        <p:txBody>
          <a:bodyPr wrap="square" rtlCol="0">
            <a:spAutoFit/>
          </a:bodyPr>
          <a:lstStyle/>
          <a:p>
            <a:pPr marL="285736" indent="-285736">
              <a:buFontTx/>
              <a:buChar char="-"/>
            </a:pPr>
            <a:r>
              <a:rPr lang="es-CO" sz="1600"/>
              <a:t>Vea lo que se le asigna en su panel de control personal.</a:t>
            </a:r>
          </a:p>
          <a:p>
            <a:pPr marL="285736" indent="-285736">
              <a:buFontTx/>
              <a:buChar char="-"/>
            </a:pPr>
            <a:r>
              <a:rPr lang="es-CO" sz="1600"/>
              <a:t>Asignar actividades a otras personas.</a:t>
            </a:r>
          </a:p>
          <a:p>
            <a:pPr marL="285736" indent="-285736">
              <a:buFontTx/>
              <a:buChar char="-"/>
            </a:pPr>
            <a:r>
              <a:rPr lang="es-CO" sz="1600"/>
              <a:t>Vea lo que se necesita hacer, en progreso y completado.</a:t>
            </a:r>
          </a:p>
          <a:p>
            <a:pPr marL="285736" indent="-285736">
              <a:buFontTx/>
              <a:buChar char="-"/>
            </a:pPr>
            <a:r>
              <a:rPr lang="es-CO" sz="1600"/>
              <a:t>Adjunte cualquier artefacto aplicable y trabaje con ellos.</a:t>
            </a:r>
          </a:p>
          <a:p>
            <a:pPr marL="285736" indent="-285736">
              <a:buFontTx/>
              <a:buChar char="-"/>
            </a:pPr>
            <a:r>
              <a:rPr lang="es-CO" sz="1600"/>
              <a:t>Hacer comentarios.</a:t>
            </a:r>
          </a:p>
          <a:p>
            <a:pPr marL="285736" indent="-285736">
              <a:buFontTx/>
              <a:buChar char="-"/>
            </a:pPr>
            <a:r>
              <a:rPr lang="es-CO" sz="1600"/>
              <a:t>Seguimiento de las dependencias e impedimentos.</a:t>
            </a:r>
          </a:p>
          <a:p>
            <a:pPr marL="285736" indent="-285736">
              <a:buFontTx/>
              <a:buChar char="-"/>
            </a:pPr>
            <a:r>
              <a:rPr lang="es-CO" sz="1600"/>
              <a:t>Ver si alguna tarea o actividad está atrasada.</a:t>
            </a:r>
          </a:p>
          <a:p>
            <a:pPr marL="285736" indent="-285736">
              <a:buFontTx/>
              <a:buChar char="-"/>
            </a:pPr>
            <a:r>
              <a:rPr lang="es-CO" sz="1600"/>
              <a:t>Notificar a otros usuarios sobre actualizaciones y / o asignaciones.</a:t>
            </a:r>
            <a:endParaRPr lang="en-CA" sz="1600"/>
          </a:p>
        </p:txBody>
      </p:sp>
      <p:pic>
        <p:nvPicPr>
          <p:cNvPr id="8" name="Picture 4"/>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407859" y="2097167"/>
            <a:ext cx="7209955" cy="3240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a:extLst>
              <a:ext uri="{FF2B5EF4-FFF2-40B4-BE49-F238E27FC236}">
                <a16:creationId xmlns:a16="http://schemas.microsoft.com/office/drawing/2014/main" id="{1C9C9043-4DC9-3AA4-A534-CBBE6531134A}"/>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7BDDE3E1-D3E3-887A-E05E-BBB3DB9721C7}"/>
              </a:ext>
            </a:extLst>
          </p:cNvPr>
          <p:cNvSpPr/>
          <p:nvPr/>
        </p:nvSpPr>
        <p:spPr>
          <a:xfrm>
            <a:off x="11068933" y="6587825"/>
            <a:ext cx="161925" cy="149735"/>
          </a:xfrm>
          <a:prstGeom prst="ellipse">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59993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367A5-2571-8742-8903-B13F7BE0CABA}"/>
              </a:ext>
            </a:extLst>
          </p:cNvPr>
          <p:cNvSpPr>
            <a:spLocks noGrp="1"/>
          </p:cNvSpPr>
          <p:nvPr>
            <p:ph type="title"/>
          </p:nvPr>
        </p:nvSpPr>
        <p:spPr/>
        <p:txBody>
          <a:bodyPr/>
          <a:lstStyle/>
          <a:p>
            <a:r>
              <a:rPr lang="en-US"/>
              <a:t>Plantilla JIRA- Sprint </a:t>
            </a:r>
            <a:r>
              <a:rPr lang="en-US" err="1"/>
              <a:t>Activo</a:t>
            </a:r>
            <a:endParaRPr lang="en-US"/>
          </a:p>
        </p:txBody>
      </p:sp>
      <p:pic>
        <p:nvPicPr>
          <p:cNvPr id="5" name="Picture 4" descr="Graphical user interface, text, application, email&#10;&#10;Description automatically generated">
            <a:extLst>
              <a:ext uri="{FF2B5EF4-FFF2-40B4-BE49-F238E27FC236}">
                <a16:creationId xmlns:a16="http://schemas.microsoft.com/office/drawing/2014/main" id="{90588A52-E52A-4DC1-953A-3E9CFE7F713B}"/>
              </a:ext>
            </a:extLst>
          </p:cNvPr>
          <p:cNvPicPr>
            <a:picLocks noChangeAspect="1"/>
          </p:cNvPicPr>
          <p:nvPr/>
        </p:nvPicPr>
        <p:blipFill>
          <a:blip r:embed="rId3"/>
          <a:stretch>
            <a:fillRect/>
          </a:stretch>
        </p:blipFill>
        <p:spPr>
          <a:xfrm>
            <a:off x="371925" y="1352148"/>
            <a:ext cx="11419300" cy="4872403"/>
          </a:xfrm>
          <a:prstGeom prst="rect">
            <a:avLst/>
          </a:prstGeom>
        </p:spPr>
      </p:pic>
      <p:sp>
        <p:nvSpPr>
          <p:cNvPr id="7" name="TextBox 6">
            <a:extLst>
              <a:ext uri="{FF2B5EF4-FFF2-40B4-BE49-F238E27FC236}">
                <a16:creationId xmlns:a16="http://schemas.microsoft.com/office/drawing/2014/main" id="{982825F9-CB99-436C-A278-8986E0BE6D86}"/>
              </a:ext>
            </a:extLst>
          </p:cNvPr>
          <p:cNvSpPr txBox="1"/>
          <p:nvPr/>
        </p:nvSpPr>
        <p:spPr>
          <a:xfrm>
            <a:off x="838543" y="3984028"/>
            <a:ext cx="2380916" cy="934358"/>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nSpc>
                <a:spcPct val="150000"/>
              </a:lnSpc>
              <a:buClr>
                <a:schemeClr val="accent5"/>
              </a:buClr>
              <a:buSzPct val="80000"/>
            </a:pPr>
            <a:r>
              <a:rPr lang="es-CO" sz="1400" b="1">
                <a:solidFill>
                  <a:srgbClr val="FF0000"/>
                </a:solidFill>
                <a:latin typeface="Scotia" panose="020B0503020203020204" pitchFamily="34" charset="0"/>
              </a:rPr>
              <a:t>Visualización expandida para elementos con sub tareas.</a:t>
            </a:r>
          </a:p>
        </p:txBody>
      </p:sp>
      <p:sp>
        <p:nvSpPr>
          <p:cNvPr id="8" name="TextBox 7">
            <a:extLst>
              <a:ext uri="{FF2B5EF4-FFF2-40B4-BE49-F238E27FC236}">
                <a16:creationId xmlns:a16="http://schemas.microsoft.com/office/drawing/2014/main" id="{05A9FAFB-5820-4E57-852A-709D50CBA375}"/>
              </a:ext>
            </a:extLst>
          </p:cNvPr>
          <p:cNvSpPr txBox="1"/>
          <p:nvPr/>
        </p:nvSpPr>
        <p:spPr>
          <a:xfrm>
            <a:off x="4709360" y="3625674"/>
            <a:ext cx="1962425" cy="288028"/>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nSpc>
                <a:spcPct val="150000"/>
              </a:lnSpc>
              <a:buClr>
                <a:schemeClr val="accent5"/>
              </a:buClr>
              <a:buSzPct val="80000"/>
            </a:pPr>
            <a:r>
              <a:rPr lang="es-CO" sz="1400" b="1">
                <a:solidFill>
                  <a:srgbClr val="FF0000"/>
                </a:solidFill>
                <a:latin typeface="Scotia" panose="020B0503020203020204" pitchFamily="34" charset="0"/>
              </a:rPr>
              <a:t>Elemento seleccionado</a:t>
            </a:r>
          </a:p>
        </p:txBody>
      </p:sp>
      <p:sp>
        <p:nvSpPr>
          <p:cNvPr id="9" name="TextBox 8">
            <a:extLst>
              <a:ext uri="{FF2B5EF4-FFF2-40B4-BE49-F238E27FC236}">
                <a16:creationId xmlns:a16="http://schemas.microsoft.com/office/drawing/2014/main" id="{2DBFAA76-95E8-4211-8837-E85DCA3C89FD}"/>
              </a:ext>
            </a:extLst>
          </p:cNvPr>
          <p:cNvSpPr txBox="1"/>
          <p:nvPr/>
        </p:nvSpPr>
        <p:spPr>
          <a:xfrm>
            <a:off x="4709360" y="3088296"/>
            <a:ext cx="2233013" cy="288028"/>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nSpc>
                <a:spcPct val="150000"/>
              </a:lnSpc>
              <a:buClr>
                <a:schemeClr val="accent5"/>
              </a:buClr>
              <a:buSzPct val="80000"/>
            </a:pPr>
            <a:r>
              <a:rPr lang="es-CO" sz="1400" b="1">
                <a:solidFill>
                  <a:srgbClr val="FF0000"/>
                </a:solidFill>
                <a:latin typeface="Scotia" panose="020B0503020203020204" pitchFamily="34" charset="0"/>
              </a:rPr>
              <a:t>Tablero del Sprint Activo</a:t>
            </a:r>
          </a:p>
        </p:txBody>
      </p:sp>
      <p:sp>
        <p:nvSpPr>
          <p:cNvPr id="11" name="TextBox 10">
            <a:extLst>
              <a:ext uri="{FF2B5EF4-FFF2-40B4-BE49-F238E27FC236}">
                <a16:creationId xmlns:a16="http://schemas.microsoft.com/office/drawing/2014/main" id="{1D2E7192-3605-4854-961F-E191A486DF1C}"/>
              </a:ext>
            </a:extLst>
          </p:cNvPr>
          <p:cNvSpPr txBox="1"/>
          <p:nvPr/>
        </p:nvSpPr>
        <p:spPr>
          <a:xfrm>
            <a:off x="10121773" y="3415005"/>
            <a:ext cx="1231685" cy="667362"/>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gn="ctr">
              <a:lnSpc>
                <a:spcPct val="150000"/>
              </a:lnSpc>
              <a:buClr>
                <a:schemeClr val="accent5"/>
              </a:buClr>
              <a:buSzPct val="80000"/>
            </a:pPr>
            <a:r>
              <a:rPr lang="es-CO" sz="1000" b="1">
                <a:solidFill>
                  <a:srgbClr val="FF0000"/>
                </a:solidFill>
                <a:latin typeface="Scotia" panose="020B0503020203020204" pitchFamily="34" charset="0"/>
              </a:rPr>
              <a:t>Detalles del elemento seleccionado</a:t>
            </a:r>
          </a:p>
        </p:txBody>
      </p:sp>
      <p:pic>
        <p:nvPicPr>
          <p:cNvPr id="3" name="Picture 2">
            <a:extLst>
              <a:ext uri="{FF2B5EF4-FFF2-40B4-BE49-F238E27FC236}">
                <a16:creationId xmlns:a16="http://schemas.microsoft.com/office/drawing/2014/main" id="{6948F132-A2F3-0DBA-C469-3C4D33F7D5B0}"/>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a:extLst>
              <a:ext uri="{FF2B5EF4-FFF2-40B4-BE49-F238E27FC236}">
                <a16:creationId xmlns:a16="http://schemas.microsoft.com/office/drawing/2014/main" id="{BDDB7D5B-07A1-7A5E-80A6-C75C451C36DB}"/>
              </a:ext>
            </a:extLst>
          </p:cNvPr>
          <p:cNvSpPr/>
          <p:nvPr/>
        </p:nvSpPr>
        <p:spPr>
          <a:xfrm>
            <a:off x="11068933" y="6587825"/>
            <a:ext cx="161925" cy="149735"/>
          </a:xfrm>
          <a:prstGeom prst="ellipse">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32243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CCD8B-3DCC-4774-B91C-3371C664E5DA}"/>
              </a:ext>
            </a:extLst>
          </p:cNvPr>
          <p:cNvSpPr>
            <a:spLocks noGrp="1"/>
          </p:cNvSpPr>
          <p:nvPr>
            <p:ph type="title"/>
          </p:nvPr>
        </p:nvSpPr>
        <p:spPr/>
        <p:txBody>
          <a:bodyPr/>
          <a:lstStyle/>
          <a:p>
            <a:r>
              <a:rPr lang="es-CO"/>
              <a:t>Plantilla JIRA – Kanban</a:t>
            </a:r>
          </a:p>
        </p:txBody>
      </p:sp>
      <p:pic>
        <p:nvPicPr>
          <p:cNvPr id="6" name="Picture 5" descr="Table&#10;&#10;Description automatically generated">
            <a:extLst>
              <a:ext uri="{FF2B5EF4-FFF2-40B4-BE49-F238E27FC236}">
                <a16:creationId xmlns:a16="http://schemas.microsoft.com/office/drawing/2014/main" id="{EC0ABAAF-0DE9-4096-AF04-3362590BB0FF}"/>
              </a:ext>
            </a:extLst>
          </p:cNvPr>
          <p:cNvPicPr>
            <a:picLocks noChangeAspect="1"/>
          </p:cNvPicPr>
          <p:nvPr/>
        </p:nvPicPr>
        <p:blipFill>
          <a:blip r:embed="rId2"/>
          <a:stretch>
            <a:fillRect/>
          </a:stretch>
        </p:blipFill>
        <p:spPr>
          <a:xfrm>
            <a:off x="321018" y="1317812"/>
            <a:ext cx="11549964" cy="5175063"/>
          </a:xfrm>
          <a:prstGeom prst="rect">
            <a:avLst/>
          </a:prstGeom>
        </p:spPr>
      </p:pic>
      <p:sp>
        <p:nvSpPr>
          <p:cNvPr id="3" name="Rectangle 2">
            <a:extLst>
              <a:ext uri="{FF2B5EF4-FFF2-40B4-BE49-F238E27FC236}">
                <a16:creationId xmlns:a16="http://schemas.microsoft.com/office/drawing/2014/main" id="{060EFFB5-FAF2-4126-AFD9-9588F12BA86A}"/>
              </a:ext>
            </a:extLst>
          </p:cNvPr>
          <p:cNvSpPr/>
          <p:nvPr/>
        </p:nvSpPr>
        <p:spPr>
          <a:xfrm>
            <a:off x="8924264" y="1473200"/>
            <a:ext cx="1515534" cy="550334"/>
          </a:xfrm>
          <a:prstGeom prst="rect">
            <a:avLst/>
          </a:prstGeom>
          <a:noFill/>
          <a:ln w="38100">
            <a:solidFill>
              <a:srgbClr val="EE1A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900"/>
          </a:p>
        </p:txBody>
      </p:sp>
      <p:cxnSp>
        <p:nvCxnSpPr>
          <p:cNvPr id="8" name="Straight Connector 7">
            <a:extLst>
              <a:ext uri="{FF2B5EF4-FFF2-40B4-BE49-F238E27FC236}">
                <a16:creationId xmlns:a16="http://schemas.microsoft.com/office/drawing/2014/main" id="{BAECE2EF-24B7-44F8-A0C6-FEA61BA3D51C}"/>
              </a:ext>
            </a:extLst>
          </p:cNvPr>
          <p:cNvCxnSpPr>
            <a:cxnSpLocks/>
          </p:cNvCxnSpPr>
          <p:nvPr/>
        </p:nvCxnSpPr>
        <p:spPr>
          <a:xfrm flipV="1">
            <a:off x="10439797" y="1426634"/>
            <a:ext cx="279400" cy="46567"/>
          </a:xfrm>
          <a:prstGeom prst="line">
            <a:avLst/>
          </a:prstGeom>
          <a:noFill/>
          <a:ln w="38100">
            <a:solidFill>
              <a:srgbClr val="EE1A1C"/>
            </a:solidFill>
          </a:ln>
        </p:spPr>
        <p:style>
          <a:lnRef idx="2">
            <a:schemeClr val="accent1">
              <a:shade val="50000"/>
            </a:schemeClr>
          </a:lnRef>
          <a:fillRef idx="1">
            <a:schemeClr val="accent1"/>
          </a:fillRef>
          <a:effectRef idx="0">
            <a:schemeClr val="accent1"/>
          </a:effectRef>
          <a:fontRef idx="minor">
            <a:schemeClr val="lt1"/>
          </a:fontRef>
        </p:style>
      </p:cxnSp>
      <p:sp>
        <p:nvSpPr>
          <p:cNvPr id="10" name="TextBox 9">
            <a:extLst>
              <a:ext uri="{FF2B5EF4-FFF2-40B4-BE49-F238E27FC236}">
                <a16:creationId xmlns:a16="http://schemas.microsoft.com/office/drawing/2014/main" id="{6EA29087-F911-43B2-B4FB-DB3534CEA565}"/>
              </a:ext>
            </a:extLst>
          </p:cNvPr>
          <p:cNvSpPr txBox="1"/>
          <p:nvPr/>
        </p:nvSpPr>
        <p:spPr>
          <a:xfrm>
            <a:off x="10607396" y="1317812"/>
            <a:ext cx="982134"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a:lnSpc>
                <a:spcPts val="1200"/>
              </a:lnSpc>
              <a:buClr>
                <a:schemeClr val="accent5"/>
              </a:buClr>
              <a:buSzPct val="80000"/>
            </a:pPr>
            <a:r>
              <a:rPr lang="en-CA" sz="1000" b="1">
                <a:solidFill>
                  <a:srgbClr val="ED1B24"/>
                </a:solidFill>
                <a:latin typeface="Arial" panose="020B0604020202020204" pitchFamily="34" charset="0"/>
                <a:cs typeface="Arial" panose="020B0604020202020204" pitchFamily="34" charset="0"/>
              </a:rPr>
              <a:t>Bottleneck signal</a:t>
            </a:r>
          </a:p>
        </p:txBody>
      </p:sp>
      <p:sp>
        <p:nvSpPr>
          <p:cNvPr id="9" name="TextBox 8">
            <a:extLst>
              <a:ext uri="{FF2B5EF4-FFF2-40B4-BE49-F238E27FC236}">
                <a16:creationId xmlns:a16="http://schemas.microsoft.com/office/drawing/2014/main" id="{CBCD95B4-CA6E-427D-B5C2-E288552DB95E}"/>
              </a:ext>
            </a:extLst>
          </p:cNvPr>
          <p:cNvSpPr txBox="1"/>
          <p:nvPr/>
        </p:nvSpPr>
        <p:spPr>
          <a:xfrm>
            <a:off x="6782059" y="1323785"/>
            <a:ext cx="2127185" cy="205697"/>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spAutoFit/>
          </a:bodyPr>
          <a:lstStyle/>
          <a:p>
            <a:pPr algn="ctr">
              <a:lnSpc>
                <a:spcPct val="150000"/>
              </a:lnSpc>
              <a:buClr>
                <a:schemeClr val="accent5"/>
              </a:buClr>
              <a:buSzPct val="80000"/>
            </a:pPr>
            <a:r>
              <a:rPr lang="es-CO" sz="1000" b="1">
                <a:solidFill>
                  <a:srgbClr val="FF0000"/>
                </a:solidFill>
                <a:latin typeface="Scotia" panose="020B0503020203020204" pitchFamily="34" charset="0"/>
              </a:rPr>
              <a:t>Límites del trabajo en proceso (WIP)</a:t>
            </a:r>
          </a:p>
        </p:txBody>
      </p:sp>
      <p:sp>
        <p:nvSpPr>
          <p:cNvPr id="11" name="TextBox 10">
            <a:extLst>
              <a:ext uri="{FF2B5EF4-FFF2-40B4-BE49-F238E27FC236}">
                <a16:creationId xmlns:a16="http://schemas.microsoft.com/office/drawing/2014/main" id="{B04487B2-93C8-41DB-9067-5676D7F1170D}"/>
              </a:ext>
            </a:extLst>
          </p:cNvPr>
          <p:cNvSpPr txBox="1"/>
          <p:nvPr/>
        </p:nvSpPr>
        <p:spPr>
          <a:xfrm>
            <a:off x="10711314" y="1202317"/>
            <a:ext cx="1018942" cy="436530"/>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gn="ctr">
              <a:lnSpc>
                <a:spcPct val="150000"/>
              </a:lnSpc>
              <a:buClr>
                <a:schemeClr val="accent5"/>
              </a:buClr>
              <a:buSzPct val="80000"/>
            </a:pPr>
            <a:r>
              <a:rPr lang="es-CO" sz="1000" b="1">
                <a:solidFill>
                  <a:srgbClr val="FF0000"/>
                </a:solidFill>
                <a:latin typeface="Scotia" panose="020B0503020203020204" pitchFamily="34" charset="0"/>
              </a:rPr>
              <a:t>Señal de cuellos de botella</a:t>
            </a:r>
          </a:p>
        </p:txBody>
      </p:sp>
      <p:sp>
        <p:nvSpPr>
          <p:cNvPr id="12" name="TextBox 11">
            <a:extLst>
              <a:ext uri="{FF2B5EF4-FFF2-40B4-BE49-F238E27FC236}">
                <a16:creationId xmlns:a16="http://schemas.microsoft.com/office/drawing/2014/main" id="{91AAF75F-D736-48C4-AC3C-43AA83248A46}"/>
              </a:ext>
            </a:extLst>
          </p:cNvPr>
          <p:cNvSpPr txBox="1"/>
          <p:nvPr/>
        </p:nvSpPr>
        <p:spPr>
          <a:xfrm>
            <a:off x="1838583" y="2003663"/>
            <a:ext cx="1025922" cy="205697"/>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spAutoFit/>
          </a:bodyPr>
          <a:lstStyle/>
          <a:p>
            <a:pPr algn="ctr">
              <a:lnSpc>
                <a:spcPct val="150000"/>
              </a:lnSpc>
              <a:buClr>
                <a:schemeClr val="accent5"/>
              </a:buClr>
              <a:buSzPct val="80000"/>
            </a:pPr>
            <a:r>
              <a:rPr lang="es-CO" sz="1000" b="1">
                <a:solidFill>
                  <a:srgbClr val="FF0000"/>
                </a:solidFill>
                <a:latin typeface="Scotia" panose="020B0503020203020204" pitchFamily="34" charset="0"/>
              </a:rPr>
              <a:t>Clases de servicio</a:t>
            </a:r>
          </a:p>
        </p:txBody>
      </p:sp>
      <p:sp>
        <p:nvSpPr>
          <p:cNvPr id="13" name="TextBox 12">
            <a:extLst>
              <a:ext uri="{FF2B5EF4-FFF2-40B4-BE49-F238E27FC236}">
                <a16:creationId xmlns:a16="http://schemas.microsoft.com/office/drawing/2014/main" id="{434FC86C-76E9-4063-9FDC-3AB62CA9D503}"/>
              </a:ext>
            </a:extLst>
          </p:cNvPr>
          <p:cNvSpPr txBox="1"/>
          <p:nvPr/>
        </p:nvSpPr>
        <p:spPr>
          <a:xfrm>
            <a:off x="4795393" y="5103659"/>
            <a:ext cx="1111282" cy="436530"/>
          </a:xfrm>
          <a:prstGeom prst="rect">
            <a:avLst/>
          </a:prstGeom>
          <a:solidFill>
            <a:schemeClr val="bg1"/>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spAutoFit/>
          </a:bodyPr>
          <a:lstStyle/>
          <a:p>
            <a:pPr algn="ctr">
              <a:lnSpc>
                <a:spcPct val="150000"/>
              </a:lnSpc>
              <a:buClr>
                <a:schemeClr val="accent5"/>
              </a:buClr>
              <a:buSzPct val="80000"/>
            </a:pPr>
            <a:r>
              <a:rPr lang="es-CO" sz="1000" b="1">
                <a:solidFill>
                  <a:srgbClr val="FF0000"/>
                </a:solidFill>
                <a:latin typeface="Scotia" panose="020B0503020203020204" pitchFamily="34" charset="0"/>
              </a:rPr>
              <a:t>Columnas tablero Kanban </a:t>
            </a:r>
          </a:p>
        </p:txBody>
      </p:sp>
      <p:pic>
        <p:nvPicPr>
          <p:cNvPr id="5" name="Picture 2">
            <a:extLst>
              <a:ext uri="{FF2B5EF4-FFF2-40B4-BE49-F238E27FC236}">
                <a16:creationId xmlns:a16="http://schemas.microsoft.com/office/drawing/2014/main" id="{5753B1B9-3813-E26D-0C53-BFD96BA45310}"/>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4D7EDC67-6FC5-C32A-8C9F-9187C4164EBA}"/>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6841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a:extLst>
              <a:ext uri="{FF2B5EF4-FFF2-40B4-BE49-F238E27FC236}">
                <a16:creationId xmlns:a16="http://schemas.microsoft.com/office/drawing/2014/main" id="{AEBB54D1-3BEA-CA4E-B94F-0B288C88A379}"/>
              </a:ext>
            </a:extLst>
          </p:cNvPr>
          <p:cNvSpPr/>
          <p:nvPr/>
        </p:nvSpPr>
        <p:spPr>
          <a:xfrm flipH="1">
            <a:off x="397" y="-1183"/>
            <a:ext cx="4066768" cy="6858000"/>
          </a:xfrm>
          <a:prstGeom prst="rect">
            <a:avLst/>
          </a:prstGeom>
          <a:solidFill>
            <a:srgbClr val="00B050"/>
          </a:solidFill>
          <a:ln w="12700">
            <a:miter lim="400000"/>
          </a:ln>
        </p:spPr>
        <p:txBody>
          <a:bodyPr lIns="45716" rIns="45716" anchor="ctr"/>
          <a:lstStyle/>
          <a:p>
            <a:pPr>
              <a:defRPr>
                <a:solidFill>
                  <a:srgbClr val="1FA2DC"/>
                </a:solidFill>
              </a:defRPr>
            </a:pPr>
            <a:endParaRPr sz="3600">
              <a:latin typeface="Scotia Regular" panose="020B0503020203020204" pitchFamily="34" charset="0"/>
            </a:endParaRPr>
          </a:p>
        </p:txBody>
      </p:sp>
      <p:sp>
        <p:nvSpPr>
          <p:cNvPr id="2" name="TextBox 6">
            <a:extLst>
              <a:ext uri="{FF2B5EF4-FFF2-40B4-BE49-F238E27FC236}">
                <a16:creationId xmlns:a16="http://schemas.microsoft.com/office/drawing/2014/main" id="{C2764B13-C926-9242-A863-1142DDEE1FC0}"/>
              </a:ext>
            </a:extLst>
          </p:cNvPr>
          <p:cNvSpPr txBox="1"/>
          <p:nvPr/>
        </p:nvSpPr>
        <p:spPr>
          <a:xfrm>
            <a:off x="363869" y="278743"/>
            <a:ext cx="3461440" cy="135421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s-CO" sz="4400" b="1">
                <a:solidFill>
                  <a:schemeClr val="bg2"/>
                </a:solidFill>
                <a:latin typeface="Scotia Headline" panose="020B0503020203020204" pitchFamily="34" charset="0"/>
              </a:rPr>
              <a:t>Tableros Kanban</a:t>
            </a:r>
          </a:p>
        </p:txBody>
      </p:sp>
      <p:pic>
        <p:nvPicPr>
          <p:cNvPr id="6" name="Picture 5">
            <a:extLst>
              <a:ext uri="{FF2B5EF4-FFF2-40B4-BE49-F238E27FC236}">
                <a16:creationId xmlns:a16="http://schemas.microsoft.com/office/drawing/2014/main" id="{B64D7E17-E50B-4AE7-A39E-97B7E0C733DE}"/>
              </a:ext>
            </a:extLst>
          </p:cNvPr>
          <p:cNvPicPr>
            <a:picLocks noChangeAspect="1"/>
          </p:cNvPicPr>
          <p:nvPr/>
        </p:nvPicPr>
        <p:blipFill>
          <a:blip r:embed="rId3"/>
          <a:stretch>
            <a:fillRect/>
          </a:stretch>
        </p:blipFill>
        <p:spPr>
          <a:xfrm>
            <a:off x="4723081" y="1699674"/>
            <a:ext cx="7349113" cy="2508214"/>
          </a:xfrm>
          <a:prstGeom prst="rect">
            <a:avLst/>
          </a:prstGeom>
        </p:spPr>
      </p:pic>
      <p:sp>
        <p:nvSpPr>
          <p:cNvPr id="7" name="TextBox 6">
            <a:extLst>
              <a:ext uri="{FF2B5EF4-FFF2-40B4-BE49-F238E27FC236}">
                <a16:creationId xmlns:a16="http://schemas.microsoft.com/office/drawing/2014/main" id="{17744E6D-3F98-430F-898B-FF917FB72344}"/>
              </a:ext>
            </a:extLst>
          </p:cNvPr>
          <p:cNvSpPr txBox="1"/>
          <p:nvPr/>
        </p:nvSpPr>
        <p:spPr>
          <a:xfrm>
            <a:off x="399495" y="1936346"/>
            <a:ext cx="2825755" cy="2191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30000"/>
              </a:lnSpc>
              <a:buClr>
                <a:schemeClr val="accent5"/>
              </a:buClr>
              <a:buSzPct val="80000"/>
            </a:pPr>
            <a:endParaRPr lang="en-US" sz="1200">
              <a:solidFill>
                <a:schemeClr val="bg2"/>
              </a:solidFill>
              <a:latin typeface="Scotia" panose="020B0503020203020204" pitchFamily="34" charset="0"/>
            </a:endParaRPr>
          </a:p>
        </p:txBody>
      </p:sp>
      <p:sp>
        <p:nvSpPr>
          <p:cNvPr id="9" name="TextBox 8">
            <a:extLst>
              <a:ext uri="{FF2B5EF4-FFF2-40B4-BE49-F238E27FC236}">
                <a16:creationId xmlns:a16="http://schemas.microsoft.com/office/drawing/2014/main" id="{DF0F3620-C5B8-40E5-9C23-C71346FD8A95}"/>
              </a:ext>
            </a:extLst>
          </p:cNvPr>
          <p:cNvSpPr txBox="1"/>
          <p:nvPr/>
        </p:nvSpPr>
        <p:spPr>
          <a:xfrm>
            <a:off x="363869" y="1911702"/>
            <a:ext cx="3523923" cy="406021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30000"/>
              </a:lnSpc>
              <a:buClr>
                <a:schemeClr val="accent5"/>
              </a:buClr>
              <a:buSzPct val="80000"/>
            </a:pPr>
            <a:r>
              <a:rPr lang="es-CO" sz="1200">
                <a:solidFill>
                  <a:schemeClr val="bg2"/>
                </a:solidFill>
                <a:latin typeface="Scotia" panose="020B0503020203020204" pitchFamily="34" charset="0"/>
              </a:rPr>
              <a:t>Jira proporciona funcionalidad para mostrar elementos de trabajo en un tablero Kanban visual</a:t>
            </a:r>
          </a:p>
          <a:p>
            <a:pPr>
              <a:lnSpc>
                <a:spcPct val="130000"/>
              </a:lnSpc>
              <a:buClr>
                <a:schemeClr val="accent5"/>
              </a:buClr>
              <a:buSzPct val="80000"/>
            </a:pPr>
            <a:endParaRPr lang="es-CO" sz="1200">
              <a:solidFill>
                <a:schemeClr val="bg2"/>
              </a:solidFill>
              <a:latin typeface="Scotia" panose="020B0503020203020204" pitchFamily="34" charset="0"/>
            </a:endParaRPr>
          </a:p>
          <a:p>
            <a:pPr>
              <a:lnSpc>
                <a:spcPct val="130000"/>
              </a:lnSpc>
              <a:buClr>
                <a:schemeClr val="accent5"/>
              </a:buClr>
              <a:buSzPct val="80000"/>
            </a:pPr>
            <a:r>
              <a:rPr lang="es-CO" sz="1200">
                <a:solidFill>
                  <a:schemeClr val="bg2"/>
                </a:solidFill>
                <a:latin typeface="Scotia" panose="020B0503020203020204" pitchFamily="34" charset="0"/>
              </a:rPr>
              <a:t>Comencemos navegando por los elementos del tablero, dedique unos minutos, ¿cuáles puede identificar?</a:t>
            </a:r>
          </a:p>
          <a:p>
            <a:pPr>
              <a:lnSpc>
                <a:spcPct val="130000"/>
              </a:lnSpc>
              <a:buClr>
                <a:schemeClr val="accent5"/>
              </a:buClr>
              <a:buSzPct val="80000"/>
            </a:pPr>
            <a:endParaRPr lang="en-US" sz="1200">
              <a:solidFill>
                <a:schemeClr val="bg2"/>
              </a:solidFill>
              <a:latin typeface="Scotia" panose="020B0503020203020204" pitchFamily="34" charset="0"/>
            </a:endParaRPr>
          </a:p>
          <a:p>
            <a:pPr marL="228600" indent="-228600">
              <a:lnSpc>
                <a:spcPct val="130000"/>
              </a:lnSpc>
              <a:buClr>
                <a:schemeClr val="accent5"/>
              </a:buClr>
              <a:buSzPct val="80000"/>
              <a:buFont typeface="+mj-lt"/>
              <a:buAutoNum type="arabicPeriod"/>
            </a:pPr>
            <a:r>
              <a:rPr lang="es-CO" sz="1200" b="1">
                <a:solidFill>
                  <a:sysClr val="windowText" lastClr="000000"/>
                </a:solidFill>
                <a:latin typeface="Scotia" panose="020B0503020203020204" pitchFamily="34" charset="0"/>
              </a:rPr>
              <a:t>Título</a:t>
            </a:r>
          </a:p>
          <a:p>
            <a:pPr marL="228600" indent="-228600">
              <a:lnSpc>
                <a:spcPct val="130000"/>
              </a:lnSpc>
              <a:buClr>
                <a:schemeClr val="accent5"/>
              </a:buClr>
              <a:buSzPct val="80000"/>
              <a:buFont typeface="+mj-lt"/>
              <a:buAutoNum type="arabicPeriod"/>
            </a:pPr>
            <a:r>
              <a:rPr lang="es-CO" sz="1200" b="1">
                <a:solidFill>
                  <a:sysClr val="windowText" lastClr="000000"/>
                </a:solidFill>
                <a:latin typeface="Scotia" panose="020B0503020203020204" pitchFamily="34" charset="0"/>
              </a:rPr>
              <a:t>ID del elemento de trabajo</a:t>
            </a:r>
          </a:p>
          <a:p>
            <a:pPr marL="228600" indent="-228600">
              <a:lnSpc>
                <a:spcPct val="130000"/>
              </a:lnSpc>
              <a:buClr>
                <a:schemeClr val="accent5"/>
              </a:buClr>
              <a:buSzPct val="80000"/>
              <a:buFont typeface="+mj-lt"/>
              <a:buAutoNum type="arabicPeriod"/>
            </a:pPr>
            <a:r>
              <a:rPr lang="es-CO" sz="1200" b="1">
                <a:solidFill>
                  <a:sysClr val="windowText" lastClr="000000"/>
                </a:solidFill>
                <a:latin typeface="Scotia" panose="020B0503020203020204" pitchFamily="34" charset="0"/>
              </a:rPr>
              <a:t>Fecha de vencimiento</a:t>
            </a:r>
          </a:p>
          <a:p>
            <a:pPr marL="228600" indent="-228600">
              <a:lnSpc>
                <a:spcPct val="130000"/>
              </a:lnSpc>
              <a:buClr>
                <a:schemeClr val="accent5"/>
              </a:buClr>
              <a:buSzPct val="80000"/>
              <a:buFont typeface="+mj-lt"/>
              <a:buAutoNum type="arabicPeriod"/>
            </a:pPr>
            <a:r>
              <a:rPr lang="es-CO" sz="1200" b="1">
                <a:solidFill>
                  <a:sysClr val="windowText" lastClr="000000"/>
                </a:solidFill>
                <a:latin typeface="Scotia" panose="020B0503020203020204" pitchFamily="34" charset="0"/>
              </a:rPr>
              <a:t>Estado del flujo de trabajo</a:t>
            </a:r>
          </a:p>
          <a:p>
            <a:pPr marL="228600" indent="-228600">
              <a:lnSpc>
                <a:spcPct val="130000"/>
              </a:lnSpc>
              <a:buClr>
                <a:schemeClr val="accent5"/>
              </a:buClr>
              <a:buSzPct val="80000"/>
              <a:buFont typeface="+mj-lt"/>
              <a:buAutoNum type="arabicPeriod"/>
            </a:pPr>
            <a:r>
              <a:rPr lang="es-CO" sz="1200" b="1">
                <a:solidFill>
                  <a:sysClr val="windowText" lastClr="000000"/>
                </a:solidFill>
                <a:latin typeface="Scotia" panose="020B0503020203020204" pitchFamily="34" charset="0"/>
              </a:rPr>
              <a:t>Asignación (Avatar)</a:t>
            </a:r>
          </a:p>
          <a:p>
            <a:pPr marL="228600" indent="-228600">
              <a:lnSpc>
                <a:spcPct val="130000"/>
              </a:lnSpc>
              <a:buClr>
                <a:schemeClr val="accent5"/>
              </a:buClr>
              <a:buSzPct val="80000"/>
              <a:buFont typeface="+mj-lt"/>
              <a:buAutoNum type="arabicPeriod"/>
            </a:pPr>
            <a:r>
              <a:rPr lang="es-CO" sz="1200" b="1">
                <a:solidFill>
                  <a:sysClr val="windowText" lastClr="000000"/>
                </a:solidFill>
                <a:latin typeface="Scotia" panose="020B0503020203020204" pitchFamily="34" charset="0"/>
              </a:rPr>
              <a:t>Bandera de impedimento</a:t>
            </a:r>
          </a:p>
          <a:p>
            <a:pPr marL="228600" indent="-228600">
              <a:lnSpc>
                <a:spcPct val="130000"/>
              </a:lnSpc>
              <a:buClr>
                <a:schemeClr val="accent5"/>
              </a:buClr>
              <a:buSzPct val="80000"/>
              <a:buFont typeface="+mj-lt"/>
              <a:buAutoNum type="arabicPeriod"/>
            </a:pPr>
            <a:r>
              <a:rPr lang="es-CO" sz="1200" b="1">
                <a:solidFill>
                  <a:sysClr val="windowText" lastClr="000000"/>
                </a:solidFill>
                <a:latin typeface="Scotia" panose="020B0503020203020204" pitchFamily="34" charset="0"/>
              </a:rPr>
              <a:t>Tipos de elementos de trabajo</a:t>
            </a:r>
          </a:p>
          <a:p>
            <a:pPr marL="228600" indent="-228600">
              <a:lnSpc>
                <a:spcPct val="130000"/>
              </a:lnSpc>
              <a:buClr>
                <a:schemeClr val="accent5"/>
              </a:buClr>
              <a:buSzPct val="80000"/>
              <a:buFont typeface="+mj-lt"/>
              <a:buAutoNum type="arabicPeriod"/>
            </a:pPr>
            <a:r>
              <a:rPr lang="es-CO" sz="1200" b="1">
                <a:solidFill>
                  <a:sysClr val="windowText" lastClr="000000"/>
                </a:solidFill>
                <a:latin typeface="Scotia" panose="020B0503020203020204" pitchFamily="34" charset="0"/>
              </a:rPr>
              <a:t>Filtros rápidos</a:t>
            </a:r>
          </a:p>
          <a:p>
            <a:pPr marL="228600" indent="-228600">
              <a:lnSpc>
                <a:spcPct val="130000"/>
              </a:lnSpc>
              <a:buClr>
                <a:schemeClr val="accent5"/>
              </a:buClr>
              <a:buSzPct val="80000"/>
              <a:buFont typeface="+mj-lt"/>
              <a:buAutoNum type="arabicPeriod"/>
            </a:pPr>
            <a:r>
              <a:rPr lang="es-CO" sz="1200" b="1">
                <a:solidFill>
                  <a:sysClr val="windowText" lastClr="000000"/>
                </a:solidFill>
                <a:latin typeface="Scotia" panose="020B0503020203020204" pitchFamily="34" charset="0"/>
              </a:rPr>
              <a:t>Trabajo en curso (límite de trabajo en curso)</a:t>
            </a:r>
            <a:endParaRPr lang="en-US" sz="1200">
              <a:solidFill>
                <a:sysClr val="windowText" lastClr="000000"/>
              </a:solidFill>
              <a:latin typeface="Scotia" panose="020B0503020203020204" pitchFamily="34" charset="0"/>
            </a:endParaRPr>
          </a:p>
          <a:p>
            <a:pPr>
              <a:lnSpc>
                <a:spcPct val="130000"/>
              </a:lnSpc>
              <a:buClr>
                <a:schemeClr val="accent5"/>
              </a:buClr>
              <a:buSzPct val="80000"/>
            </a:pPr>
            <a:endParaRPr lang="en-US" sz="1200">
              <a:solidFill>
                <a:schemeClr val="bg2"/>
              </a:solidFill>
              <a:latin typeface="Scotia" panose="020B0503020203020204" pitchFamily="34" charset="0"/>
            </a:endParaRPr>
          </a:p>
        </p:txBody>
      </p:sp>
      <p:cxnSp>
        <p:nvCxnSpPr>
          <p:cNvPr id="10" name="Straight Arrow Connector 9">
            <a:extLst>
              <a:ext uri="{FF2B5EF4-FFF2-40B4-BE49-F238E27FC236}">
                <a16:creationId xmlns:a16="http://schemas.microsoft.com/office/drawing/2014/main" id="{32FDC2CF-DD95-401B-AB58-5556D6BE1A80}"/>
              </a:ext>
            </a:extLst>
          </p:cNvPr>
          <p:cNvCxnSpPr>
            <a:cxnSpLocks/>
          </p:cNvCxnSpPr>
          <p:nvPr/>
        </p:nvCxnSpPr>
        <p:spPr>
          <a:xfrm flipH="1">
            <a:off x="5754138" y="1295400"/>
            <a:ext cx="936842" cy="750527"/>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79583E4-473F-4FB0-942A-34ED6C92BA36}"/>
              </a:ext>
            </a:extLst>
          </p:cNvPr>
          <p:cNvCxnSpPr>
            <a:cxnSpLocks/>
          </p:cNvCxnSpPr>
          <p:nvPr/>
        </p:nvCxnSpPr>
        <p:spPr>
          <a:xfrm flipH="1" flipV="1">
            <a:off x="7475617" y="3198681"/>
            <a:ext cx="1166082" cy="162478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43CDDF5-851C-48BB-96CF-3496C5401379}"/>
              </a:ext>
            </a:extLst>
          </p:cNvPr>
          <p:cNvCxnSpPr>
            <a:cxnSpLocks/>
          </p:cNvCxnSpPr>
          <p:nvPr/>
        </p:nvCxnSpPr>
        <p:spPr>
          <a:xfrm flipH="1" flipV="1">
            <a:off x="4868012" y="3953061"/>
            <a:ext cx="648296" cy="938114"/>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E90DCF1-EF52-4E04-9720-44EDDCBD003C}"/>
              </a:ext>
            </a:extLst>
          </p:cNvPr>
          <p:cNvCxnSpPr>
            <a:cxnSpLocks/>
          </p:cNvCxnSpPr>
          <p:nvPr/>
        </p:nvCxnSpPr>
        <p:spPr>
          <a:xfrm flipV="1">
            <a:off x="6907407" y="3542014"/>
            <a:ext cx="38136" cy="1070148"/>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650F945-D798-4CF4-8615-C0953411D7B7}"/>
              </a:ext>
            </a:extLst>
          </p:cNvPr>
          <p:cNvCxnSpPr>
            <a:cxnSpLocks/>
          </p:cNvCxnSpPr>
          <p:nvPr/>
        </p:nvCxnSpPr>
        <p:spPr>
          <a:xfrm>
            <a:off x="9289303" y="1558655"/>
            <a:ext cx="0" cy="719033"/>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65C4772-C393-4756-B891-F2245B30B88C}"/>
              </a:ext>
            </a:extLst>
          </p:cNvPr>
          <p:cNvCxnSpPr>
            <a:cxnSpLocks/>
          </p:cNvCxnSpPr>
          <p:nvPr/>
        </p:nvCxnSpPr>
        <p:spPr>
          <a:xfrm flipH="1">
            <a:off x="7445041" y="1580564"/>
            <a:ext cx="335598" cy="719033"/>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461F968-CD26-442D-AA87-C9BD776BAE93}"/>
              </a:ext>
            </a:extLst>
          </p:cNvPr>
          <p:cNvCxnSpPr>
            <a:cxnSpLocks/>
          </p:cNvCxnSpPr>
          <p:nvPr/>
        </p:nvCxnSpPr>
        <p:spPr>
          <a:xfrm>
            <a:off x="4414201" y="2644870"/>
            <a:ext cx="379399"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C7124F5-9AE6-404A-86FC-6760A41AF6EA}"/>
              </a:ext>
            </a:extLst>
          </p:cNvPr>
          <p:cNvCxnSpPr>
            <a:cxnSpLocks/>
            <a:stCxn id="30" idx="6"/>
          </p:cNvCxnSpPr>
          <p:nvPr/>
        </p:nvCxnSpPr>
        <p:spPr>
          <a:xfrm flipV="1">
            <a:off x="4321275" y="2789651"/>
            <a:ext cx="472324" cy="2286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E531674-60B8-4594-BD54-A3F574E1D207}"/>
              </a:ext>
            </a:extLst>
          </p:cNvPr>
          <p:cNvCxnSpPr>
            <a:cxnSpLocks/>
          </p:cNvCxnSpPr>
          <p:nvPr/>
        </p:nvCxnSpPr>
        <p:spPr>
          <a:xfrm>
            <a:off x="4414200" y="3018250"/>
            <a:ext cx="379399"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9D97CE84-0261-462D-9D0F-37EDE357060C}"/>
              </a:ext>
            </a:extLst>
          </p:cNvPr>
          <p:cNvSpPr/>
          <p:nvPr/>
        </p:nvSpPr>
        <p:spPr>
          <a:xfrm>
            <a:off x="4174961" y="2401031"/>
            <a:ext cx="292628" cy="274320"/>
          </a:xfrm>
          <a:prstGeom prst="ellipse">
            <a:avLst/>
          </a:prstGeom>
          <a:ln w="762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CA" sz="900"/>
              <a:t>2</a:t>
            </a:r>
          </a:p>
        </p:txBody>
      </p:sp>
      <p:sp>
        <p:nvSpPr>
          <p:cNvPr id="30" name="Oval 29">
            <a:extLst>
              <a:ext uri="{FF2B5EF4-FFF2-40B4-BE49-F238E27FC236}">
                <a16:creationId xmlns:a16="http://schemas.microsoft.com/office/drawing/2014/main" id="{49A2FED3-26B3-437A-A1BD-FA4D74C1FB04}"/>
              </a:ext>
            </a:extLst>
          </p:cNvPr>
          <p:cNvSpPr/>
          <p:nvPr/>
        </p:nvSpPr>
        <p:spPr>
          <a:xfrm>
            <a:off x="4028647" y="2675351"/>
            <a:ext cx="292628" cy="274320"/>
          </a:xfrm>
          <a:prstGeom prst="ellipse">
            <a:avLst/>
          </a:prstGeom>
          <a:ln w="762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CA" sz="900"/>
              <a:t>1</a:t>
            </a:r>
          </a:p>
        </p:txBody>
      </p:sp>
      <p:sp>
        <p:nvSpPr>
          <p:cNvPr id="32" name="Oval 31">
            <a:extLst>
              <a:ext uri="{FF2B5EF4-FFF2-40B4-BE49-F238E27FC236}">
                <a16:creationId xmlns:a16="http://schemas.microsoft.com/office/drawing/2014/main" id="{0D4637CB-02EC-46E5-9114-0034B7017B85}"/>
              </a:ext>
            </a:extLst>
          </p:cNvPr>
          <p:cNvSpPr/>
          <p:nvPr/>
        </p:nvSpPr>
        <p:spPr>
          <a:xfrm>
            <a:off x="4121754" y="2935643"/>
            <a:ext cx="292628" cy="274320"/>
          </a:xfrm>
          <a:prstGeom prst="ellipse">
            <a:avLst/>
          </a:prstGeom>
          <a:ln w="762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CA" sz="900"/>
              <a:t>3</a:t>
            </a:r>
          </a:p>
        </p:txBody>
      </p:sp>
      <p:sp>
        <p:nvSpPr>
          <p:cNvPr id="33" name="Oval 32">
            <a:extLst>
              <a:ext uri="{FF2B5EF4-FFF2-40B4-BE49-F238E27FC236}">
                <a16:creationId xmlns:a16="http://schemas.microsoft.com/office/drawing/2014/main" id="{4D37C7CB-84BF-4EDC-A5FA-DAA23AF2BE58}"/>
              </a:ext>
            </a:extLst>
          </p:cNvPr>
          <p:cNvSpPr/>
          <p:nvPr/>
        </p:nvSpPr>
        <p:spPr>
          <a:xfrm>
            <a:off x="6685520" y="1086057"/>
            <a:ext cx="292628" cy="274320"/>
          </a:xfrm>
          <a:prstGeom prst="ellipse">
            <a:avLst/>
          </a:prstGeom>
          <a:ln w="762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CA" sz="900"/>
              <a:t>8</a:t>
            </a:r>
          </a:p>
        </p:txBody>
      </p:sp>
      <p:sp>
        <p:nvSpPr>
          <p:cNvPr id="34" name="Oval 33">
            <a:extLst>
              <a:ext uri="{FF2B5EF4-FFF2-40B4-BE49-F238E27FC236}">
                <a16:creationId xmlns:a16="http://schemas.microsoft.com/office/drawing/2014/main" id="{C43A6675-C967-4488-8692-078A9420CB09}"/>
              </a:ext>
            </a:extLst>
          </p:cNvPr>
          <p:cNvSpPr/>
          <p:nvPr/>
        </p:nvSpPr>
        <p:spPr>
          <a:xfrm>
            <a:off x="7713065" y="1354845"/>
            <a:ext cx="292628" cy="274320"/>
          </a:xfrm>
          <a:prstGeom prst="ellipse">
            <a:avLst/>
          </a:prstGeom>
          <a:ln w="762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CA" sz="900"/>
              <a:t>4</a:t>
            </a:r>
          </a:p>
        </p:txBody>
      </p:sp>
      <p:sp>
        <p:nvSpPr>
          <p:cNvPr id="35" name="Oval 34">
            <a:extLst>
              <a:ext uri="{FF2B5EF4-FFF2-40B4-BE49-F238E27FC236}">
                <a16:creationId xmlns:a16="http://schemas.microsoft.com/office/drawing/2014/main" id="{14074318-EF92-4EB1-9F06-24D3134D9591}"/>
              </a:ext>
            </a:extLst>
          </p:cNvPr>
          <p:cNvSpPr/>
          <p:nvPr/>
        </p:nvSpPr>
        <p:spPr>
          <a:xfrm>
            <a:off x="9142989" y="1285748"/>
            <a:ext cx="292628" cy="274320"/>
          </a:xfrm>
          <a:prstGeom prst="ellipse">
            <a:avLst/>
          </a:prstGeom>
          <a:ln w="762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CA" sz="900"/>
              <a:t>9</a:t>
            </a:r>
          </a:p>
        </p:txBody>
      </p:sp>
      <p:sp>
        <p:nvSpPr>
          <p:cNvPr id="36" name="Oval 35">
            <a:extLst>
              <a:ext uri="{FF2B5EF4-FFF2-40B4-BE49-F238E27FC236}">
                <a16:creationId xmlns:a16="http://schemas.microsoft.com/office/drawing/2014/main" id="{D41B8308-EA64-4A64-A6B4-5BD72E06271D}"/>
              </a:ext>
            </a:extLst>
          </p:cNvPr>
          <p:cNvSpPr/>
          <p:nvPr/>
        </p:nvSpPr>
        <p:spPr>
          <a:xfrm>
            <a:off x="5461510" y="4884007"/>
            <a:ext cx="292628" cy="274320"/>
          </a:xfrm>
          <a:prstGeom prst="ellipse">
            <a:avLst/>
          </a:prstGeom>
          <a:ln w="762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CA" sz="900"/>
              <a:t>7</a:t>
            </a:r>
          </a:p>
        </p:txBody>
      </p:sp>
      <p:sp>
        <p:nvSpPr>
          <p:cNvPr id="37" name="Oval 36">
            <a:extLst>
              <a:ext uri="{FF2B5EF4-FFF2-40B4-BE49-F238E27FC236}">
                <a16:creationId xmlns:a16="http://schemas.microsoft.com/office/drawing/2014/main" id="{3D48EA6A-0623-4C1D-92FD-115F7DE23B0D}"/>
              </a:ext>
            </a:extLst>
          </p:cNvPr>
          <p:cNvSpPr/>
          <p:nvPr/>
        </p:nvSpPr>
        <p:spPr>
          <a:xfrm>
            <a:off x="6761093" y="4609687"/>
            <a:ext cx="292628" cy="274320"/>
          </a:xfrm>
          <a:prstGeom prst="ellipse">
            <a:avLst/>
          </a:prstGeom>
          <a:ln w="762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CA" sz="900"/>
              <a:t>5</a:t>
            </a:r>
          </a:p>
        </p:txBody>
      </p:sp>
      <p:sp>
        <p:nvSpPr>
          <p:cNvPr id="38" name="Oval 37">
            <a:extLst>
              <a:ext uri="{FF2B5EF4-FFF2-40B4-BE49-F238E27FC236}">
                <a16:creationId xmlns:a16="http://schemas.microsoft.com/office/drawing/2014/main" id="{5726CFED-951A-49E5-AB22-AB0D0C5BD5A9}"/>
              </a:ext>
            </a:extLst>
          </p:cNvPr>
          <p:cNvSpPr/>
          <p:nvPr/>
        </p:nvSpPr>
        <p:spPr>
          <a:xfrm>
            <a:off x="8567708" y="4801182"/>
            <a:ext cx="292628" cy="274320"/>
          </a:xfrm>
          <a:prstGeom prst="ellipse">
            <a:avLst/>
          </a:prstGeom>
          <a:ln w="762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CA" sz="900"/>
              <a:t>6</a:t>
            </a:r>
          </a:p>
        </p:txBody>
      </p:sp>
      <p:sp>
        <p:nvSpPr>
          <p:cNvPr id="28" name="TextBox 27">
            <a:extLst>
              <a:ext uri="{FF2B5EF4-FFF2-40B4-BE49-F238E27FC236}">
                <a16:creationId xmlns:a16="http://schemas.microsoft.com/office/drawing/2014/main" id="{83EB8E4D-7C7C-409E-9DB4-919B67FB07F5}"/>
              </a:ext>
            </a:extLst>
          </p:cNvPr>
          <p:cNvSpPr txBox="1"/>
          <p:nvPr/>
        </p:nvSpPr>
        <p:spPr>
          <a:xfrm rot="19289741">
            <a:off x="2198880" y="3878096"/>
            <a:ext cx="1556946" cy="2191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130000"/>
              </a:lnSpc>
              <a:buClr>
                <a:schemeClr val="accent5"/>
              </a:buClr>
              <a:buSzPct val="80000"/>
            </a:pPr>
            <a:endParaRPr lang="en-US" sz="1200" b="1">
              <a:solidFill>
                <a:schemeClr val="bg2"/>
              </a:solidFill>
              <a:latin typeface="Scotia" panose="020B0503020203020204" pitchFamily="34" charset="0"/>
            </a:endParaRPr>
          </a:p>
        </p:txBody>
      </p:sp>
      <p:pic>
        <p:nvPicPr>
          <p:cNvPr id="3" name="Picture 2">
            <a:extLst>
              <a:ext uri="{FF2B5EF4-FFF2-40B4-BE49-F238E27FC236}">
                <a16:creationId xmlns:a16="http://schemas.microsoft.com/office/drawing/2014/main" id="{71CA116F-3941-981E-17A3-ACA7CFB10558}"/>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636C0FC8-1153-4310-12C8-F4F705B7CCF9}"/>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57159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9907AE9-7A8D-45F4-821B-F2A3790696AD}" type="slidenum">
              <a:rPr lang="en-US" smtClean="0">
                <a:solidFill>
                  <a:prstClr val="black">
                    <a:tint val="75000"/>
                  </a:prstClr>
                </a:solidFill>
              </a:rPr>
              <a:pPr/>
              <a:t>38</a:t>
            </a:fld>
            <a:endParaRPr lang="en-US">
              <a:solidFill>
                <a:prstClr val="black">
                  <a:tint val="75000"/>
                </a:prstClr>
              </a:solidFill>
            </a:endParaRPr>
          </a:p>
        </p:txBody>
      </p:sp>
      <p:sp>
        <p:nvSpPr>
          <p:cNvPr id="5" name="Title 2"/>
          <p:cNvSpPr txBox="1">
            <a:spLocks/>
          </p:cNvSpPr>
          <p:nvPr/>
        </p:nvSpPr>
        <p:spPr>
          <a:xfrm>
            <a:off x="692903" y="417489"/>
            <a:ext cx="10812945" cy="424726"/>
          </a:xfrm>
          <a:prstGeom prst="rect">
            <a:avLst/>
          </a:prstGeom>
        </p:spPr>
        <p:txBody>
          <a:bodyPr vert="horz" wrap="square" lIns="91434" tIns="45717" rIns="91434" bIns="45717" rtlCol="0" anchor="b" anchorCtr="0">
            <a:spAutoFit/>
          </a:bodyPr>
          <a:lstStyle>
            <a:lvl1pPr algn="l" defTabSz="914400" rtl="0" eaLnBrk="1" latinLnBrk="0" hangingPunct="1">
              <a:lnSpc>
                <a:spcPct val="90000"/>
              </a:lnSpc>
              <a:spcBef>
                <a:spcPct val="0"/>
              </a:spcBef>
              <a:buNone/>
              <a:defRPr sz="3600" kern="1200">
                <a:solidFill>
                  <a:schemeClr val="tx1"/>
                </a:solidFill>
                <a:latin typeface="Calibri" panose="020F0502020204030204" pitchFamily="34" charset="0"/>
                <a:ea typeface="+mj-ea"/>
                <a:cs typeface="+mj-cs"/>
              </a:defRPr>
            </a:lvl1pPr>
          </a:lstStyle>
          <a:p>
            <a:pPr defTabSz="914355">
              <a:defRPr/>
            </a:pPr>
            <a:r>
              <a:rPr lang="en-CA" sz="2400" b="1" err="1">
                <a:solidFill>
                  <a:sysClr val="windowText" lastClr="000000"/>
                </a:solidFill>
                <a:latin typeface="Calibri" panose="020F0502020204030204"/>
              </a:rPr>
              <a:t>Reportes</a:t>
            </a:r>
            <a:r>
              <a:rPr lang="en-CA" sz="2400" b="1">
                <a:solidFill>
                  <a:sysClr val="windowText" lastClr="000000"/>
                </a:solidFill>
                <a:latin typeface="Calibri" panose="020F0502020204030204"/>
              </a:rPr>
              <a:t> &amp; </a:t>
            </a:r>
            <a:r>
              <a:rPr lang="en-CA" sz="2400" b="1" err="1">
                <a:solidFill>
                  <a:sysClr val="windowText" lastClr="000000"/>
                </a:solidFill>
                <a:latin typeface="Calibri" panose="020F0502020204030204"/>
              </a:rPr>
              <a:t>Tableros</a:t>
            </a:r>
            <a:r>
              <a:rPr lang="en-CA" sz="2400" b="1">
                <a:solidFill>
                  <a:sysClr val="windowText" lastClr="000000"/>
                </a:solidFill>
                <a:latin typeface="Calibri" panose="020F0502020204030204"/>
              </a:rPr>
              <a:t> de control</a:t>
            </a:r>
          </a:p>
        </p:txBody>
      </p:sp>
      <p:sp>
        <p:nvSpPr>
          <p:cNvPr id="7" name="Content Placeholder 3"/>
          <p:cNvSpPr txBox="1">
            <a:spLocks/>
          </p:cNvSpPr>
          <p:nvPr/>
        </p:nvSpPr>
        <p:spPr>
          <a:xfrm>
            <a:off x="692903" y="924533"/>
            <a:ext cx="11218069" cy="488621"/>
          </a:xfrm>
          <a:prstGeom prst="rect">
            <a:avLst/>
          </a:prstGeom>
        </p:spPr>
        <p:txBody>
          <a:bodyPr vert="horz" lIns="91434" tIns="45717" rIns="91434" bIns="45717"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55">
              <a:buNone/>
              <a:defRPr/>
            </a:pPr>
            <a:r>
              <a:rPr lang="en-CA" sz="2400" err="1">
                <a:solidFill>
                  <a:sysClr val="windowText" lastClr="000000"/>
                </a:solidFill>
                <a:latin typeface="Calibri" panose="020F0502020204030204"/>
              </a:rPr>
              <a:t>Usuarios</a:t>
            </a:r>
            <a:r>
              <a:rPr lang="en-CA" sz="2400">
                <a:solidFill>
                  <a:sysClr val="windowText" lastClr="000000"/>
                </a:solidFill>
                <a:latin typeface="Calibri" panose="020F0502020204030204"/>
              </a:rPr>
              <a:t>:		Project Leads, Product Owners, Scrum Masters, </a:t>
            </a:r>
            <a:r>
              <a:rPr lang="en-CA" sz="2400" err="1">
                <a:solidFill>
                  <a:sysClr val="windowText" lastClr="000000"/>
                </a:solidFill>
                <a:latin typeface="Calibri" panose="020F0502020204030204"/>
              </a:rPr>
              <a:t>otros</a:t>
            </a:r>
            <a:r>
              <a:rPr lang="en-CA" sz="2400">
                <a:solidFill>
                  <a:sysClr val="windowText" lastClr="000000"/>
                </a:solidFill>
                <a:latin typeface="Calibri" panose="020F0502020204030204"/>
              </a:rPr>
              <a:t> </a:t>
            </a:r>
            <a:r>
              <a:rPr lang="en-CA" sz="2400" err="1">
                <a:solidFill>
                  <a:sysClr val="windowText" lastClr="000000"/>
                </a:solidFill>
                <a:latin typeface="Calibri" panose="020F0502020204030204"/>
              </a:rPr>
              <a:t>usuarios</a:t>
            </a:r>
            <a:r>
              <a:rPr lang="en-CA" sz="2400">
                <a:solidFill>
                  <a:sysClr val="windowText" lastClr="000000"/>
                </a:solidFill>
                <a:latin typeface="Calibri" panose="020F0502020204030204"/>
              </a:rPr>
              <a:t>.</a:t>
            </a:r>
            <a:endParaRPr lang="en-CA" sz="2000">
              <a:solidFill>
                <a:sysClr val="windowText" lastClr="000000"/>
              </a:solidFill>
              <a:latin typeface="Calibri" panose="020F0502020204030204"/>
            </a:endParaRPr>
          </a:p>
        </p:txBody>
      </p:sp>
      <p:sp>
        <p:nvSpPr>
          <p:cNvPr id="2" name="TextBox 1"/>
          <p:cNvSpPr txBox="1"/>
          <p:nvPr/>
        </p:nvSpPr>
        <p:spPr>
          <a:xfrm>
            <a:off x="692902" y="1714612"/>
            <a:ext cx="3602991" cy="3785652"/>
          </a:xfrm>
          <a:prstGeom prst="rect">
            <a:avLst/>
          </a:prstGeom>
          <a:noFill/>
        </p:spPr>
        <p:txBody>
          <a:bodyPr wrap="square" rtlCol="0">
            <a:spAutoFit/>
          </a:bodyPr>
          <a:lstStyle/>
          <a:p>
            <a:pPr marL="285736" indent="-285736">
              <a:buFontTx/>
              <a:buChar char="-"/>
            </a:pPr>
            <a:r>
              <a:rPr lang="es-CO" sz="1600"/>
              <a:t>Acceso las 24 horas, los 7 días de la semana a todos los informes a través de tableros Scrum / Kanban.</a:t>
            </a:r>
          </a:p>
          <a:p>
            <a:pPr marL="285736" indent="-285736">
              <a:buFontTx/>
              <a:buChar char="-"/>
            </a:pPr>
            <a:r>
              <a:rPr lang="es-CO" sz="1600"/>
              <a:t>Datos en tiempo real que se actualizan a medida que se realiza el trabajo real</a:t>
            </a:r>
          </a:p>
          <a:p>
            <a:pPr marL="285736" indent="-285736">
              <a:buFontTx/>
              <a:buChar char="-"/>
            </a:pPr>
            <a:r>
              <a:rPr lang="es-CO" sz="1600"/>
              <a:t>Paneles de control personalizables para diferentes tipos de usuarios</a:t>
            </a:r>
          </a:p>
          <a:p>
            <a:pPr marL="285736" indent="-285736">
              <a:buFontTx/>
              <a:buChar char="-"/>
            </a:pPr>
            <a:r>
              <a:rPr lang="es-CO" sz="1600"/>
              <a:t>Cuadros de mando individuales para gestionar el trabajo diario</a:t>
            </a:r>
          </a:p>
          <a:p>
            <a:pPr marL="285736" indent="-285736">
              <a:buFontTx/>
              <a:buChar char="-"/>
            </a:pPr>
            <a:r>
              <a:rPr lang="es-CO" sz="1600"/>
              <a:t>Acceso a toda la información detallada y los artefactos directamente desde los paneles a través de enlaces web.</a:t>
            </a:r>
            <a:endParaRPr lang="en-CA" sz="160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295893" y="1714613"/>
            <a:ext cx="7209954" cy="3852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a:extLst>
              <a:ext uri="{FF2B5EF4-FFF2-40B4-BE49-F238E27FC236}">
                <a16:creationId xmlns:a16="http://schemas.microsoft.com/office/drawing/2014/main" id="{32D48148-255A-B836-FEF6-F73BA71381E3}"/>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a:extLst>
              <a:ext uri="{FF2B5EF4-FFF2-40B4-BE49-F238E27FC236}">
                <a16:creationId xmlns:a16="http://schemas.microsoft.com/office/drawing/2014/main" id="{ABE671DA-46E0-CD28-237E-ACECD1FBC685}"/>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94885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367A5-2571-8742-8903-B13F7BE0CABA}"/>
              </a:ext>
            </a:extLst>
          </p:cNvPr>
          <p:cNvSpPr>
            <a:spLocks noGrp="1"/>
          </p:cNvSpPr>
          <p:nvPr>
            <p:ph type="title"/>
          </p:nvPr>
        </p:nvSpPr>
        <p:spPr/>
        <p:txBody>
          <a:bodyPr/>
          <a:lstStyle/>
          <a:p>
            <a:r>
              <a:rPr lang="es-CO"/>
              <a:t>Tableros de control (Algunos de los Gadgets)</a:t>
            </a:r>
          </a:p>
        </p:txBody>
      </p:sp>
      <p:pic>
        <p:nvPicPr>
          <p:cNvPr id="6" name="Picture 5">
            <a:extLst>
              <a:ext uri="{FF2B5EF4-FFF2-40B4-BE49-F238E27FC236}">
                <a16:creationId xmlns:a16="http://schemas.microsoft.com/office/drawing/2014/main" id="{E59934F9-53CB-438B-A67D-737157AFE2A9}"/>
              </a:ext>
            </a:extLst>
          </p:cNvPr>
          <p:cNvPicPr>
            <a:picLocks noChangeAspect="1"/>
          </p:cNvPicPr>
          <p:nvPr/>
        </p:nvPicPr>
        <p:blipFill>
          <a:blip r:embed="rId3"/>
          <a:stretch>
            <a:fillRect/>
          </a:stretch>
        </p:blipFill>
        <p:spPr>
          <a:xfrm>
            <a:off x="2224118" y="1690689"/>
            <a:ext cx="7743765" cy="4010865"/>
          </a:xfrm>
          <a:prstGeom prst="rect">
            <a:avLst/>
          </a:prstGeom>
        </p:spPr>
      </p:pic>
      <p:sp>
        <p:nvSpPr>
          <p:cNvPr id="7" name="Rectangle 6">
            <a:extLst>
              <a:ext uri="{FF2B5EF4-FFF2-40B4-BE49-F238E27FC236}">
                <a16:creationId xmlns:a16="http://schemas.microsoft.com/office/drawing/2014/main" id="{A1EFDFD9-99A3-4EBB-B046-560AF5DC45EC}"/>
              </a:ext>
            </a:extLst>
          </p:cNvPr>
          <p:cNvSpPr/>
          <p:nvPr/>
        </p:nvSpPr>
        <p:spPr>
          <a:xfrm>
            <a:off x="2402938" y="1970809"/>
            <a:ext cx="2115671" cy="1035052"/>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00"/>
          </a:p>
        </p:txBody>
      </p:sp>
      <p:sp>
        <p:nvSpPr>
          <p:cNvPr id="8" name="Rectangle 7">
            <a:extLst>
              <a:ext uri="{FF2B5EF4-FFF2-40B4-BE49-F238E27FC236}">
                <a16:creationId xmlns:a16="http://schemas.microsoft.com/office/drawing/2014/main" id="{9F003096-27A5-4C00-930D-FA2BBBD44A5F}"/>
              </a:ext>
            </a:extLst>
          </p:cNvPr>
          <p:cNvSpPr/>
          <p:nvPr/>
        </p:nvSpPr>
        <p:spPr>
          <a:xfrm>
            <a:off x="2402938" y="3057816"/>
            <a:ext cx="2115671" cy="2719938"/>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00"/>
          </a:p>
        </p:txBody>
      </p:sp>
      <p:sp>
        <p:nvSpPr>
          <p:cNvPr id="9" name="Rectangle 8">
            <a:extLst>
              <a:ext uri="{FF2B5EF4-FFF2-40B4-BE49-F238E27FC236}">
                <a16:creationId xmlns:a16="http://schemas.microsoft.com/office/drawing/2014/main" id="{C0FF8901-9020-4002-9889-36D16653D803}"/>
              </a:ext>
            </a:extLst>
          </p:cNvPr>
          <p:cNvSpPr/>
          <p:nvPr/>
        </p:nvSpPr>
        <p:spPr>
          <a:xfrm>
            <a:off x="4599903" y="1981200"/>
            <a:ext cx="5219903" cy="1223155"/>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00"/>
          </a:p>
        </p:txBody>
      </p:sp>
      <p:sp>
        <p:nvSpPr>
          <p:cNvPr id="10" name="Rectangle 9">
            <a:extLst>
              <a:ext uri="{FF2B5EF4-FFF2-40B4-BE49-F238E27FC236}">
                <a16:creationId xmlns:a16="http://schemas.microsoft.com/office/drawing/2014/main" id="{85C4A735-9562-4CE5-A1A2-0995425DB08C}"/>
              </a:ext>
            </a:extLst>
          </p:cNvPr>
          <p:cNvSpPr/>
          <p:nvPr/>
        </p:nvSpPr>
        <p:spPr>
          <a:xfrm>
            <a:off x="4599902" y="3283527"/>
            <a:ext cx="5219904" cy="2494226"/>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00"/>
          </a:p>
        </p:txBody>
      </p:sp>
      <p:sp>
        <p:nvSpPr>
          <p:cNvPr id="11" name="TextBox 10">
            <a:extLst>
              <a:ext uri="{FF2B5EF4-FFF2-40B4-BE49-F238E27FC236}">
                <a16:creationId xmlns:a16="http://schemas.microsoft.com/office/drawing/2014/main" id="{64922FA1-EB17-491F-9B6D-D321FD37163F}"/>
              </a:ext>
            </a:extLst>
          </p:cNvPr>
          <p:cNvSpPr txBox="1"/>
          <p:nvPr/>
        </p:nvSpPr>
        <p:spPr>
          <a:xfrm>
            <a:off x="503697" y="2068672"/>
            <a:ext cx="1572345" cy="93435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l">
              <a:lnSpc>
                <a:spcPct val="150000"/>
              </a:lnSpc>
              <a:buClr>
                <a:schemeClr val="accent5"/>
              </a:buClr>
              <a:buSzPct val="80000"/>
            </a:pPr>
            <a:r>
              <a:rPr lang="en-CA" sz="1400" b="1">
                <a:latin typeface="Scotia" panose="020B0503020203020204" pitchFamily="34" charset="0"/>
              </a:rPr>
              <a:t>Roadmap</a:t>
            </a:r>
          </a:p>
          <a:p>
            <a:pPr algn="l">
              <a:lnSpc>
                <a:spcPct val="150000"/>
              </a:lnSpc>
              <a:buClr>
                <a:schemeClr val="accent5"/>
              </a:buClr>
              <a:buSzPct val="80000"/>
            </a:pPr>
            <a:r>
              <a:rPr lang="es-CO" sz="1400" b="1">
                <a:latin typeface="Scotia" panose="020B0503020203020204" pitchFamily="34" charset="0"/>
              </a:rPr>
              <a:t>Con su progreso actual</a:t>
            </a:r>
          </a:p>
        </p:txBody>
      </p:sp>
      <p:sp>
        <p:nvSpPr>
          <p:cNvPr id="12" name="TextBox 11">
            <a:extLst>
              <a:ext uri="{FF2B5EF4-FFF2-40B4-BE49-F238E27FC236}">
                <a16:creationId xmlns:a16="http://schemas.microsoft.com/office/drawing/2014/main" id="{8A1D6E1E-C814-4860-86E7-EDF32E141AC8}"/>
              </a:ext>
            </a:extLst>
          </p:cNvPr>
          <p:cNvSpPr txBox="1"/>
          <p:nvPr/>
        </p:nvSpPr>
        <p:spPr>
          <a:xfrm>
            <a:off x="503697" y="4273786"/>
            <a:ext cx="1469954" cy="28802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chor="t">
            <a:spAutoFit/>
          </a:bodyPr>
          <a:lstStyle/>
          <a:p>
            <a:pPr algn="l">
              <a:lnSpc>
                <a:spcPct val="150000"/>
              </a:lnSpc>
              <a:buClr>
                <a:schemeClr val="accent5"/>
              </a:buClr>
              <a:buSzPct val="80000"/>
            </a:pPr>
            <a:r>
              <a:rPr lang="en-CA" sz="1400" b="1" err="1">
                <a:latin typeface="Scotia" panose="020B0503020203020204" pitchFamily="34" charset="0"/>
              </a:rPr>
              <a:t>Gráficos</a:t>
            </a:r>
            <a:r>
              <a:rPr lang="en-CA" sz="1400" b="1">
                <a:latin typeface="Scotia" panose="020B0503020203020204" pitchFamily="34" charset="0"/>
              </a:rPr>
              <a:t> de pastel</a:t>
            </a:r>
          </a:p>
        </p:txBody>
      </p:sp>
      <p:sp>
        <p:nvSpPr>
          <p:cNvPr id="13" name="TextBox 12">
            <a:extLst>
              <a:ext uri="{FF2B5EF4-FFF2-40B4-BE49-F238E27FC236}">
                <a16:creationId xmlns:a16="http://schemas.microsoft.com/office/drawing/2014/main" id="{A2271BC6-16C0-4519-8C3E-75F9A0095063}"/>
              </a:ext>
            </a:extLst>
          </p:cNvPr>
          <p:cNvSpPr txBox="1"/>
          <p:nvPr/>
        </p:nvSpPr>
        <p:spPr>
          <a:xfrm>
            <a:off x="10264388" y="4063476"/>
            <a:ext cx="1745130" cy="93435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l">
              <a:lnSpc>
                <a:spcPct val="150000"/>
              </a:lnSpc>
              <a:buClr>
                <a:schemeClr val="accent5"/>
              </a:buClr>
              <a:buSzPct val="80000"/>
            </a:pPr>
            <a:r>
              <a:rPr lang="es-CO" sz="1400" b="1">
                <a:latin typeface="Scotia" panose="020B0503020203020204" pitchFamily="34" charset="0"/>
              </a:rPr>
              <a:t>Filtrar Resultados</a:t>
            </a:r>
          </a:p>
          <a:p>
            <a:pPr algn="l">
              <a:lnSpc>
                <a:spcPct val="150000"/>
              </a:lnSpc>
              <a:buClr>
                <a:schemeClr val="accent5"/>
              </a:buClr>
              <a:buSzPct val="80000"/>
            </a:pPr>
            <a:r>
              <a:rPr lang="es-CO" sz="1400" b="1">
                <a:latin typeface="Scotia" panose="020B0503020203020204" pitchFamily="34" charset="0"/>
              </a:rPr>
              <a:t>(Similar a Excel-Tablas dinámicas)</a:t>
            </a:r>
            <a:endParaRPr lang="en-CA" sz="1400" b="1">
              <a:latin typeface="Scotia" panose="020B0503020203020204" pitchFamily="34" charset="0"/>
            </a:endParaRPr>
          </a:p>
        </p:txBody>
      </p:sp>
      <p:sp>
        <p:nvSpPr>
          <p:cNvPr id="14" name="TextBox 13">
            <a:extLst>
              <a:ext uri="{FF2B5EF4-FFF2-40B4-BE49-F238E27FC236}">
                <a16:creationId xmlns:a16="http://schemas.microsoft.com/office/drawing/2014/main" id="{580D6DCE-6B84-43FB-BA23-1A7E3AAD9362}"/>
              </a:ext>
            </a:extLst>
          </p:cNvPr>
          <p:cNvSpPr txBox="1"/>
          <p:nvPr/>
        </p:nvSpPr>
        <p:spPr>
          <a:xfrm>
            <a:off x="10264387" y="2212669"/>
            <a:ext cx="1317669" cy="61119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l">
              <a:lnSpc>
                <a:spcPct val="150000"/>
              </a:lnSpc>
              <a:buClr>
                <a:schemeClr val="accent5"/>
              </a:buClr>
              <a:buSzPct val="80000"/>
            </a:pPr>
            <a:r>
              <a:rPr lang="es-CO" sz="1400" b="1">
                <a:latin typeface="Scotia" panose="020B0503020203020204" pitchFamily="34" charset="0"/>
              </a:rPr>
              <a:t>Matrices de 2 dimensiones</a:t>
            </a:r>
          </a:p>
        </p:txBody>
      </p:sp>
      <p:pic>
        <p:nvPicPr>
          <p:cNvPr id="3" name="Picture 2">
            <a:extLst>
              <a:ext uri="{FF2B5EF4-FFF2-40B4-BE49-F238E27FC236}">
                <a16:creationId xmlns:a16="http://schemas.microsoft.com/office/drawing/2014/main" id="{60CE2189-7AF8-4C0E-3E2D-9721BE1D7A94}"/>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8C01C974-FF8B-AEE6-3EEC-0BFE3E9B12BD}"/>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7429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6">
            <a:extLst>
              <a:ext uri="{FF2B5EF4-FFF2-40B4-BE49-F238E27FC236}">
                <a16:creationId xmlns:a16="http://schemas.microsoft.com/office/drawing/2014/main" id="{5EF91943-BF1E-8747-8B95-49EAD6157D78}"/>
              </a:ext>
            </a:extLst>
          </p:cNvPr>
          <p:cNvSpPr txBox="1"/>
          <p:nvPr/>
        </p:nvSpPr>
        <p:spPr>
          <a:xfrm>
            <a:off x="1130663" y="2354691"/>
            <a:ext cx="9725263" cy="276998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7200">
                <a:solidFill>
                  <a:srgbClr val="FFFFFF"/>
                </a:solidFill>
                <a:latin typeface="Gilroy ExtraBold"/>
                <a:ea typeface="Gilroy ExtraBold"/>
                <a:cs typeface="Gilroy ExtraBold"/>
                <a:sym typeface="Gilroy Extra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6000" b="1" i="0" u="none" strike="noStrike" kern="1200" cap="none" spc="0" normalizeH="0" baseline="0" noProof="0">
              <a:ln>
                <a:noFill/>
              </a:ln>
              <a:solidFill>
                <a:srgbClr val="FFFFFF"/>
              </a:solidFill>
              <a:effectLst/>
              <a:uLnTx/>
              <a:uFillTx/>
              <a:latin typeface="Scotia Headline" panose="020B0503020203020204" pitchFamily="34" charset="0"/>
              <a:sym typeface="Gilroy ExtraBold"/>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0" b="1" i="0" u="none" strike="noStrike" kern="1200" cap="none" spc="0" normalizeH="0" baseline="0" noProof="0">
                <a:ln>
                  <a:noFill/>
                </a:ln>
                <a:solidFill>
                  <a:srgbClr val="FFFFFF"/>
                </a:solidFill>
                <a:effectLst/>
                <a:uLnTx/>
                <a:uFillTx/>
                <a:latin typeface="Scotia Headline" panose="020B0503020203020204" pitchFamily="34" charset="0"/>
                <a:sym typeface="Gilroy ExtraBold"/>
              </a:rPr>
              <a:t>Hablemos d</a:t>
            </a:r>
            <a:r>
              <a:rPr lang="es-ES" sz="6000" b="1">
                <a:latin typeface="Scotia Headline" panose="020B0503020203020204" pitchFamily="34" charset="0"/>
              </a:rPr>
              <a:t>e los Valores y Principios Ágiles…</a:t>
            </a:r>
            <a:endParaRPr kumimoji="0" lang="es-ES" sz="6000" b="1" i="0" u="none" strike="noStrike" kern="1200" cap="none" spc="0" normalizeH="0" baseline="0" noProof="0">
              <a:ln>
                <a:noFill/>
              </a:ln>
              <a:solidFill>
                <a:srgbClr val="FFFFFF"/>
              </a:solidFill>
              <a:effectLst/>
              <a:uLnTx/>
              <a:uFillTx/>
              <a:latin typeface="Scotia Headline" panose="020B0503020203020204" pitchFamily="34" charset="0"/>
              <a:sym typeface="Gilroy ExtraBold"/>
            </a:endParaRPr>
          </a:p>
        </p:txBody>
      </p:sp>
      <p:pic>
        <p:nvPicPr>
          <p:cNvPr id="1026" name="Picture 2">
            <a:extLst>
              <a:ext uri="{FF2B5EF4-FFF2-40B4-BE49-F238E27FC236}">
                <a16:creationId xmlns:a16="http://schemas.microsoft.com/office/drawing/2014/main" id="{82507E39-B8E9-5605-2E5E-4AC0105D688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638799" y="1192696"/>
            <a:ext cx="1384852" cy="1384852"/>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FC3EA3F9-09D6-0DF0-0BC6-C67F44511610}"/>
              </a:ext>
            </a:extLst>
          </p:cNvPr>
          <p:cNvSpPr/>
          <p:nvPr/>
        </p:nvSpPr>
        <p:spPr>
          <a:xfrm>
            <a:off x="9405420" y="6374913"/>
            <a:ext cx="161925" cy="149735"/>
          </a:xfrm>
          <a:prstGeom prst="ellipse">
            <a:avLst/>
          </a:prstGeom>
          <a:solidFill>
            <a:srgbClr val="7849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26862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TextBox 6">
            <a:extLst>
              <a:ext uri="{FF2B5EF4-FFF2-40B4-BE49-F238E27FC236}">
                <a16:creationId xmlns:a16="http://schemas.microsoft.com/office/drawing/2014/main" id="{5EF91943-BF1E-8747-8B95-49EAD6157D78}"/>
              </a:ext>
            </a:extLst>
          </p:cNvPr>
          <p:cNvSpPr txBox="1"/>
          <p:nvPr/>
        </p:nvSpPr>
        <p:spPr>
          <a:xfrm>
            <a:off x="1349173" y="2655349"/>
            <a:ext cx="9725263" cy="110799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7200">
                <a:solidFill>
                  <a:srgbClr val="FFFFFF"/>
                </a:solidFill>
                <a:latin typeface="Gilroy ExtraBold"/>
                <a:ea typeface="Gilroy ExtraBold"/>
                <a:cs typeface="Gilroy ExtraBold"/>
                <a:sym typeface="Gilroy ExtraBold"/>
              </a:defRPr>
            </a:lvl1pPr>
          </a:lstStyle>
          <a:p>
            <a:pPr algn="ctr"/>
            <a:r>
              <a:rPr lang="en-CA" b="1">
                <a:solidFill>
                  <a:schemeClr val="bg2"/>
                </a:solidFill>
                <a:latin typeface="Scotia Headline" panose="020B0503020203020204" pitchFamily="34" charset="0"/>
              </a:rPr>
              <a:t>Q &amp; A</a:t>
            </a:r>
            <a:endParaRPr b="1">
              <a:solidFill>
                <a:schemeClr val="bg2"/>
              </a:solidFill>
              <a:latin typeface="Scotia Headline" panose="020B0503020203020204" pitchFamily="34" charset="0"/>
            </a:endParaRPr>
          </a:p>
        </p:txBody>
      </p:sp>
      <p:pic>
        <p:nvPicPr>
          <p:cNvPr id="2" name="Picture 2">
            <a:extLst>
              <a:ext uri="{FF2B5EF4-FFF2-40B4-BE49-F238E27FC236}">
                <a16:creationId xmlns:a16="http://schemas.microsoft.com/office/drawing/2014/main" id="{6AE266B1-3C0A-D95D-FF5F-BF33DB5919B6}"/>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16167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Box 6">
            <a:extLst>
              <a:ext uri="{FF2B5EF4-FFF2-40B4-BE49-F238E27FC236}">
                <a16:creationId xmlns:a16="http://schemas.microsoft.com/office/drawing/2014/main" id="{5EF91943-BF1E-8747-8B95-49EAD6157D78}"/>
              </a:ext>
            </a:extLst>
          </p:cNvPr>
          <p:cNvSpPr txBox="1"/>
          <p:nvPr/>
        </p:nvSpPr>
        <p:spPr>
          <a:xfrm>
            <a:off x="1349173" y="2655349"/>
            <a:ext cx="9725263" cy="110799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7200">
                <a:solidFill>
                  <a:srgbClr val="FFFFFF"/>
                </a:solidFill>
                <a:latin typeface="Gilroy ExtraBold"/>
                <a:ea typeface="Gilroy ExtraBold"/>
                <a:cs typeface="Gilroy ExtraBold"/>
                <a:sym typeface="Gilroy ExtraBold"/>
              </a:defRPr>
            </a:lvl1pPr>
          </a:lstStyle>
          <a:p>
            <a:pPr algn="ctr"/>
            <a:r>
              <a:rPr lang="en-CA" b="1">
                <a:solidFill>
                  <a:schemeClr val="bg2"/>
                </a:solidFill>
                <a:latin typeface="Scotia Headline" panose="020B0503020203020204" pitchFamily="34" charset="0"/>
              </a:rPr>
              <a:t>¡</a:t>
            </a:r>
            <a:r>
              <a:rPr lang="en-CA" b="1" err="1">
                <a:solidFill>
                  <a:schemeClr val="bg2"/>
                </a:solidFill>
                <a:latin typeface="Scotia Headline" panose="020B0503020203020204" pitchFamily="34" charset="0"/>
              </a:rPr>
              <a:t>Muchas</a:t>
            </a:r>
            <a:r>
              <a:rPr lang="en-CA" b="1">
                <a:solidFill>
                  <a:schemeClr val="bg2"/>
                </a:solidFill>
                <a:latin typeface="Scotia Headline" panose="020B0503020203020204" pitchFamily="34" charset="0"/>
              </a:rPr>
              <a:t> gracias!</a:t>
            </a:r>
            <a:endParaRPr b="1">
              <a:solidFill>
                <a:schemeClr val="bg2"/>
              </a:solidFill>
              <a:latin typeface="Scotia Headline" panose="020B0503020203020204" pitchFamily="34" charset="0"/>
            </a:endParaRPr>
          </a:p>
        </p:txBody>
      </p:sp>
      <p:pic>
        <p:nvPicPr>
          <p:cNvPr id="2" name="Picture 2">
            <a:extLst>
              <a:ext uri="{FF2B5EF4-FFF2-40B4-BE49-F238E27FC236}">
                <a16:creationId xmlns:a16="http://schemas.microsoft.com/office/drawing/2014/main" id="{785CA457-50A8-EA05-F391-83BE6CFE5D88}"/>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2305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
            </p:custDataLst>
          </p:nvPr>
        </p:nvGraphicFramePr>
        <p:xfrm>
          <a:off x="1524003" y="204"/>
          <a:ext cx="158750" cy="158741"/>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4003" y="204"/>
                        <a:ext cx="158750" cy="158741"/>
                      </a:xfrm>
                      <a:prstGeom prst="rect">
                        <a:avLst/>
                      </a:prstGeom>
                    </p:spPr>
                  </p:pic>
                </p:oleObj>
              </mc:Fallback>
            </mc:AlternateContent>
          </a:graphicData>
        </a:graphic>
      </p:graphicFrame>
      <p:sp>
        <p:nvSpPr>
          <p:cNvPr id="353296" name="McK 5. Source"/>
          <p:cNvSpPr>
            <a:spLocks noChangeArrowheads="1"/>
          </p:cNvSpPr>
          <p:nvPr>
            <p:custDataLst>
              <p:tags r:id="rId2"/>
            </p:custDataLst>
          </p:nvPr>
        </p:nvSpPr>
        <p:spPr bwMode="gray">
          <a:xfrm>
            <a:off x="-174812" y="6576510"/>
            <a:ext cx="225415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algn="r" defTabSz="913429">
              <a:tabLst>
                <a:tab pos="625148" algn="l"/>
              </a:tabLst>
            </a:pPr>
            <a:r>
              <a:rPr lang="en-US" sz="1000">
                <a:latin typeface="Scotia" panose="020B0503020203020204" pitchFamily="34" charset="0"/>
              </a:rPr>
              <a:t>SOURCE: </a:t>
            </a:r>
            <a:r>
              <a:rPr lang="en-US" sz="1000" err="1">
                <a:latin typeface="Scotia" panose="020B0503020203020204" pitchFamily="34" charset="0"/>
              </a:rPr>
              <a:t>www.agilemanifesto.org</a:t>
            </a:r>
            <a:r>
              <a:rPr lang="en-US" sz="1000">
                <a:latin typeface="Scotia" panose="020B0503020203020204" pitchFamily="34" charset="0"/>
              </a:rPr>
              <a:t> </a:t>
            </a:r>
          </a:p>
        </p:txBody>
      </p:sp>
      <p:sp>
        <p:nvSpPr>
          <p:cNvPr id="353281" name="Rectangle 3"/>
          <p:cNvSpPr>
            <a:spLocks noChangeArrowheads="1"/>
          </p:cNvSpPr>
          <p:nvPr/>
        </p:nvSpPr>
        <p:spPr bwMode="gray">
          <a:xfrm>
            <a:off x="2524996" y="2245251"/>
            <a:ext cx="2779377" cy="649248"/>
          </a:xfrm>
          <a:prstGeom prst="rect">
            <a:avLst/>
          </a:prstGeom>
          <a:solidFill>
            <a:schemeClr val="accent1"/>
          </a:solidFill>
          <a:ln w="9525">
            <a:noFill/>
            <a:miter lim="800000"/>
            <a:headEnd/>
            <a:tailEnd/>
          </a:ln>
        </p:spPr>
        <p:txBody>
          <a:bodyPr lIns="70558" tIns="70558" rIns="70558" bIns="70558" anchor="ctr"/>
          <a:lstStyle/>
          <a:p>
            <a:pPr marL="341204" indent="-341204" algn="ctr" eaLnBrk="0" hangingPunct="0"/>
            <a:r>
              <a:rPr lang="es-CO" b="1">
                <a:solidFill>
                  <a:schemeClr val="bg2"/>
                </a:solidFill>
                <a:latin typeface="+mn-lt"/>
                <a:ea typeface="ヒラギノ角ゴ ProN W6"/>
                <a:cs typeface="ヒラギノ角ゴ ProN W6"/>
              </a:rPr>
              <a:t>Individuos e interacciones</a:t>
            </a:r>
          </a:p>
        </p:txBody>
      </p:sp>
      <p:sp>
        <p:nvSpPr>
          <p:cNvPr id="353283" name="Rectangle 11"/>
          <p:cNvSpPr>
            <a:spLocks noChangeArrowheads="1"/>
          </p:cNvSpPr>
          <p:nvPr/>
        </p:nvSpPr>
        <p:spPr bwMode="gray">
          <a:xfrm>
            <a:off x="6772483" y="2607716"/>
            <a:ext cx="2779377" cy="649248"/>
          </a:xfrm>
          <a:prstGeom prst="rect">
            <a:avLst/>
          </a:prstGeom>
          <a:solidFill>
            <a:schemeClr val="accent1"/>
          </a:solidFill>
          <a:ln w="9525">
            <a:noFill/>
            <a:miter lim="800000"/>
            <a:headEnd/>
            <a:tailEnd/>
          </a:ln>
        </p:spPr>
        <p:txBody>
          <a:bodyPr lIns="70558" tIns="70558" rIns="70558" bIns="70558" anchor="ctr">
            <a:noAutofit/>
          </a:bodyPr>
          <a:lstStyle/>
          <a:p>
            <a:pPr marL="341204" indent="-341204" algn="ctr" eaLnBrk="0" hangingPunct="0"/>
            <a:r>
              <a:rPr lang="es-CO" b="1">
                <a:solidFill>
                  <a:schemeClr val="bg2"/>
                </a:solidFill>
                <a:latin typeface="+mn-lt"/>
                <a:ea typeface="ヒラギノ角ゴ ProN W6"/>
                <a:cs typeface="ヒラギノ角ゴ ProN W6"/>
              </a:rPr>
              <a:t>Procesos y herramientas</a:t>
            </a:r>
          </a:p>
        </p:txBody>
      </p:sp>
      <p:sp>
        <p:nvSpPr>
          <p:cNvPr id="353282" name="Rectangle 7"/>
          <p:cNvSpPr>
            <a:spLocks noChangeArrowheads="1"/>
          </p:cNvSpPr>
          <p:nvPr/>
        </p:nvSpPr>
        <p:spPr bwMode="gray">
          <a:xfrm>
            <a:off x="5720629" y="2662777"/>
            <a:ext cx="643836" cy="227755"/>
          </a:xfrm>
          <a:prstGeom prst="rect">
            <a:avLst/>
          </a:prstGeom>
          <a:noFill/>
          <a:ln w="9525">
            <a:noFill/>
            <a:miter lim="800000"/>
            <a:headEnd/>
            <a:tailEnd/>
          </a:ln>
        </p:spPr>
        <p:txBody>
          <a:bodyPr lIns="0" tIns="0" rIns="0" bIns="0">
            <a:spAutoFit/>
          </a:bodyPr>
          <a:lstStyle/>
          <a:p>
            <a:pPr marL="341204" indent="-341204" algn="ctr" eaLnBrk="0" hangingPunct="0">
              <a:lnSpc>
                <a:spcPct val="90000"/>
              </a:lnSpc>
              <a:spcBef>
                <a:spcPts val="1200"/>
              </a:spcBef>
            </a:pPr>
            <a:r>
              <a:rPr lang="es-CO">
                <a:latin typeface="+mn-lt"/>
                <a:ea typeface="ヒラギノ角ゴ ProN W6"/>
                <a:cs typeface="ヒラギノ角ゴ ProN W6"/>
              </a:rPr>
              <a:t>Sobre</a:t>
            </a:r>
          </a:p>
        </p:txBody>
      </p:sp>
      <p:sp>
        <p:nvSpPr>
          <p:cNvPr id="353284" name="Rectangle 4"/>
          <p:cNvSpPr>
            <a:spLocks noChangeArrowheads="1"/>
          </p:cNvSpPr>
          <p:nvPr/>
        </p:nvSpPr>
        <p:spPr bwMode="gray">
          <a:xfrm>
            <a:off x="2524996" y="3062640"/>
            <a:ext cx="2779377" cy="649248"/>
          </a:xfrm>
          <a:prstGeom prst="rect">
            <a:avLst/>
          </a:prstGeom>
          <a:solidFill>
            <a:schemeClr val="accent1"/>
          </a:solidFill>
          <a:ln w="9525">
            <a:noFill/>
            <a:miter lim="800000"/>
            <a:headEnd/>
            <a:tailEnd/>
          </a:ln>
        </p:spPr>
        <p:txBody>
          <a:bodyPr lIns="70558" tIns="70558" rIns="70558" bIns="70558" anchor="ctr">
            <a:noAutofit/>
          </a:bodyPr>
          <a:lstStyle/>
          <a:p>
            <a:pPr marL="341204" indent="-341204" algn="ctr" eaLnBrk="0" hangingPunct="0"/>
            <a:r>
              <a:rPr lang="es-CO" b="1">
                <a:solidFill>
                  <a:schemeClr val="bg2"/>
                </a:solidFill>
                <a:latin typeface="+mn-lt"/>
                <a:ea typeface="ヒラギノ角ゴ ProN W6"/>
                <a:cs typeface="ヒラギノ角ゴ ProN W6"/>
              </a:rPr>
              <a:t>Software funcionando</a:t>
            </a:r>
          </a:p>
        </p:txBody>
      </p:sp>
      <p:sp>
        <p:nvSpPr>
          <p:cNvPr id="353286" name="Rectangle 12"/>
          <p:cNvSpPr>
            <a:spLocks noChangeArrowheads="1"/>
          </p:cNvSpPr>
          <p:nvPr/>
        </p:nvSpPr>
        <p:spPr bwMode="gray">
          <a:xfrm>
            <a:off x="6772483" y="3425105"/>
            <a:ext cx="2779377" cy="649248"/>
          </a:xfrm>
          <a:prstGeom prst="rect">
            <a:avLst/>
          </a:prstGeom>
          <a:solidFill>
            <a:schemeClr val="accent1"/>
          </a:solidFill>
          <a:ln w="9525">
            <a:noFill/>
            <a:miter lim="800000"/>
            <a:headEnd/>
            <a:tailEnd/>
          </a:ln>
        </p:spPr>
        <p:txBody>
          <a:bodyPr lIns="70558" tIns="70558" rIns="70558" bIns="70558" anchor="ctr">
            <a:noAutofit/>
          </a:bodyPr>
          <a:lstStyle/>
          <a:p>
            <a:pPr marL="341204" indent="-341204" algn="ctr" eaLnBrk="0" hangingPunct="0"/>
            <a:r>
              <a:rPr lang="en-US" b="1" err="1">
                <a:solidFill>
                  <a:schemeClr val="bg2"/>
                </a:solidFill>
                <a:latin typeface="+mn-lt"/>
                <a:ea typeface="ヒラギノ角ゴ ProN W6"/>
                <a:cs typeface="ヒラギノ角ゴ ProN W6"/>
              </a:rPr>
              <a:t>Documentación</a:t>
            </a:r>
            <a:r>
              <a:rPr lang="en-US" b="1">
                <a:solidFill>
                  <a:schemeClr val="bg2"/>
                </a:solidFill>
                <a:latin typeface="+mn-lt"/>
                <a:ea typeface="ヒラギノ角ゴ ProN W6"/>
                <a:cs typeface="ヒラギノ角ゴ ProN W6"/>
              </a:rPr>
              <a:t> </a:t>
            </a:r>
            <a:r>
              <a:rPr lang="es-CO" b="1">
                <a:solidFill>
                  <a:schemeClr val="bg2"/>
                </a:solidFill>
                <a:latin typeface="+mn-lt"/>
                <a:ea typeface="ヒラギノ角ゴ ProN W6"/>
                <a:cs typeface="ヒラギノ角ゴ ProN W6"/>
              </a:rPr>
              <a:t>extensiva</a:t>
            </a:r>
            <a:r>
              <a:rPr lang="en-US" b="1">
                <a:solidFill>
                  <a:schemeClr val="bg2"/>
                </a:solidFill>
                <a:latin typeface="+mn-lt"/>
                <a:ea typeface="ヒラギノ角ゴ ProN W6"/>
                <a:cs typeface="ヒラギノ角ゴ ProN W6"/>
              </a:rPr>
              <a:t> </a:t>
            </a:r>
          </a:p>
        </p:txBody>
      </p:sp>
      <p:sp>
        <p:nvSpPr>
          <p:cNvPr id="353287" name="Rectangle 5"/>
          <p:cNvSpPr>
            <a:spLocks noChangeArrowheads="1"/>
          </p:cNvSpPr>
          <p:nvPr/>
        </p:nvSpPr>
        <p:spPr bwMode="gray">
          <a:xfrm>
            <a:off x="2524996" y="3880029"/>
            <a:ext cx="2779377" cy="649248"/>
          </a:xfrm>
          <a:prstGeom prst="rect">
            <a:avLst/>
          </a:prstGeom>
          <a:solidFill>
            <a:schemeClr val="accent1"/>
          </a:solidFill>
          <a:ln w="9525">
            <a:noFill/>
            <a:miter lim="800000"/>
            <a:headEnd/>
            <a:tailEnd/>
          </a:ln>
        </p:spPr>
        <p:txBody>
          <a:bodyPr lIns="70558" tIns="70558" rIns="70558" bIns="70558" anchor="ctr">
            <a:noAutofit/>
          </a:bodyPr>
          <a:lstStyle/>
          <a:p>
            <a:pPr marL="341204" indent="-341204" algn="ctr" eaLnBrk="0" hangingPunct="0"/>
            <a:r>
              <a:rPr lang="es-CO" b="1">
                <a:solidFill>
                  <a:schemeClr val="bg2"/>
                </a:solidFill>
                <a:latin typeface="+mn-lt"/>
                <a:ea typeface="ヒラギノ角ゴ ProN W6"/>
                <a:cs typeface="ヒラギノ角ゴ ProN W6"/>
              </a:rPr>
              <a:t>Colaboración con el cliente</a:t>
            </a:r>
          </a:p>
        </p:txBody>
      </p:sp>
      <p:sp>
        <p:nvSpPr>
          <p:cNvPr id="353289" name="Rectangle 13"/>
          <p:cNvSpPr>
            <a:spLocks noChangeArrowheads="1"/>
          </p:cNvSpPr>
          <p:nvPr/>
        </p:nvSpPr>
        <p:spPr bwMode="gray">
          <a:xfrm>
            <a:off x="6772483" y="4242494"/>
            <a:ext cx="2779377" cy="649248"/>
          </a:xfrm>
          <a:prstGeom prst="rect">
            <a:avLst/>
          </a:prstGeom>
          <a:solidFill>
            <a:schemeClr val="accent1"/>
          </a:solidFill>
          <a:ln w="9525">
            <a:noFill/>
            <a:miter lim="800000"/>
            <a:headEnd/>
            <a:tailEnd/>
          </a:ln>
        </p:spPr>
        <p:txBody>
          <a:bodyPr lIns="70558" tIns="70558" rIns="70558" bIns="70558" anchor="ctr">
            <a:noAutofit/>
          </a:bodyPr>
          <a:lstStyle/>
          <a:p>
            <a:pPr marL="341204" indent="-341204" algn="ctr" eaLnBrk="0" hangingPunct="0"/>
            <a:r>
              <a:rPr lang="es-CO" b="1">
                <a:solidFill>
                  <a:schemeClr val="bg2"/>
                </a:solidFill>
                <a:latin typeface="+mn-lt"/>
                <a:ea typeface="ヒラギノ角ゴ ProN W6"/>
                <a:cs typeface="ヒラギノ角ゴ ProN W6"/>
              </a:rPr>
              <a:t>Negociación contractual</a:t>
            </a:r>
          </a:p>
        </p:txBody>
      </p:sp>
      <p:sp>
        <p:nvSpPr>
          <p:cNvPr id="353290" name="Rectangle 6"/>
          <p:cNvSpPr>
            <a:spLocks noChangeArrowheads="1"/>
          </p:cNvSpPr>
          <p:nvPr/>
        </p:nvSpPr>
        <p:spPr bwMode="gray">
          <a:xfrm>
            <a:off x="2524996" y="4697416"/>
            <a:ext cx="2779377" cy="649248"/>
          </a:xfrm>
          <a:prstGeom prst="rect">
            <a:avLst/>
          </a:prstGeom>
          <a:solidFill>
            <a:schemeClr val="accent1"/>
          </a:solidFill>
          <a:ln w="9525">
            <a:noFill/>
            <a:miter lim="800000"/>
            <a:headEnd/>
            <a:tailEnd/>
          </a:ln>
        </p:spPr>
        <p:txBody>
          <a:bodyPr lIns="70558" tIns="70558" rIns="70558" bIns="70558" anchor="ctr">
            <a:noAutofit/>
          </a:bodyPr>
          <a:lstStyle/>
          <a:p>
            <a:pPr marL="341204" indent="-341204" algn="ctr" eaLnBrk="0" hangingPunct="0"/>
            <a:r>
              <a:rPr lang="es-CO" b="1">
                <a:solidFill>
                  <a:schemeClr val="bg2"/>
                </a:solidFill>
                <a:latin typeface="+mn-lt"/>
                <a:ea typeface="ヒラギノ角ゴ ProN W6"/>
                <a:cs typeface="ヒラギノ角ゴ ProN W6"/>
              </a:rPr>
              <a:t>Respuesta ante el cambio</a:t>
            </a:r>
          </a:p>
        </p:txBody>
      </p:sp>
      <p:sp>
        <p:nvSpPr>
          <p:cNvPr id="353292" name="Rectangle 14"/>
          <p:cNvSpPr>
            <a:spLocks noChangeArrowheads="1"/>
          </p:cNvSpPr>
          <p:nvPr/>
        </p:nvSpPr>
        <p:spPr bwMode="gray">
          <a:xfrm>
            <a:off x="6772483" y="5059881"/>
            <a:ext cx="2779377" cy="649248"/>
          </a:xfrm>
          <a:prstGeom prst="rect">
            <a:avLst/>
          </a:prstGeom>
          <a:solidFill>
            <a:schemeClr val="accent1"/>
          </a:solidFill>
          <a:ln w="9525">
            <a:noFill/>
            <a:miter lim="800000"/>
            <a:headEnd/>
            <a:tailEnd/>
          </a:ln>
        </p:spPr>
        <p:txBody>
          <a:bodyPr lIns="70558" tIns="70558" rIns="70558" bIns="70558" anchor="ctr">
            <a:noAutofit/>
          </a:bodyPr>
          <a:lstStyle/>
          <a:p>
            <a:pPr marL="341204" indent="-341204" algn="ctr" eaLnBrk="0" hangingPunct="0"/>
            <a:r>
              <a:rPr lang="es-CO" b="1">
                <a:solidFill>
                  <a:schemeClr val="bg2"/>
                </a:solidFill>
                <a:latin typeface="+mn-lt"/>
                <a:ea typeface="ヒラギノ角ゴ ProN W6"/>
                <a:cs typeface="ヒラギノ角ゴ ProN W6"/>
              </a:rPr>
              <a:t>Seguir un plan</a:t>
            </a:r>
          </a:p>
        </p:txBody>
      </p:sp>
      <p:sp>
        <p:nvSpPr>
          <p:cNvPr id="12" name="Rectangle 12"/>
          <p:cNvSpPr txBox="1"/>
          <p:nvPr/>
        </p:nvSpPr>
        <p:spPr>
          <a:xfrm>
            <a:off x="1801809" y="6053106"/>
            <a:ext cx="8588382"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s-CO">
                <a:sym typeface="Arial" charset="0"/>
              </a:rPr>
              <a:t>Aunque valoramos los elementos de la derecha, si valoramos más los elementos de la izquierda nos acercará a esta nueva mentalidad. </a:t>
            </a:r>
            <a:endParaRPr lang="es-CO"/>
          </a:p>
        </p:txBody>
      </p:sp>
      <p:sp>
        <p:nvSpPr>
          <p:cNvPr id="26" name="Rectangle 25">
            <a:extLst>
              <a:ext uri="{FF2B5EF4-FFF2-40B4-BE49-F238E27FC236}">
                <a16:creationId xmlns:a16="http://schemas.microsoft.com/office/drawing/2014/main" id="{004D2697-3F02-8A45-8FA5-FA99A592469B}"/>
              </a:ext>
            </a:extLst>
          </p:cNvPr>
          <p:cNvSpPr/>
          <p:nvPr/>
        </p:nvSpPr>
        <p:spPr>
          <a:xfrm>
            <a:off x="397" y="224"/>
            <a:ext cx="12191206" cy="1927566"/>
          </a:xfrm>
          <a:prstGeom prst="rect">
            <a:avLst/>
          </a:prstGeom>
          <a:solidFill>
            <a:schemeClr val="accent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hangingPunct="0"/>
            <a:endParaRPr lang="en-US" sz="800">
              <a:solidFill>
                <a:srgbClr val="323232"/>
              </a:solidFill>
              <a:latin typeface="Gotham"/>
              <a:ea typeface="Gotham"/>
              <a:cs typeface="Gotham"/>
              <a:sym typeface="Gotham"/>
            </a:endParaRPr>
          </a:p>
        </p:txBody>
      </p:sp>
      <p:sp>
        <p:nvSpPr>
          <p:cNvPr id="27" name="TextBox 6">
            <a:extLst>
              <a:ext uri="{FF2B5EF4-FFF2-40B4-BE49-F238E27FC236}">
                <a16:creationId xmlns:a16="http://schemas.microsoft.com/office/drawing/2014/main" id="{B9975B3E-2E24-F54D-BD9A-9749232DF125}"/>
              </a:ext>
            </a:extLst>
          </p:cNvPr>
          <p:cNvSpPr txBox="1"/>
          <p:nvPr/>
        </p:nvSpPr>
        <p:spPr>
          <a:xfrm>
            <a:off x="394926" y="986561"/>
            <a:ext cx="7292424"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4900">
                <a:solidFill>
                  <a:srgbClr val="E8111C"/>
                </a:solidFill>
                <a:latin typeface="Gilroy ExtraBold"/>
                <a:ea typeface="Gilroy ExtraBold"/>
                <a:cs typeface="Gilroy ExtraBold"/>
                <a:sym typeface="Gilroy ExtraBold"/>
              </a:defRPr>
            </a:lvl1pPr>
          </a:lstStyle>
          <a:p>
            <a:r>
              <a:rPr lang="en-US" sz="4400" b="1">
                <a:solidFill>
                  <a:schemeClr val="bg2"/>
                </a:solidFill>
                <a:latin typeface="Scotia Headline" panose="020B0503020203020204" pitchFamily="34" charset="0"/>
              </a:rPr>
              <a:t>Los 4 </a:t>
            </a:r>
            <a:r>
              <a:rPr lang="en-US" sz="4400" b="1" err="1">
                <a:solidFill>
                  <a:schemeClr val="bg2"/>
                </a:solidFill>
                <a:latin typeface="Scotia Headline" panose="020B0503020203020204" pitchFamily="34" charset="0"/>
              </a:rPr>
              <a:t>valores</a:t>
            </a:r>
            <a:r>
              <a:rPr lang="en-US" sz="4400" b="1">
                <a:solidFill>
                  <a:schemeClr val="bg2"/>
                </a:solidFill>
                <a:latin typeface="Scotia Headline" panose="020B0503020203020204" pitchFamily="34" charset="0"/>
              </a:rPr>
              <a:t> </a:t>
            </a:r>
            <a:r>
              <a:rPr lang="en-US" sz="4400" b="1" err="1">
                <a:solidFill>
                  <a:schemeClr val="bg2"/>
                </a:solidFill>
                <a:latin typeface="Scotia Headline" panose="020B0503020203020204" pitchFamily="34" charset="0"/>
              </a:rPr>
              <a:t>ágiles</a:t>
            </a:r>
            <a:r>
              <a:rPr lang="en-US" sz="4400" b="1">
                <a:solidFill>
                  <a:schemeClr val="bg2"/>
                </a:solidFill>
                <a:latin typeface="Scotia Headline" panose="020B0503020203020204" pitchFamily="34" charset="0"/>
              </a:rPr>
              <a:t>:</a:t>
            </a:r>
            <a:endParaRPr sz="4400" b="1">
              <a:solidFill>
                <a:schemeClr val="bg2"/>
              </a:solidFill>
              <a:latin typeface="Scotia Headline" panose="020B0503020203020204" pitchFamily="34" charset="0"/>
            </a:endParaRPr>
          </a:p>
        </p:txBody>
      </p:sp>
      <p:sp>
        <p:nvSpPr>
          <p:cNvPr id="28" name="TextBox 27">
            <a:extLst>
              <a:ext uri="{FF2B5EF4-FFF2-40B4-BE49-F238E27FC236}">
                <a16:creationId xmlns:a16="http://schemas.microsoft.com/office/drawing/2014/main" id="{7C61E42B-00B4-D945-8712-C4DE1E02795A}"/>
              </a:ext>
            </a:extLst>
          </p:cNvPr>
          <p:cNvSpPr txBox="1">
            <a:spLocks/>
          </p:cNvSpPr>
          <p:nvPr/>
        </p:nvSpPr>
        <p:spPr>
          <a:xfrm>
            <a:off x="11575346" y="332530"/>
            <a:ext cx="233491"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a:solidFill>
                  <a:schemeClr val="bg1"/>
                </a:solidFill>
                <a:latin typeface="Scotia" panose="020B0503020203020204" pitchFamily="34" charset="0"/>
              </a:rPr>
              <a:pPr algn="r"/>
              <a:t>5</a:t>
            </a:fld>
            <a:endParaRPr lang="en-CA" sz="800">
              <a:solidFill>
                <a:schemeClr val="bg1"/>
              </a:solidFill>
              <a:latin typeface="Scotia" panose="020B0503020203020204" pitchFamily="34" charset="0"/>
            </a:endParaRPr>
          </a:p>
        </p:txBody>
      </p:sp>
      <p:sp>
        <p:nvSpPr>
          <p:cNvPr id="29" name="TextBox 7">
            <a:extLst>
              <a:ext uri="{FF2B5EF4-FFF2-40B4-BE49-F238E27FC236}">
                <a16:creationId xmlns:a16="http://schemas.microsoft.com/office/drawing/2014/main" id="{BF95CED3-8A4E-3349-9603-189394024DA8}"/>
              </a:ext>
            </a:extLst>
          </p:cNvPr>
          <p:cNvSpPr txBox="1">
            <a:spLocks/>
          </p:cNvSpPr>
          <p:nvPr/>
        </p:nvSpPr>
        <p:spPr>
          <a:xfrm>
            <a:off x="11575346" y="332306"/>
            <a:ext cx="233491" cy="16927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23232"/>
                </a:solidFill>
                <a:effectLst/>
                <a:uFillTx/>
                <a:latin typeface="Gotham"/>
                <a:ea typeface="Gotham"/>
                <a:cs typeface="Gotham"/>
                <a:sym typeface="Gotham"/>
              </a:defRPr>
            </a:lvl9pPr>
          </a:lstStyle>
          <a:p>
            <a:pPr algn="r"/>
            <a:fld id="{86CB4B4D-7CA3-9044-876B-883B54F8677D}" type="slidenum">
              <a:rPr lang="en-CA" sz="800">
                <a:solidFill>
                  <a:schemeClr val="bg1"/>
                </a:solidFill>
                <a:latin typeface="Scotia" panose="020B0503020203020204" pitchFamily="34" charset="0"/>
              </a:rPr>
              <a:pPr algn="r"/>
              <a:t>5</a:t>
            </a:fld>
            <a:endParaRPr lang="en-CA" sz="800">
              <a:solidFill>
                <a:schemeClr val="bg1"/>
              </a:solidFill>
              <a:latin typeface="Scotia" panose="020B0503020203020204" pitchFamily="34" charset="0"/>
            </a:endParaRPr>
          </a:p>
        </p:txBody>
      </p:sp>
      <p:sp>
        <p:nvSpPr>
          <p:cNvPr id="21" name="Rectangle 7">
            <a:extLst>
              <a:ext uri="{FF2B5EF4-FFF2-40B4-BE49-F238E27FC236}">
                <a16:creationId xmlns:a16="http://schemas.microsoft.com/office/drawing/2014/main" id="{C1AF00CD-D9C8-41CC-9DBF-0D71A9C61AC9}"/>
              </a:ext>
            </a:extLst>
          </p:cNvPr>
          <p:cNvSpPr>
            <a:spLocks noChangeArrowheads="1"/>
          </p:cNvSpPr>
          <p:nvPr/>
        </p:nvSpPr>
        <p:spPr bwMode="gray">
          <a:xfrm>
            <a:off x="5716510" y="3441253"/>
            <a:ext cx="643836" cy="227755"/>
          </a:xfrm>
          <a:prstGeom prst="rect">
            <a:avLst/>
          </a:prstGeom>
          <a:noFill/>
          <a:ln w="9525">
            <a:noFill/>
            <a:miter lim="800000"/>
            <a:headEnd/>
            <a:tailEnd/>
          </a:ln>
        </p:spPr>
        <p:txBody>
          <a:bodyPr lIns="0" tIns="0" rIns="0" bIns="0">
            <a:spAutoFit/>
          </a:bodyPr>
          <a:lstStyle/>
          <a:p>
            <a:pPr marL="341204" indent="-341204" algn="ctr" eaLnBrk="0" hangingPunct="0">
              <a:lnSpc>
                <a:spcPct val="90000"/>
              </a:lnSpc>
              <a:spcBef>
                <a:spcPts val="1200"/>
              </a:spcBef>
            </a:pPr>
            <a:r>
              <a:rPr lang="es-CO">
                <a:latin typeface="+mn-lt"/>
                <a:ea typeface="ヒラギノ角ゴ ProN W6"/>
                <a:cs typeface="ヒラギノ角ゴ ProN W6"/>
              </a:rPr>
              <a:t>Sobre</a:t>
            </a:r>
          </a:p>
        </p:txBody>
      </p:sp>
      <p:sp>
        <p:nvSpPr>
          <p:cNvPr id="22" name="Rectangle 7">
            <a:extLst>
              <a:ext uri="{FF2B5EF4-FFF2-40B4-BE49-F238E27FC236}">
                <a16:creationId xmlns:a16="http://schemas.microsoft.com/office/drawing/2014/main" id="{A831024E-6557-4898-869E-52501770208C}"/>
              </a:ext>
            </a:extLst>
          </p:cNvPr>
          <p:cNvSpPr>
            <a:spLocks noChangeArrowheads="1"/>
          </p:cNvSpPr>
          <p:nvPr/>
        </p:nvSpPr>
        <p:spPr bwMode="gray">
          <a:xfrm>
            <a:off x="5724748" y="4289750"/>
            <a:ext cx="643836" cy="227755"/>
          </a:xfrm>
          <a:prstGeom prst="rect">
            <a:avLst/>
          </a:prstGeom>
          <a:noFill/>
          <a:ln w="9525">
            <a:noFill/>
            <a:miter lim="800000"/>
            <a:headEnd/>
            <a:tailEnd/>
          </a:ln>
        </p:spPr>
        <p:txBody>
          <a:bodyPr lIns="0" tIns="0" rIns="0" bIns="0">
            <a:spAutoFit/>
          </a:bodyPr>
          <a:lstStyle/>
          <a:p>
            <a:pPr marL="341204" indent="-341204" algn="ctr" eaLnBrk="0" hangingPunct="0">
              <a:lnSpc>
                <a:spcPct val="90000"/>
              </a:lnSpc>
              <a:spcBef>
                <a:spcPts val="1200"/>
              </a:spcBef>
            </a:pPr>
            <a:r>
              <a:rPr lang="es-CO">
                <a:latin typeface="+mn-lt"/>
                <a:ea typeface="ヒラギノ角ゴ ProN W6"/>
                <a:cs typeface="ヒラギノ角ゴ ProN W6"/>
              </a:rPr>
              <a:t>Sobre</a:t>
            </a:r>
          </a:p>
        </p:txBody>
      </p:sp>
      <p:sp>
        <p:nvSpPr>
          <p:cNvPr id="23" name="Rectangle 7">
            <a:extLst>
              <a:ext uri="{FF2B5EF4-FFF2-40B4-BE49-F238E27FC236}">
                <a16:creationId xmlns:a16="http://schemas.microsoft.com/office/drawing/2014/main" id="{2728030F-3531-4296-91BB-C555EDA86831}"/>
              </a:ext>
            </a:extLst>
          </p:cNvPr>
          <p:cNvSpPr>
            <a:spLocks noChangeArrowheads="1"/>
          </p:cNvSpPr>
          <p:nvPr/>
        </p:nvSpPr>
        <p:spPr bwMode="gray">
          <a:xfrm>
            <a:off x="5745342" y="5084701"/>
            <a:ext cx="643836" cy="227755"/>
          </a:xfrm>
          <a:prstGeom prst="rect">
            <a:avLst/>
          </a:prstGeom>
          <a:noFill/>
          <a:ln w="9525">
            <a:noFill/>
            <a:miter lim="800000"/>
            <a:headEnd/>
            <a:tailEnd/>
          </a:ln>
        </p:spPr>
        <p:txBody>
          <a:bodyPr lIns="0" tIns="0" rIns="0" bIns="0">
            <a:spAutoFit/>
          </a:bodyPr>
          <a:lstStyle/>
          <a:p>
            <a:pPr marL="341204" indent="-341204" algn="ctr" eaLnBrk="0" hangingPunct="0">
              <a:lnSpc>
                <a:spcPct val="90000"/>
              </a:lnSpc>
              <a:spcBef>
                <a:spcPts val="1200"/>
              </a:spcBef>
            </a:pPr>
            <a:r>
              <a:rPr lang="es-CO">
                <a:latin typeface="+mn-lt"/>
                <a:ea typeface="ヒラギノ角ゴ ProN W6"/>
                <a:cs typeface="ヒラギノ角ゴ ProN W6"/>
              </a:rPr>
              <a:t>Sobre</a:t>
            </a:r>
          </a:p>
        </p:txBody>
      </p:sp>
      <p:pic>
        <p:nvPicPr>
          <p:cNvPr id="25" name="Picture 2" descr="Image result for balance icon">
            <a:extLst>
              <a:ext uri="{FF2B5EF4-FFF2-40B4-BE49-F238E27FC236}">
                <a16:creationId xmlns:a16="http://schemas.microsoft.com/office/drawing/2014/main" id="{B1DCEFA2-63F9-4274-81E3-74F78798BA6E}"/>
              </a:ext>
            </a:extLst>
          </p:cNvPr>
          <p:cNvPicPr>
            <a:picLocks noChangeAspect="1" noChangeArrowheads="1"/>
          </p:cNvPicPr>
          <p:nvPr/>
        </p:nvPicPr>
        <p:blipFill>
          <a:blip r:embed="rId7" cstate="email">
            <a:clrChange>
              <a:clrFrom>
                <a:srgbClr val="FFFFFF"/>
              </a:clrFrom>
              <a:clrTo>
                <a:srgbClr val="FFFFFF">
                  <a:alpha val="0"/>
                </a:srgbClr>
              </a:clrTo>
            </a:clrChange>
            <a:duotone>
              <a:srgbClr val="D8D8D8">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700583" y="1980697"/>
            <a:ext cx="672948" cy="621491"/>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866866DA-8640-26CD-40BC-2EC69B781E01}"/>
              </a:ext>
            </a:extLst>
          </p:cNvPr>
          <p:cNvSpPr/>
          <p:nvPr/>
        </p:nvSpPr>
        <p:spPr>
          <a:xfrm>
            <a:off x="11097508" y="6587825"/>
            <a:ext cx="161925" cy="14973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2">
            <a:extLst>
              <a:ext uri="{FF2B5EF4-FFF2-40B4-BE49-F238E27FC236}">
                <a16:creationId xmlns:a16="http://schemas.microsoft.com/office/drawing/2014/main" id="{BD196B4A-2869-6F71-B562-73918B02FECA}"/>
              </a:ext>
            </a:extLst>
          </p:cNvPr>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971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Timeline&#10;&#10;Description automatically generated">
            <a:extLst>
              <a:ext uri="{FF2B5EF4-FFF2-40B4-BE49-F238E27FC236}">
                <a16:creationId xmlns:a16="http://schemas.microsoft.com/office/drawing/2014/main" id="{2ECA4FA5-1CC9-4649-9789-325E15E50ADE}"/>
              </a:ext>
            </a:extLst>
          </p:cNvPr>
          <p:cNvPicPr>
            <a:picLocks noChangeAspect="1"/>
          </p:cNvPicPr>
          <p:nvPr/>
        </p:nvPicPr>
        <p:blipFill rotWithShape="1">
          <a:blip r:embed="rId3"/>
          <a:srcRect t="15076" r="48393" b="67217"/>
          <a:stretch/>
        </p:blipFill>
        <p:spPr>
          <a:xfrm>
            <a:off x="1669358" y="1506071"/>
            <a:ext cx="4460509" cy="995083"/>
          </a:xfrm>
          <a:prstGeom prst="rect">
            <a:avLst/>
          </a:prstGeom>
        </p:spPr>
      </p:pic>
      <p:sp>
        <p:nvSpPr>
          <p:cNvPr id="5" name="Title 3">
            <a:extLst>
              <a:ext uri="{FF2B5EF4-FFF2-40B4-BE49-F238E27FC236}">
                <a16:creationId xmlns:a16="http://schemas.microsoft.com/office/drawing/2014/main" id="{5F5C5CC7-307E-424F-A9AB-59941B681BC4}"/>
              </a:ext>
            </a:extLst>
          </p:cNvPr>
          <p:cNvSpPr txBox="1">
            <a:spLocks/>
          </p:cNvSpPr>
          <p:nvPr/>
        </p:nvSpPr>
        <p:spPr bwMode="gray">
          <a:xfrm>
            <a:off x="838200" y="365127"/>
            <a:ext cx="10515600" cy="469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defTabSz="685766" rtl="0" eaLnBrk="1" latinLnBrk="0" hangingPunct="1">
              <a:lnSpc>
                <a:spcPct val="90000"/>
              </a:lnSpc>
              <a:spcBef>
                <a:spcPct val="0"/>
              </a:spcBef>
              <a:buNone/>
              <a:defRPr sz="3300" b="1" i="0" kern="1200">
                <a:solidFill>
                  <a:schemeClr val="tx1"/>
                </a:solidFill>
                <a:latin typeface="Scotia Headline" panose="020B0503020203020204" pitchFamily="34" charset="0"/>
                <a:ea typeface="+mj-ea"/>
                <a:cs typeface="+mj-cs"/>
              </a:defRPr>
            </a:lvl1pPr>
          </a:lstStyle>
          <a:p>
            <a:pPr fontAlgn="auto">
              <a:spcAft>
                <a:spcPts val="0"/>
              </a:spcAft>
            </a:pPr>
            <a:r>
              <a:rPr lang="es-CO">
                <a:latin typeface="Scotia" panose="020B0503020203020204" pitchFamily="34" charset="0"/>
              </a:rPr>
              <a:t>12 Principios Ágiles</a:t>
            </a:r>
          </a:p>
        </p:txBody>
      </p:sp>
      <p:sp>
        <p:nvSpPr>
          <p:cNvPr id="2" name="TextBox 1">
            <a:extLst>
              <a:ext uri="{FF2B5EF4-FFF2-40B4-BE49-F238E27FC236}">
                <a16:creationId xmlns:a16="http://schemas.microsoft.com/office/drawing/2014/main" id="{402D2ACF-118B-7845-AEE5-C6D2CCC14894}"/>
              </a:ext>
            </a:extLst>
          </p:cNvPr>
          <p:cNvSpPr txBox="1"/>
          <p:nvPr/>
        </p:nvSpPr>
        <p:spPr>
          <a:xfrm>
            <a:off x="1909482" y="1176645"/>
            <a:ext cx="1922930"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r>
              <a:rPr lang="es-CO" sz="1400" b="1">
                <a:latin typeface="Scotia Headline" panose="020B0503020203020204" pitchFamily="34" charset="0"/>
              </a:rPr>
              <a:t>1. Satisfacción del cliente</a:t>
            </a:r>
            <a:endParaRPr lang="en-CA" sz="1400" b="1">
              <a:latin typeface="Scotia Headline" panose="020B0503020203020204" pitchFamily="34" charset="0"/>
            </a:endParaRPr>
          </a:p>
        </p:txBody>
      </p:sp>
      <p:sp>
        <p:nvSpPr>
          <p:cNvPr id="7" name="TextBox 6">
            <a:extLst>
              <a:ext uri="{FF2B5EF4-FFF2-40B4-BE49-F238E27FC236}">
                <a16:creationId xmlns:a16="http://schemas.microsoft.com/office/drawing/2014/main" id="{C4FC6964-D1F5-FC4C-AB47-2D02ADF2BF38}"/>
              </a:ext>
            </a:extLst>
          </p:cNvPr>
          <p:cNvSpPr txBox="1"/>
          <p:nvPr/>
        </p:nvSpPr>
        <p:spPr>
          <a:xfrm>
            <a:off x="4114800" y="1176645"/>
            <a:ext cx="1922930" cy="6463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buClr>
                <a:schemeClr val="accent5"/>
              </a:buClr>
              <a:buSzPct val="80000"/>
            </a:pPr>
            <a:r>
              <a:rPr lang="es-CO" sz="1400" b="1">
                <a:latin typeface="Scotia Headline" panose="020B0503020203020204" pitchFamily="34" charset="0"/>
              </a:rPr>
              <a:t>2. Los cambios se aceptan y aprovechan</a:t>
            </a:r>
          </a:p>
          <a:p>
            <a:pPr algn="ctr">
              <a:buClr>
                <a:schemeClr val="accent5"/>
              </a:buClr>
              <a:buSzPct val="80000"/>
            </a:pPr>
            <a:endParaRPr lang="en-US" sz="1400" b="1">
              <a:latin typeface="Scotia Headline" panose="020B0503020203020204" pitchFamily="34" charset="0"/>
            </a:endParaRPr>
          </a:p>
        </p:txBody>
      </p:sp>
      <p:sp>
        <p:nvSpPr>
          <p:cNvPr id="8" name="TextBox 7">
            <a:extLst>
              <a:ext uri="{FF2B5EF4-FFF2-40B4-BE49-F238E27FC236}">
                <a16:creationId xmlns:a16="http://schemas.microsoft.com/office/drawing/2014/main" id="{9B55D4CD-FAEC-934B-9BDF-0CC5CB9406CD}"/>
              </a:ext>
            </a:extLst>
          </p:cNvPr>
          <p:cNvSpPr txBox="1"/>
          <p:nvPr/>
        </p:nvSpPr>
        <p:spPr>
          <a:xfrm>
            <a:off x="6447934" y="1035243"/>
            <a:ext cx="1922930" cy="6463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buClr>
                <a:schemeClr val="accent5"/>
              </a:buClr>
              <a:buSzPct val="80000"/>
            </a:pPr>
            <a:r>
              <a:rPr lang="en-US" sz="1400" b="1">
                <a:latin typeface="Scotia Headline" panose="020B0503020203020204" pitchFamily="34" charset="0"/>
              </a:rPr>
              <a:t>3. </a:t>
            </a:r>
            <a:r>
              <a:rPr lang="es-CO" sz="1400" b="1"/>
              <a:t>Entrega frecuente de producto funcionando</a:t>
            </a:r>
            <a:endParaRPr lang="en-US" sz="1400" b="1">
              <a:latin typeface="Scotia Headline" panose="020B0503020203020204" pitchFamily="34" charset="0"/>
            </a:endParaRPr>
          </a:p>
        </p:txBody>
      </p:sp>
      <p:sp>
        <p:nvSpPr>
          <p:cNvPr id="9" name="TextBox 8">
            <a:extLst>
              <a:ext uri="{FF2B5EF4-FFF2-40B4-BE49-F238E27FC236}">
                <a16:creationId xmlns:a16="http://schemas.microsoft.com/office/drawing/2014/main" id="{9E9279CD-A191-3E45-83CB-059F75D3A329}"/>
              </a:ext>
            </a:extLst>
          </p:cNvPr>
          <p:cNvSpPr txBox="1"/>
          <p:nvPr/>
        </p:nvSpPr>
        <p:spPr>
          <a:xfrm>
            <a:off x="8457415" y="1054097"/>
            <a:ext cx="1922930"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r>
              <a:rPr lang="es-CO" sz="1400" b="1"/>
              <a:t>4. Trabajo colaborativo</a:t>
            </a:r>
            <a:endParaRPr lang="en-CA" sz="1400" b="1"/>
          </a:p>
        </p:txBody>
      </p:sp>
      <p:pic>
        <p:nvPicPr>
          <p:cNvPr id="12" name="Picture 3" descr="Timeline&#10;&#10;Description automatically generated">
            <a:extLst>
              <a:ext uri="{FF2B5EF4-FFF2-40B4-BE49-F238E27FC236}">
                <a16:creationId xmlns:a16="http://schemas.microsoft.com/office/drawing/2014/main" id="{683BFC9A-20C4-744D-8724-9B438518D0D7}"/>
              </a:ext>
            </a:extLst>
          </p:cNvPr>
          <p:cNvPicPr>
            <a:picLocks noChangeAspect="1"/>
          </p:cNvPicPr>
          <p:nvPr/>
        </p:nvPicPr>
        <p:blipFill rotWithShape="1">
          <a:blip r:embed="rId3"/>
          <a:srcRect t="48735" b="31883"/>
          <a:stretch/>
        </p:blipFill>
        <p:spPr>
          <a:xfrm>
            <a:off x="1763626" y="3434407"/>
            <a:ext cx="8643257" cy="1089214"/>
          </a:xfrm>
          <a:prstGeom prst="rect">
            <a:avLst/>
          </a:prstGeom>
        </p:spPr>
      </p:pic>
      <p:sp>
        <p:nvSpPr>
          <p:cNvPr id="13" name="TextBox 12">
            <a:extLst>
              <a:ext uri="{FF2B5EF4-FFF2-40B4-BE49-F238E27FC236}">
                <a16:creationId xmlns:a16="http://schemas.microsoft.com/office/drawing/2014/main" id="{5E2D50EF-190B-1743-A1B1-C16342AE6D23}"/>
              </a:ext>
            </a:extLst>
          </p:cNvPr>
          <p:cNvSpPr txBox="1"/>
          <p:nvPr/>
        </p:nvSpPr>
        <p:spPr>
          <a:xfrm>
            <a:off x="1852921" y="2998695"/>
            <a:ext cx="1922930" cy="2962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lnSpc>
                <a:spcPct val="150000"/>
              </a:lnSpc>
              <a:buClr>
                <a:schemeClr val="accent5"/>
              </a:buClr>
              <a:buSzPct val="80000"/>
            </a:pPr>
            <a:r>
              <a:rPr lang="es-CO" sz="1400" b="1">
                <a:latin typeface="Scotia Headline" panose="020B0503020203020204" pitchFamily="34" charset="0"/>
              </a:rPr>
              <a:t>5. Confianza y apoyo</a:t>
            </a:r>
          </a:p>
        </p:txBody>
      </p:sp>
      <p:sp>
        <p:nvSpPr>
          <p:cNvPr id="14" name="TextBox 13">
            <a:extLst>
              <a:ext uri="{FF2B5EF4-FFF2-40B4-BE49-F238E27FC236}">
                <a16:creationId xmlns:a16="http://schemas.microsoft.com/office/drawing/2014/main" id="{7CBC7626-FD98-5A43-9712-7AEAE301DAF5}"/>
              </a:ext>
            </a:extLst>
          </p:cNvPr>
          <p:cNvSpPr txBox="1"/>
          <p:nvPr/>
        </p:nvSpPr>
        <p:spPr>
          <a:xfrm>
            <a:off x="4133653" y="2970415"/>
            <a:ext cx="1922930"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buClr>
                <a:schemeClr val="accent5"/>
              </a:buClr>
              <a:buSzPct val="80000"/>
            </a:pPr>
            <a:r>
              <a:rPr lang="en-US" sz="1400" b="1">
                <a:latin typeface="Scotia Headline" panose="020B0503020203020204" pitchFamily="34" charset="0"/>
              </a:rPr>
              <a:t>6. </a:t>
            </a:r>
            <a:r>
              <a:rPr lang="es-CO" sz="1400" b="1"/>
              <a:t>Conversación cara a cara</a:t>
            </a:r>
            <a:endParaRPr lang="en-US" sz="1400" b="1">
              <a:latin typeface="Scotia Headline" panose="020B0503020203020204" pitchFamily="34" charset="0"/>
            </a:endParaRPr>
          </a:p>
        </p:txBody>
      </p:sp>
      <p:sp>
        <p:nvSpPr>
          <p:cNvPr id="16" name="TextBox 15">
            <a:extLst>
              <a:ext uri="{FF2B5EF4-FFF2-40B4-BE49-F238E27FC236}">
                <a16:creationId xmlns:a16="http://schemas.microsoft.com/office/drawing/2014/main" id="{CEC80872-F9FA-0144-9AAD-5616F7E6D3F9}"/>
              </a:ext>
            </a:extLst>
          </p:cNvPr>
          <p:cNvSpPr txBox="1"/>
          <p:nvPr/>
        </p:nvSpPr>
        <p:spPr>
          <a:xfrm>
            <a:off x="8391427" y="3083536"/>
            <a:ext cx="1922930" cy="21544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buClr>
                <a:schemeClr val="accent5"/>
              </a:buClr>
              <a:buSzPct val="80000"/>
            </a:pPr>
            <a:r>
              <a:rPr lang="en-US" sz="1400" b="1">
                <a:latin typeface="Scotia Headline" panose="020B0503020203020204" pitchFamily="34" charset="0"/>
              </a:rPr>
              <a:t>8. Ritmo </a:t>
            </a:r>
            <a:r>
              <a:rPr lang="es-CO" sz="1400" b="1"/>
              <a:t>sostenible</a:t>
            </a:r>
            <a:endParaRPr lang="en-US" sz="1400" b="1">
              <a:latin typeface="Scotia Headline" panose="020B0503020203020204" pitchFamily="34" charset="0"/>
            </a:endParaRPr>
          </a:p>
        </p:txBody>
      </p:sp>
      <p:pic>
        <p:nvPicPr>
          <p:cNvPr id="17" name="Picture 3" descr="Timeline&#10;&#10;Description automatically generated">
            <a:extLst>
              <a:ext uri="{FF2B5EF4-FFF2-40B4-BE49-F238E27FC236}">
                <a16:creationId xmlns:a16="http://schemas.microsoft.com/office/drawing/2014/main" id="{B3B02DD0-0288-1B4F-9D07-01B2E39267B2}"/>
              </a:ext>
            </a:extLst>
          </p:cNvPr>
          <p:cNvPicPr>
            <a:picLocks noChangeAspect="1"/>
          </p:cNvPicPr>
          <p:nvPr/>
        </p:nvPicPr>
        <p:blipFill rotWithShape="1">
          <a:blip r:embed="rId3"/>
          <a:srcRect t="82713"/>
          <a:stretch/>
        </p:blipFill>
        <p:spPr>
          <a:xfrm>
            <a:off x="1669358" y="5526741"/>
            <a:ext cx="8643257" cy="971455"/>
          </a:xfrm>
          <a:prstGeom prst="rect">
            <a:avLst/>
          </a:prstGeom>
        </p:spPr>
      </p:pic>
      <p:sp>
        <p:nvSpPr>
          <p:cNvPr id="18" name="TextBox 17">
            <a:extLst>
              <a:ext uri="{FF2B5EF4-FFF2-40B4-BE49-F238E27FC236}">
                <a16:creationId xmlns:a16="http://schemas.microsoft.com/office/drawing/2014/main" id="{2552CD29-9065-4B4D-9BB1-2FC97309572C}"/>
              </a:ext>
            </a:extLst>
          </p:cNvPr>
          <p:cNvSpPr txBox="1"/>
          <p:nvPr/>
        </p:nvSpPr>
        <p:spPr>
          <a:xfrm>
            <a:off x="1909482" y="5029200"/>
            <a:ext cx="1922930"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buClr>
                <a:schemeClr val="accent5"/>
              </a:buClr>
              <a:buSzPct val="80000"/>
            </a:pPr>
            <a:r>
              <a:rPr lang="en-US" sz="1400" b="1">
                <a:latin typeface="Scotia Headline" panose="020B0503020203020204" pitchFamily="34" charset="0"/>
              </a:rPr>
              <a:t>9. </a:t>
            </a:r>
            <a:r>
              <a:rPr lang="es-CO" sz="1400" b="1"/>
              <a:t>Atención continua a la excelencia técnica.</a:t>
            </a:r>
            <a:endParaRPr lang="en-US" sz="1400" b="1">
              <a:latin typeface="Scotia Headline" panose="020B0503020203020204" pitchFamily="34" charset="0"/>
            </a:endParaRPr>
          </a:p>
        </p:txBody>
      </p:sp>
      <p:sp>
        <p:nvSpPr>
          <p:cNvPr id="19" name="TextBox 18">
            <a:extLst>
              <a:ext uri="{FF2B5EF4-FFF2-40B4-BE49-F238E27FC236}">
                <a16:creationId xmlns:a16="http://schemas.microsoft.com/office/drawing/2014/main" id="{81FFF231-3C9A-A740-9AAE-74D8BE7E3860}"/>
              </a:ext>
            </a:extLst>
          </p:cNvPr>
          <p:cNvSpPr txBox="1"/>
          <p:nvPr/>
        </p:nvSpPr>
        <p:spPr>
          <a:xfrm>
            <a:off x="4209068" y="5023799"/>
            <a:ext cx="1922930"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buClr>
                <a:schemeClr val="accent5"/>
              </a:buClr>
              <a:buSzPct val="80000"/>
            </a:pPr>
            <a:r>
              <a:rPr lang="en-US" sz="1400" b="1">
                <a:latin typeface="Scotia Headline" panose="020B0503020203020204" pitchFamily="34" charset="0"/>
              </a:rPr>
              <a:t>10. </a:t>
            </a:r>
            <a:r>
              <a:rPr lang="es-CO" sz="1400" b="1"/>
              <a:t>La simplicidad es esencial</a:t>
            </a:r>
            <a:endParaRPr lang="en-US" sz="1400" b="1">
              <a:latin typeface="Scotia Headline" panose="020B0503020203020204" pitchFamily="34" charset="0"/>
            </a:endParaRPr>
          </a:p>
        </p:txBody>
      </p:sp>
      <p:sp>
        <p:nvSpPr>
          <p:cNvPr id="20" name="TextBox 19">
            <a:extLst>
              <a:ext uri="{FF2B5EF4-FFF2-40B4-BE49-F238E27FC236}">
                <a16:creationId xmlns:a16="http://schemas.microsoft.com/office/drawing/2014/main" id="{C9BB58B6-BD29-1147-BFDD-951A0088BC87}"/>
              </a:ext>
            </a:extLst>
          </p:cNvPr>
          <p:cNvSpPr txBox="1"/>
          <p:nvPr/>
        </p:nvSpPr>
        <p:spPr>
          <a:xfrm>
            <a:off x="6400800" y="5029200"/>
            <a:ext cx="1922930"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buClr>
                <a:schemeClr val="accent5"/>
              </a:buClr>
              <a:buSzPct val="80000"/>
            </a:pPr>
            <a:r>
              <a:rPr lang="es-CO" sz="1400" b="1">
                <a:latin typeface="Scotia Headline" panose="020B0503020203020204" pitchFamily="34" charset="0"/>
              </a:rPr>
              <a:t>11. Equipos autoorganizados</a:t>
            </a:r>
          </a:p>
        </p:txBody>
      </p:sp>
      <p:sp>
        <p:nvSpPr>
          <p:cNvPr id="21" name="TextBox 20">
            <a:extLst>
              <a:ext uri="{FF2B5EF4-FFF2-40B4-BE49-F238E27FC236}">
                <a16:creationId xmlns:a16="http://schemas.microsoft.com/office/drawing/2014/main" id="{7068AA31-FC4C-B149-85FB-AD7FCEED257A}"/>
              </a:ext>
            </a:extLst>
          </p:cNvPr>
          <p:cNvSpPr txBox="1"/>
          <p:nvPr/>
        </p:nvSpPr>
        <p:spPr>
          <a:xfrm>
            <a:off x="8382000" y="5029200"/>
            <a:ext cx="1922930"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buClr>
                <a:schemeClr val="accent5"/>
              </a:buClr>
              <a:buSzPct val="80000"/>
            </a:pPr>
            <a:r>
              <a:rPr lang="es-CO" sz="1400" b="1">
                <a:latin typeface="Scotia Headline" panose="020B0503020203020204" pitchFamily="34" charset="0"/>
              </a:rPr>
              <a:t>12. Mejora continua</a:t>
            </a:r>
          </a:p>
          <a:p>
            <a:pPr algn="ctr">
              <a:buClr>
                <a:schemeClr val="accent5"/>
              </a:buClr>
              <a:buSzPct val="80000"/>
            </a:pPr>
            <a:endParaRPr lang="en-US" sz="1400" b="1">
              <a:latin typeface="Scotia Headline" panose="020B0503020203020204" pitchFamily="34" charset="0"/>
            </a:endParaRPr>
          </a:p>
        </p:txBody>
      </p:sp>
      <p:cxnSp>
        <p:nvCxnSpPr>
          <p:cNvPr id="23" name="Straight Connector 22">
            <a:extLst>
              <a:ext uri="{FF2B5EF4-FFF2-40B4-BE49-F238E27FC236}">
                <a16:creationId xmlns:a16="http://schemas.microsoft.com/office/drawing/2014/main" id="{154804D0-BA47-A74B-845C-65396A1979C4}"/>
              </a:ext>
            </a:extLst>
          </p:cNvPr>
          <p:cNvCxnSpPr>
            <a:cxnSpLocks/>
          </p:cNvCxnSpPr>
          <p:nvPr/>
        </p:nvCxnSpPr>
        <p:spPr>
          <a:xfrm>
            <a:off x="1799665" y="2743201"/>
            <a:ext cx="85926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E27B8D7-EA6E-9247-9BE1-B939A6E6C9FD}"/>
              </a:ext>
            </a:extLst>
          </p:cNvPr>
          <p:cNvCxnSpPr>
            <a:cxnSpLocks/>
          </p:cNvCxnSpPr>
          <p:nvPr/>
        </p:nvCxnSpPr>
        <p:spPr>
          <a:xfrm>
            <a:off x="1799665" y="4724400"/>
            <a:ext cx="85926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9" name="Picture 3" descr="Timeline&#10;&#10;Description automatically generated">
            <a:extLst>
              <a:ext uri="{FF2B5EF4-FFF2-40B4-BE49-F238E27FC236}">
                <a16:creationId xmlns:a16="http://schemas.microsoft.com/office/drawing/2014/main" id="{3CA336B3-363E-474A-9691-842C24B9E3AD}"/>
              </a:ext>
            </a:extLst>
          </p:cNvPr>
          <p:cNvPicPr>
            <a:picLocks noChangeAspect="1"/>
          </p:cNvPicPr>
          <p:nvPr/>
        </p:nvPicPr>
        <p:blipFill rotWithShape="1">
          <a:blip r:embed="rId3">
            <a:clrChange>
              <a:clrFrom>
                <a:srgbClr val="FFFFFF"/>
              </a:clrFrom>
              <a:clrTo>
                <a:srgbClr val="FFFFFF">
                  <a:alpha val="0"/>
                </a:srgbClr>
              </a:clrTo>
            </a:clrChange>
          </a:blip>
          <a:srcRect l="78447" t="15076" b="67217"/>
          <a:stretch/>
        </p:blipFill>
        <p:spPr>
          <a:xfrm>
            <a:off x="6587063" y="1523003"/>
            <a:ext cx="1862882" cy="995083"/>
          </a:xfrm>
          <a:prstGeom prst="rect">
            <a:avLst/>
          </a:prstGeom>
        </p:spPr>
      </p:pic>
      <p:pic>
        <p:nvPicPr>
          <p:cNvPr id="40" name="Picture 39">
            <a:extLst>
              <a:ext uri="{FF2B5EF4-FFF2-40B4-BE49-F238E27FC236}">
                <a16:creationId xmlns:a16="http://schemas.microsoft.com/office/drawing/2014/main" id="{79E0CC48-D302-A144-8BC0-2D13ABC18227}"/>
              </a:ext>
            </a:extLst>
          </p:cNvPr>
          <p:cNvPicPr>
            <a:picLocks noChangeAspect="1"/>
          </p:cNvPicPr>
          <p:nvPr/>
        </p:nvPicPr>
        <p:blipFill>
          <a:blip r:embed="rId4"/>
          <a:stretch>
            <a:fillRect/>
          </a:stretch>
        </p:blipFill>
        <p:spPr>
          <a:xfrm>
            <a:off x="8961688" y="1559982"/>
            <a:ext cx="937960" cy="996951"/>
          </a:xfrm>
          <a:prstGeom prst="rect">
            <a:avLst/>
          </a:prstGeom>
        </p:spPr>
      </p:pic>
      <p:sp>
        <p:nvSpPr>
          <p:cNvPr id="24" name="TextBox 23">
            <a:extLst>
              <a:ext uri="{FF2B5EF4-FFF2-40B4-BE49-F238E27FC236}">
                <a16:creationId xmlns:a16="http://schemas.microsoft.com/office/drawing/2014/main" id="{3798220F-6801-4D5C-A052-37F8299DD72A}"/>
              </a:ext>
            </a:extLst>
          </p:cNvPr>
          <p:cNvSpPr txBox="1"/>
          <p:nvPr/>
        </p:nvSpPr>
        <p:spPr>
          <a:xfrm>
            <a:off x="6378803" y="2971986"/>
            <a:ext cx="1922930" cy="43088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chor="t">
            <a:spAutoFit/>
          </a:bodyPr>
          <a:lstStyle/>
          <a:p>
            <a:pPr algn="ctr">
              <a:buClr>
                <a:schemeClr val="accent5"/>
              </a:buClr>
              <a:buSzPct val="80000"/>
            </a:pPr>
            <a:r>
              <a:rPr lang="es-CO" sz="1400" b="1">
                <a:latin typeface="Scotia Headline" panose="020B0503020203020204" pitchFamily="34" charset="0"/>
              </a:rPr>
              <a:t>7 </a:t>
            </a:r>
            <a:r>
              <a:rPr lang="es-CO" sz="1400" b="1">
                <a:solidFill>
                  <a:srgbClr val="333333"/>
                </a:solidFill>
                <a:latin typeface="Scotia Headline" panose="020B0703020203020204" pitchFamily="34" charset="0"/>
              </a:rPr>
              <a:t>. Medimos producto funcionando</a:t>
            </a:r>
            <a:endParaRPr lang="es-CO" sz="1400" b="1">
              <a:latin typeface="Scotia Headline" panose="020B0503020203020204" pitchFamily="34" charset="0"/>
            </a:endParaRPr>
          </a:p>
        </p:txBody>
      </p:sp>
      <p:sp>
        <p:nvSpPr>
          <p:cNvPr id="6" name="Oval 5">
            <a:extLst>
              <a:ext uri="{FF2B5EF4-FFF2-40B4-BE49-F238E27FC236}">
                <a16:creationId xmlns:a16="http://schemas.microsoft.com/office/drawing/2014/main" id="{41AEDEE6-4839-33AC-A3A0-198036ACF3B0}"/>
              </a:ext>
            </a:extLst>
          </p:cNvPr>
          <p:cNvSpPr/>
          <p:nvPr/>
        </p:nvSpPr>
        <p:spPr>
          <a:xfrm>
            <a:off x="11068933" y="6587825"/>
            <a:ext cx="161925" cy="149735"/>
          </a:xfrm>
          <a:prstGeom prst="ellipse">
            <a:avLst/>
          </a:prstGeom>
          <a:solidFill>
            <a:schemeClr val="accent4"/>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15" name="Picture 2">
            <a:extLst>
              <a:ext uri="{FF2B5EF4-FFF2-40B4-BE49-F238E27FC236}">
                <a16:creationId xmlns:a16="http://schemas.microsoft.com/office/drawing/2014/main" id="{F198A696-3AF7-4B3D-4940-B5E6FBE156B4}"/>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8346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Box 6">
            <a:extLst>
              <a:ext uri="{FF2B5EF4-FFF2-40B4-BE49-F238E27FC236}">
                <a16:creationId xmlns:a16="http://schemas.microsoft.com/office/drawing/2014/main" id="{5EF91943-BF1E-8747-8B95-49EAD6157D78}"/>
              </a:ext>
            </a:extLst>
          </p:cNvPr>
          <p:cNvSpPr txBox="1"/>
          <p:nvPr/>
        </p:nvSpPr>
        <p:spPr>
          <a:xfrm>
            <a:off x="1233368" y="1340899"/>
            <a:ext cx="9725263" cy="443198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7200">
                <a:solidFill>
                  <a:srgbClr val="FFFFFF"/>
                </a:solidFill>
                <a:latin typeface="Gilroy ExtraBold"/>
                <a:ea typeface="Gilroy ExtraBold"/>
                <a:cs typeface="Gilroy ExtraBold"/>
                <a:sym typeface="Gilroy Extra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7200" b="1" i="0" u="none" strike="noStrike" kern="1200" cap="none" spc="0" normalizeH="0" baseline="0" noProof="0">
                <a:ln>
                  <a:noFill/>
                </a:ln>
                <a:solidFill>
                  <a:srgbClr val="FFFFFF"/>
                </a:solidFill>
                <a:effectLst/>
                <a:uLnTx/>
                <a:uFillTx/>
                <a:latin typeface="Scotia Headline" panose="020B0503020203020204" pitchFamily="34" charset="0"/>
                <a:sym typeface="Gilroy ExtraBold"/>
              </a:rPr>
              <a:t>¿Cómo definirías tu conocimiento sobre qué es una Historia de Usuario?</a:t>
            </a:r>
            <a:endParaRPr kumimoji="0" sz="7200" b="1" i="0" u="none" strike="noStrike" kern="1200" cap="none" spc="0" normalizeH="0" baseline="0" noProof="0">
              <a:ln>
                <a:noFill/>
              </a:ln>
              <a:solidFill>
                <a:srgbClr val="FFFFFF"/>
              </a:solidFill>
              <a:effectLst/>
              <a:uLnTx/>
              <a:uFillTx/>
              <a:latin typeface="Scotia Headline" panose="020B0503020203020204" pitchFamily="34" charset="0"/>
              <a:sym typeface="Gilroy ExtraBold"/>
            </a:endParaRPr>
          </a:p>
        </p:txBody>
      </p:sp>
      <p:pic>
        <p:nvPicPr>
          <p:cNvPr id="2" name="Picture 2">
            <a:extLst>
              <a:ext uri="{FF2B5EF4-FFF2-40B4-BE49-F238E27FC236}">
                <a16:creationId xmlns:a16="http://schemas.microsoft.com/office/drawing/2014/main" id="{F0153275-B1C1-1326-6517-76E318FE6A2B}"/>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079D8C72-86FF-DF06-DECF-B152F07A7354}"/>
              </a:ext>
            </a:extLst>
          </p:cNvPr>
          <p:cNvSpPr/>
          <p:nvPr/>
        </p:nvSpPr>
        <p:spPr>
          <a:xfrm>
            <a:off x="11068933" y="6587825"/>
            <a:ext cx="161925" cy="149735"/>
          </a:xfrm>
          <a:prstGeom prst="ellipse">
            <a:avLst/>
          </a:prstGeom>
          <a:solidFill>
            <a:srgbClr val="7849B8"/>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33546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E7C276A7-953D-264B-B6C1-980F86637883}"/>
              </a:ext>
            </a:extLst>
          </p:cNvPr>
          <p:cNvSpPr txBox="1"/>
          <p:nvPr/>
        </p:nvSpPr>
        <p:spPr>
          <a:xfrm>
            <a:off x="719999" y="1933206"/>
            <a:ext cx="5538188" cy="1839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nSpc>
                <a:spcPct val="90000"/>
              </a:lnSpc>
              <a:defRPr sz="4900">
                <a:solidFill>
                  <a:srgbClr val="FFFFFF"/>
                </a:solidFill>
                <a:latin typeface="Gilroy ExtraBold"/>
                <a:ea typeface="Gilroy ExtraBold"/>
                <a:cs typeface="Gilroy ExtraBold"/>
                <a:sym typeface="Gilroy ExtraBold"/>
              </a:defRPr>
            </a:pPr>
            <a:r>
              <a:rPr lang="en-US" sz="6600" b="1">
                <a:solidFill>
                  <a:schemeClr val="bg2"/>
                </a:solidFill>
                <a:latin typeface="Scotia Headline" panose="020B0503020203020204" pitchFamily="34" charset="0"/>
              </a:rPr>
              <a:t>¿</a:t>
            </a:r>
            <a:r>
              <a:rPr lang="en-US" sz="6600" b="1" err="1">
                <a:solidFill>
                  <a:schemeClr val="bg2"/>
                </a:solidFill>
                <a:latin typeface="Scotia Headline" panose="020B0503020203020204" pitchFamily="34" charset="0"/>
              </a:rPr>
              <a:t>Qué</a:t>
            </a:r>
            <a:r>
              <a:rPr lang="en-US" sz="6600" b="1">
                <a:solidFill>
                  <a:schemeClr val="bg2"/>
                </a:solidFill>
                <a:latin typeface="Scotia Headline" panose="020B0503020203020204" pitchFamily="34" charset="0"/>
              </a:rPr>
              <a:t> es </a:t>
            </a:r>
            <a:r>
              <a:rPr lang="en-US" sz="6600" b="1" err="1">
                <a:solidFill>
                  <a:schemeClr val="bg2"/>
                </a:solidFill>
                <a:latin typeface="Scotia Headline" panose="020B0503020203020204" pitchFamily="34" charset="0"/>
              </a:rPr>
              <a:t>una</a:t>
            </a:r>
            <a:r>
              <a:rPr lang="en-US" sz="6600" b="1">
                <a:solidFill>
                  <a:schemeClr val="bg2"/>
                </a:solidFill>
                <a:latin typeface="Scotia Headline" panose="020B0503020203020204" pitchFamily="34" charset="0"/>
              </a:rPr>
              <a:t> </a:t>
            </a:r>
            <a:r>
              <a:rPr lang="en-US" sz="6600" b="1" err="1">
                <a:solidFill>
                  <a:schemeClr val="bg2"/>
                </a:solidFill>
                <a:latin typeface="Scotia Headline" panose="020B0503020203020204" pitchFamily="34" charset="0"/>
              </a:rPr>
              <a:t>Épica</a:t>
            </a:r>
            <a:r>
              <a:rPr lang="en-US" sz="6600" b="1">
                <a:solidFill>
                  <a:schemeClr val="bg2"/>
                </a:solidFill>
                <a:latin typeface="Scotia Headline" panose="020B0503020203020204" pitchFamily="34" charset="0"/>
              </a:rPr>
              <a:t>?</a:t>
            </a:r>
          </a:p>
        </p:txBody>
      </p:sp>
      <p:sp>
        <p:nvSpPr>
          <p:cNvPr id="9" name="TextBox 8">
            <a:extLst>
              <a:ext uri="{FF2B5EF4-FFF2-40B4-BE49-F238E27FC236}">
                <a16:creationId xmlns:a16="http://schemas.microsoft.com/office/drawing/2014/main" id="{EC287874-23C2-8C48-BA87-4AD1986920D3}"/>
              </a:ext>
            </a:extLst>
          </p:cNvPr>
          <p:cNvSpPr txBox="1"/>
          <p:nvPr/>
        </p:nvSpPr>
        <p:spPr>
          <a:xfrm>
            <a:off x="719998" y="1355035"/>
            <a:ext cx="1023077" cy="4924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defRPr sz="4900">
                <a:solidFill>
                  <a:srgbClr val="FFFFFF"/>
                </a:solidFill>
                <a:latin typeface="Gilroy ExtraBold"/>
                <a:ea typeface="Gilroy ExtraBold"/>
                <a:cs typeface="Gilroy ExtraBold"/>
                <a:sym typeface="Gilroy ExtraBold"/>
              </a:defRPr>
            </a:pPr>
            <a:r>
              <a:rPr lang="en-US" sz="3200" b="1">
                <a:solidFill>
                  <a:schemeClr val="bg2"/>
                </a:solidFill>
                <a:latin typeface="Scotia Headline" panose="020B0503020203020204" pitchFamily="34" charset="0"/>
              </a:rPr>
              <a:t>01</a:t>
            </a:r>
            <a:endParaRPr sz="3200" b="1">
              <a:solidFill>
                <a:schemeClr val="bg2"/>
              </a:solidFill>
              <a:latin typeface="Scotia Headline" panose="020B0503020203020204" pitchFamily="34" charset="0"/>
            </a:endParaRPr>
          </a:p>
        </p:txBody>
      </p:sp>
      <p:sp>
        <p:nvSpPr>
          <p:cNvPr id="5" name="Shape 2536"/>
          <p:cNvSpPr/>
          <p:nvPr/>
        </p:nvSpPr>
        <p:spPr>
          <a:xfrm>
            <a:off x="7266039" y="1847478"/>
            <a:ext cx="2910347" cy="3284961"/>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bg2"/>
          </a:solidFill>
          <a:ln w="12700">
            <a:solidFill>
              <a:schemeClr val="bg2"/>
            </a:solidFill>
            <a:miter lim="400000"/>
          </a:ln>
        </p:spPr>
        <p:txBody>
          <a:bodyPr lIns="38091" tIns="38091" rIns="38091" bIns="38091" anchor="ctr"/>
          <a:lstStyle/>
          <a:p>
            <a:pPr defTabSz="457051">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pic>
        <p:nvPicPr>
          <p:cNvPr id="2" name="Picture 2">
            <a:extLst>
              <a:ext uri="{FF2B5EF4-FFF2-40B4-BE49-F238E27FC236}">
                <a16:creationId xmlns:a16="http://schemas.microsoft.com/office/drawing/2014/main" id="{83D6391A-5560-3F7B-ACBA-8FDE753F9EC3}"/>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5C28B160-E8CD-0208-214C-DC098EF9A167}"/>
              </a:ext>
            </a:extLst>
          </p:cNvPr>
          <p:cNvSpPr/>
          <p:nvPr/>
        </p:nvSpPr>
        <p:spPr>
          <a:xfrm>
            <a:off x="11068933" y="6587825"/>
            <a:ext cx="161925" cy="149735"/>
          </a:xfrm>
          <a:prstGeom prst="ellipse">
            <a:avLst/>
          </a:prstGeom>
          <a:solidFill>
            <a:schemeClr val="accent1"/>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93687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9DD6"/>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A8AA9F4-168E-0244-9164-ABF62F0ECABC}"/>
              </a:ext>
            </a:extLst>
          </p:cNvPr>
          <p:cNvSpPr>
            <a:spLocks noGrp="1"/>
          </p:cNvSpPr>
          <p:nvPr>
            <p:ph type="body" sz="quarter" idx="13"/>
          </p:nvPr>
        </p:nvSpPr>
        <p:spPr>
          <a:xfrm>
            <a:off x="614806" y="2387600"/>
            <a:ext cx="3366001" cy="3477986"/>
          </a:xfrm>
        </p:spPr>
        <p:txBody>
          <a:bodyPr vert="horz" wrap="square" lIns="0" tIns="0" rIns="0" bIns="0" rtlCol="0" anchor="t">
            <a:noAutofit/>
          </a:bodyPr>
          <a:lstStyle/>
          <a:p>
            <a:r>
              <a:rPr lang="es-ES" sz="2000" b="1">
                <a:latin typeface="+mn-lt"/>
              </a:rPr>
              <a:t>Las Épicas son grandes conjuntos de trabajo que se dividen en tareas más pequeñas (llamadas historias) para completarse en varios </a:t>
            </a:r>
            <a:r>
              <a:rPr lang="es-ES" sz="2000" b="1" err="1">
                <a:latin typeface="+mn-lt"/>
              </a:rPr>
              <a:t>Sprints</a:t>
            </a:r>
            <a:r>
              <a:rPr lang="es-ES" sz="2000" b="1">
                <a:latin typeface="+mn-lt"/>
              </a:rPr>
              <a:t>.</a:t>
            </a:r>
            <a:endParaRPr lang="es-ES"/>
          </a:p>
        </p:txBody>
      </p:sp>
      <p:pic>
        <p:nvPicPr>
          <p:cNvPr id="10" name="Marcador de posición de imagen 9" descr="Imagen que contiene Diagrama&#10;&#10;Descripción generada automáticamente">
            <a:extLst>
              <a:ext uri="{FF2B5EF4-FFF2-40B4-BE49-F238E27FC236}">
                <a16:creationId xmlns:a16="http://schemas.microsoft.com/office/drawing/2014/main" id="{54B60CEC-842B-40F5-B165-6A3F2476D74C}"/>
              </a:ext>
            </a:extLst>
          </p:cNvPr>
          <p:cNvPicPr>
            <a:picLocks noGrp="1" noChangeAspect="1"/>
          </p:cNvPicPr>
          <p:nvPr>
            <p:ph type="pic" sz="quarter" idx="10"/>
          </p:nvPr>
        </p:nvPicPr>
        <p:blipFill>
          <a:blip r:embed="rId3"/>
          <a:srcRect l="12213" r="12213"/>
          <a:stretch>
            <a:fillRect/>
          </a:stretch>
        </p:blipFill>
        <p:spPr/>
      </p:pic>
      <p:pic>
        <p:nvPicPr>
          <p:cNvPr id="2" name="Picture 2">
            <a:extLst>
              <a:ext uri="{FF2B5EF4-FFF2-40B4-BE49-F238E27FC236}">
                <a16:creationId xmlns:a16="http://schemas.microsoft.com/office/drawing/2014/main" id="{9E6D8D26-CD85-AAC1-3CD8-E048AD0D62AB}"/>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1136" b="2124"/>
          <a:stretch/>
        </p:blipFill>
        <p:spPr bwMode="auto">
          <a:xfrm>
            <a:off x="11318240" y="6459166"/>
            <a:ext cx="873363" cy="398612"/>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33A846F6-DDFE-B399-8F0B-C74E0E66331B}"/>
              </a:ext>
            </a:extLst>
          </p:cNvPr>
          <p:cNvSpPr/>
          <p:nvPr/>
        </p:nvSpPr>
        <p:spPr>
          <a:xfrm>
            <a:off x="11068933" y="6587825"/>
            <a:ext cx="161925" cy="149735"/>
          </a:xfrm>
          <a:prstGeom prst="ellipse">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743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fltVal val="0"/>
                                          </p:val>
                                        </p:tav>
                                        <p:tav tm="100000">
                                          <p:val>
                                            <p:strVal val="#ppt_w"/>
                                          </p:val>
                                        </p:tav>
                                      </p:tavLst>
                                    </p:anim>
                                    <p:anim calcmode="lin" valueType="num">
                                      <p:cBhvr>
                                        <p:cTn id="8" dur="1000" fill="hold"/>
                                        <p:tgtEl>
                                          <p:spTgt spid="10"/>
                                        </p:tgtEl>
                                        <p:attrNameLst>
                                          <p:attrName>ppt_h</p:attrName>
                                        </p:attrNameLst>
                                      </p:cBhvr>
                                      <p:tavLst>
                                        <p:tav tm="0">
                                          <p:val>
                                            <p:fltVal val="0"/>
                                          </p:val>
                                        </p:tav>
                                        <p:tav tm="100000">
                                          <p:val>
                                            <p:strVal val="#ppt_h"/>
                                          </p:val>
                                        </p:tav>
                                      </p:tavLst>
                                    </p:anim>
                                    <p:animEffect transition="in" filter="fade">
                                      <p:cBhvr>
                                        <p:cTn id="9"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EW BRAND COLOURS">
      <a:dk1>
        <a:srgbClr val="333333"/>
      </a:dk1>
      <a:lt1>
        <a:srgbClr val="FFFFFF"/>
      </a:lt1>
      <a:dk2>
        <a:srgbClr val="EC111A"/>
      </a:dk2>
      <a:lt2>
        <a:srgbClr val="FFFFFF"/>
      </a:lt2>
      <a:accent1>
        <a:srgbClr val="F2609E"/>
      </a:accent1>
      <a:accent2>
        <a:srgbClr val="FB6330"/>
      </a:accent2>
      <a:accent3>
        <a:srgbClr val="7849B8"/>
      </a:accent3>
      <a:accent4>
        <a:srgbClr val="138368"/>
      </a:accent4>
      <a:accent5>
        <a:srgbClr val="009DD6"/>
      </a:accent5>
      <a:accent6>
        <a:srgbClr val="FFD32F"/>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cotiaCanvas">
  <a:themeElements>
    <a:clrScheme name="SCOTIA NEW BRAND COLOURS">
      <a:dk1>
        <a:srgbClr val="333333"/>
      </a:dk1>
      <a:lt1>
        <a:srgbClr val="FFFFFF"/>
      </a:lt1>
      <a:dk2>
        <a:srgbClr val="EC111A"/>
      </a:dk2>
      <a:lt2>
        <a:srgbClr val="FFFFFF"/>
      </a:lt2>
      <a:accent1>
        <a:srgbClr val="F2609E"/>
      </a:accent1>
      <a:accent2>
        <a:srgbClr val="FB6330"/>
      </a:accent2>
      <a:accent3>
        <a:srgbClr val="7849B8"/>
      </a:accent3>
      <a:accent4>
        <a:srgbClr val="138368"/>
      </a:accent4>
      <a:accent5>
        <a:srgbClr val="009DD6"/>
      </a:accent5>
      <a:accent6>
        <a:srgbClr val="A6000E"/>
      </a:accent6>
      <a:hlink>
        <a:srgbClr val="0563C1"/>
      </a:hlink>
      <a:folHlink>
        <a:srgbClr val="954F72"/>
      </a:folHlink>
    </a:clrScheme>
    <a:fontScheme name="Scotia">
      <a:majorFont>
        <a:latin typeface="Scotia Headline"/>
        <a:ea typeface="Helvetica"/>
        <a:cs typeface="Helvetica"/>
      </a:majorFont>
      <a:minorFont>
        <a:latin typeface="Scotia"/>
        <a:ea typeface="Helvetica"/>
        <a:cs typeface="Helvetic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anchor="t">
        <a:spAutoFit/>
      </a:bodyPr>
      <a:lstStyle>
        <a:defPPr algn="l">
          <a:lnSpc>
            <a:spcPct val="150000"/>
          </a:lnSpc>
          <a:buClr>
            <a:schemeClr val="accent5"/>
          </a:buClr>
          <a:buSzPct val="80000"/>
          <a:defRPr sz="2800" dirty="0">
            <a:latin typeface="Scotia" panose="020B0503020203020204" pitchFamily="34" charset="0"/>
          </a:defRPr>
        </a:defPPr>
      </a:lstStyle>
    </a:txDef>
  </a:objectDefaults>
  <a:extraClrSchemeLst/>
  <a:extLst>
    <a:ext uri="{05A4C25C-085E-4340-85A3-A5531E510DB2}">
      <thm15:themeFamily xmlns:thm15="http://schemas.microsoft.com/office/thememl/2012/main" name="ScotiaCanvas" id="{B98F40BD-2B60-C14D-A68C-5A89C8E4CA5E}" vid="{7F7281C8-64E3-3B48-A9B2-AEE4BD15C54B}"/>
    </a:ext>
  </a:extLst>
</a:theme>
</file>

<file path=ppt/theme/theme3.xml><?xml version="1.0" encoding="utf-8"?>
<a:theme xmlns:a="http://schemas.openxmlformats.org/drawingml/2006/main" name="1_Office Theme">
  <a:themeElements>
    <a:clrScheme name="Scotiabank Brand Colours">
      <a:dk1>
        <a:srgbClr val="333333"/>
      </a:dk1>
      <a:lt1>
        <a:srgbClr val="FFFFFF"/>
      </a:lt1>
      <a:dk2>
        <a:srgbClr val="4D4D4D"/>
      </a:dk2>
      <a:lt2>
        <a:srgbClr val="F6F6F6"/>
      </a:lt2>
      <a:accent1>
        <a:srgbClr val="E8111C"/>
      </a:accent1>
      <a:accent2>
        <a:srgbClr val="F15F9D"/>
      </a:accent2>
      <a:accent3>
        <a:srgbClr val="FB622F"/>
      </a:accent3>
      <a:accent4>
        <a:srgbClr val="7848B8"/>
      </a:accent4>
      <a:accent5>
        <a:srgbClr val="128368"/>
      </a:accent5>
      <a:accent6>
        <a:srgbClr val="009CD6"/>
      </a:accent6>
      <a:hlink>
        <a:srgbClr val="007EAB"/>
      </a:hlink>
      <a:folHlink>
        <a:srgbClr val="954F72"/>
      </a:folHlink>
    </a:clrScheme>
    <a:fontScheme name="Office">
      <a:majorFont>
        <a:latin typeface="Scotia headline"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Scotia"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defTabSz="914355">
          <a:defRPr sz="2400" b="1" dirty="0" smtClean="0">
            <a:solidFill>
              <a:srgbClr val="333333"/>
            </a:solidFill>
            <a:latin typeface="Scotia Headline" panose="020B0503020203020204" pitchFamily="34" charset="0"/>
            <a:ea typeface="Scotia Headline" panose="020B0503020203020204" pitchFamily="34" charset="0"/>
          </a:defRPr>
        </a:defPPr>
      </a:lstStyle>
    </a:txDef>
  </a:objectDefaults>
  <a:extraClrSchemeLst/>
  <a:custClrLst>
    <a:custClr name="Brand Red">
      <a:srgbClr val="EC111A"/>
    </a:custClr>
    <a:custClr name="Brand Orange">
      <a:srgbClr val="FB6330"/>
    </a:custClr>
    <a:custClr name="Brand Green">
      <a:srgbClr val="138468"/>
    </a:custClr>
    <a:custClr name="Brand Blue">
      <a:srgbClr val="009DD6"/>
    </a:custClr>
    <a:custClr name="Brand Purple">
      <a:srgbClr val="7849B8"/>
    </a:custClr>
    <a:custClr name="Brand Pink">
      <a:srgbClr val="F2609E"/>
    </a:custClr>
    <a:custClr name="Brand Yellow">
      <a:srgbClr val="FFD42F"/>
    </a:custClr>
    <a:custClr name="Dark Grey">
      <a:srgbClr val="333333"/>
    </a:custClr>
    <a:custClr name="Grey">
      <a:srgbClr val="CCCCCC"/>
    </a:custClr>
    <a:custClr name="White">
      <a:srgbClr val="FFFFFF"/>
    </a:custClr>
    <a:custClr name="Secondary Red">
      <a:srgbClr val="FF969C"/>
    </a:custClr>
    <a:custClr name="Secondary Orange">
      <a:srgbClr val="FFBA8E"/>
    </a:custClr>
    <a:custClr name="Secondary Green">
      <a:srgbClr val="84D9C6"/>
    </a:custClr>
    <a:custClr name="Secondary Blue">
      <a:srgbClr val="91DDF8"/>
    </a:custClr>
    <a:custClr name="Secondary Purple">
      <a:srgbClr val="AEA9F4"/>
    </a:custClr>
    <a:custClr name="Secondary Pink">
      <a:srgbClr val="FDA8DE"/>
    </a:custClr>
    <a:custClr name="Secondary Yellow">
      <a:srgbClr val="FFEAA5"/>
    </a:custClr>
    <a:custClr name="Dark Grey 2">
      <a:srgbClr val="4D4D4D"/>
    </a:custClr>
    <a:custClr name="Grey 2">
      <a:srgbClr val="999999"/>
    </a:custClr>
    <a:custClr name="Light Grey">
      <a:srgbClr val="E6E6E6"/>
    </a:custClr>
    <a:custClr name="Dark Red">
      <a:srgbClr val="A6000E"/>
    </a:custClr>
    <a:custClr name="Canvas Gray 100">
      <a:srgbClr val="FAFBFD"/>
    </a:custClr>
    <a:custClr name="Canvas Gray 200">
      <a:srgbClr val="F6F7FC"/>
    </a:custClr>
    <a:custClr name="Canvas Gray 300">
      <a:srgbClr val="F6F6F6"/>
    </a:custClr>
    <a:custClr name="Canvas Gray 400">
      <a:srgbClr val="E2E8EE"/>
    </a:custClr>
    <a:custClr name="Canvas Gray 500">
      <a:srgbClr val="D6D6D6"/>
    </a:custClr>
    <a:custClr name="Canvas Gray 550">
      <a:srgbClr val="949494"/>
    </a:custClr>
    <a:custClr name="Canvas Gray 600">
      <a:srgbClr val="757575"/>
    </a:custClr>
    <a:custClr name="Canvas Dark mode base">
      <a:srgbClr val="232323"/>
    </a:custClr>
    <a:custClr name="Canvas Dark Blue">
      <a:srgbClr val="007EAB"/>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SCOTIA NEW BRAND COLOURS">
      <a:dk1>
        <a:srgbClr val="333333"/>
      </a:dk1>
      <a:lt1>
        <a:srgbClr val="FFFFFF"/>
      </a:lt1>
      <a:dk2>
        <a:srgbClr val="EC111A"/>
      </a:dk2>
      <a:lt2>
        <a:srgbClr val="FFFFFF"/>
      </a:lt2>
      <a:accent1>
        <a:srgbClr val="F2609E"/>
      </a:accent1>
      <a:accent2>
        <a:srgbClr val="FB6330"/>
      </a:accent2>
      <a:accent3>
        <a:srgbClr val="7849B8"/>
      </a:accent3>
      <a:accent4>
        <a:srgbClr val="138368"/>
      </a:accent4>
      <a:accent5>
        <a:srgbClr val="009DD6"/>
      </a:accent5>
      <a:accent6>
        <a:srgbClr val="A6000E"/>
      </a:accent6>
      <a:hlink>
        <a:srgbClr val="0563C1"/>
      </a:hlink>
      <a:folHlink>
        <a:srgbClr val="954F72"/>
      </a:folHlink>
    </a:clrScheme>
    <a:fontScheme name="Scotia">
      <a:majorFont>
        <a:latin typeface="Scotia Headline"/>
        <a:ea typeface="Helvetica"/>
        <a:cs typeface="Helvetica"/>
      </a:majorFont>
      <a:minorFont>
        <a:latin typeface="Scotia"/>
        <a:ea typeface="Helvetica"/>
        <a:cs typeface="Helvetic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anchor="t">
        <a:spAutoFit/>
      </a:bodyPr>
      <a:lstStyle>
        <a:defPPr algn="l">
          <a:lnSpc>
            <a:spcPct val="150000"/>
          </a:lnSpc>
          <a:buClr>
            <a:schemeClr val="accent5"/>
          </a:buClr>
          <a:buSzPct val="80000"/>
          <a:defRPr sz="2800" dirty="0">
            <a:latin typeface="Scotia" panose="020B0503020203020204" pitchFamily="34" charset="0"/>
          </a:defRPr>
        </a:defPPr>
      </a:lstStyle>
    </a:txDef>
  </a:objectDefaults>
  <a:extraClrSchemeLst/>
  <a:extLst>
    <a:ext uri="{05A4C25C-085E-4340-85A3-A5531E510DB2}">
      <thm15:themeFamily xmlns:thm15="http://schemas.microsoft.com/office/thememl/2012/main" name="Scotiabank presentation deck template" id="{A854F1BD-7BCF-E341-8083-3DDD12ED392F}" vid="{F29926B4-BB5B-834F-B5C0-AAE39B799C43}"/>
    </a:ext>
  </a:extLst>
</a:theme>
</file>

<file path=ppt/theme/theme5.xml><?xml version="1.0" encoding="utf-8"?>
<a:theme xmlns:a="http://schemas.openxmlformats.org/drawingml/2006/main" name="3_Office Theme">
  <a:themeElements>
    <a:clrScheme name="Scotiabank Brand Colours">
      <a:dk1>
        <a:srgbClr val="333333"/>
      </a:dk1>
      <a:lt1>
        <a:srgbClr val="FFFFFF"/>
      </a:lt1>
      <a:dk2>
        <a:srgbClr val="4D4D4D"/>
      </a:dk2>
      <a:lt2>
        <a:srgbClr val="F6F6F6"/>
      </a:lt2>
      <a:accent1>
        <a:srgbClr val="E8111C"/>
      </a:accent1>
      <a:accent2>
        <a:srgbClr val="F15F9D"/>
      </a:accent2>
      <a:accent3>
        <a:srgbClr val="FB622F"/>
      </a:accent3>
      <a:accent4>
        <a:srgbClr val="7848B8"/>
      </a:accent4>
      <a:accent5>
        <a:srgbClr val="128368"/>
      </a:accent5>
      <a:accent6>
        <a:srgbClr val="009CD6"/>
      </a:accent6>
      <a:hlink>
        <a:srgbClr val="007EAB"/>
      </a:hlink>
      <a:folHlink>
        <a:srgbClr val="954F72"/>
      </a:folHlink>
    </a:clrScheme>
    <a:fontScheme name="Office">
      <a:majorFont>
        <a:latin typeface="Scotia headline"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Scotia"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defTabSz="914355">
          <a:defRPr sz="2400" b="1" dirty="0" smtClean="0">
            <a:solidFill>
              <a:srgbClr val="333333"/>
            </a:solidFill>
            <a:latin typeface="Scotia Headline" panose="020B0503020203020204" pitchFamily="34" charset="0"/>
            <a:ea typeface="Scotia Headline" panose="020B0503020203020204" pitchFamily="34" charset="0"/>
          </a:defRPr>
        </a:defPPr>
      </a:lstStyle>
    </a:txDef>
  </a:objectDefaults>
  <a:extraClrSchemeLst/>
  <a:custClrLst>
    <a:custClr name="Brand Red">
      <a:srgbClr val="EC111A"/>
    </a:custClr>
    <a:custClr name="Brand Orange">
      <a:srgbClr val="FB6330"/>
    </a:custClr>
    <a:custClr name="Brand Green">
      <a:srgbClr val="138468"/>
    </a:custClr>
    <a:custClr name="Brand Blue">
      <a:srgbClr val="009DD6"/>
    </a:custClr>
    <a:custClr name="Brand Purple">
      <a:srgbClr val="7849B8"/>
    </a:custClr>
    <a:custClr name="Brand Pink">
      <a:srgbClr val="F2609E"/>
    </a:custClr>
    <a:custClr name="Brand Yellow">
      <a:srgbClr val="FFD42F"/>
    </a:custClr>
    <a:custClr name="Dark Grey">
      <a:srgbClr val="333333"/>
    </a:custClr>
    <a:custClr name="Grey">
      <a:srgbClr val="CCCCCC"/>
    </a:custClr>
    <a:custClr name="White">
      <a:srgbClr val="FFFFFF"/>
    </a:custClr>
    <a:custClr name="Secondary Red">
      <a:srgbClr val="FF969C"/>
    </a:custClr>
    <a:custClr name="Secondary Orange">
      <a:srgbClr val="FFBA8E"/>
    </a:custClr>
    <a:custClr name="Secondary Green">
      <a:srgbClr val="84D9C6"/>
    </a:custClr>
    <a:custClr name="Secondary Blue">
      <a:srgbClr val="91DDF8"/>
    </a:custClr>
    <a:custClr name="Secondary Purple">
      <a:srgbClr val="AEA9F4"/>
    </a:custClr>
    <a:custClr name="Secondary Pink">
      <a:srgbClr val="FDA8DE"/>
    </a:custClr>
    <a:custClr name="Secondary Yellow">
      <a:srgbClr val="FFEAA5"/>
    </a:custClr>
    <a:custClr name="Dark Grey 2">
      <a:srgbClr val="4D4D4D"/>
    </a:custClr>
    <a:custClr name="Grey 2">
      <a:srgbClr val="999999"/>
    </a:custClr>
    <a:custClr name="Light Grey">
      <a:srgbClr val="E6E6E6"/>
    </a:custClr>
    <a:custClr name="Dark Red">
      <a:srgbClr val="A6000E"/>
    </a:custClr>
    <a:custClr name="Canvas Gray 100">
      <a:srgbClr val="FAFBFD"/>
    </a:custClr>
    <a:custClr name="Canvas Gray 200">
      <a:srgbClr val="F6F7FC"/>
    </a:custClr>
    <a:custClr name="Canvas Gray 300">
      <a:srgbClr val="F6F6F6"/>
    </a:custClr>
    <a:custClr name="Canvas Gray 400">
      <a:srgbClr val="E2E8EE"/>
    </a:custClr>
    <a:custClr name="Canvas Gray 500">
      <a:srgbClr val="D6D6D6"/>
    </a:custClr>
    <a:custClr name="Canvas Gray 550">
      <a:srgbClr val="949494"/>
    </a:custClr>
    <a:custClr name="Canvas Gray 600">
      <a:srgbClr val="757575"/>
    </a:custClr>
    <a:custClr name="Canvas Dark mode base">
      <a:srgbClr val="232323"/>
    </a:custClr>
    <a:custClr name="Canvas Dark Blue">
      <a:srgbClr val="007EAB"/>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81E01F9336DD44B07A0E740960464F" ma:contentTypeVersion="17" ma:contentTypeDescription="Create a new document." ma:contentTypeScope="" ma:versionID="c939917be0b3e3ea5ab665c8ef919e36">
  <xsd:schema xmlns:xsd="http://www.w3.org/2001/XMLSchema" xmlns:xs="http://www.w3.org/2001/XMLSchema" xmlns:p="http://schemas.microsoft.com/office/2006/metadata/properties" xmlns:ns2="5cb25e0f-57cd-4b1d-b9b0-141d1a33b1f0" xmlns:ns3="a62be8bd-a8ff-4435-a993-ce1478e73873" targetNamespace="http://schemas.microsoft.com/office/2006/metadata/properties" ma:root="true" ma:fieldsID="a786370bb39267513526ee30f63b9caf" ns2:_="" ns3:_="">
    <xsd:import namespace="5cb25e0f-57cd-4b1d-b9b0-141d1a33b1f0"/>
    <xsd:import namespace="a62be8bd-a8ff-4435-a993-ce1478e7387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DateTake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b25e0f-57cd-4b1d-b9b0-141d1a33b1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d1ae396a-c076-4d2d-8527-41749cbd11f8"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62be8bd-a8ff-4435-a993-ce1478e7387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6dc6ae03-c688-4ea9-b8b5-68a0b6ce7b88}" ma:internalName="TaxCatchAll" ma:showField="CatchAllData" ma:web="a62be8bd-a8ff-4435-a993-ce1478e7387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62be8bd-a8ff-4435-a993-ce1478e73873" xsi:nil="true"/>
    <lcf76f155ced4ddcb4097134ff3c332f xmlns="5cb25e0f-57cd-4b1d-b9b0-141d1a33b1f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9EA52C7-9872-4ECB-AC4D-CAED4E4E21B2}">
  <ds:schemaRefs>
    <ds:schemaRef ds:uri="5cb25e0f-57cd-4b1d-b9b0-141d1a33b1f0"/>
    <ds:schemaRef ds:uri="a62be8bd-a8ff-4435-a993-ce1478e7387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11F380C-814F-4153-880B-1BE78A3C26AD}">
  <ds:schemaRefs>
    <ds:schemaRef ds:uri="http://schemas.microsoft.com/sharepoint/v3/contenttype/forms"/>
  </ds:schemaRefs>
</ds:datastoreItem>
</file>

<file path=customXml/itemProps3.xml><?xml version="1.0" encoding="utf-8"?>
<ds:datastoreItem xmlns:ds="http://schemas.openxmlformats.org/officeDocument/2006/customXml" ds:itemID="{2B1B6CA9-2745-4F1E-A532-5CC87CC048F3}">
  <ds:schemaRefs>
    <ds:schemaRef ds:uri="5cb25e0f-57cd-4b1d-b9b0-141d1a33b1f0"/>
    <ds:schemaRef ds:uri="a62be8bd-a8ff-4435-a993-ce1478e7387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8ff33436-4701-4dad-b7d3-3462e99c6889}" enabled="0" method="" siteId="{8ff33436-4701-4dad-b7d3-3462e99c6889}"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41</Slides>
  <Notes>37</Notes>
  <HiddenSlides>8</HiddenSlides>
  <ScaleCrop>false</ScaleCrop>
  <HeadingPairs>
    <vt:vector size="4" baseType="variant">
      <vt:variant>
        <vt:lpstr>Theme</vt:lpstr>
      </vt:variant>
      <vt:variant>
        <vt:i4>5</vt:i4>
      </vt:variant>
      <vt:variant>
        <vt:lpstr>Slide Titles</vt:lpstr>
      </vt:variant>
      <vt:variant>
        <vt:i4>41</vt:i4>
      </vt:variant>
    </vt:vector>
  </HeadingPairs>
  <TitlesOfParts>
    <vt:vector size="46" baseType="lpstr">
      <vt:lpstr>Office Theme</vt:lpstr>
      <vt:lpstr>ScotiaCanvas</vt:lpstr>
      <vt:lpstr>1_Office Theme</vt:lpstr>
      <vt:lpstr>2_Office Theme</vt:lpstr>
      <vt:lpstr>3_Office Theme</vt:lpstr>
      <vt:lpstr>PowerPoint Presentation</vt:lpstr>
      <vt:lpstr>Acuerd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es 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finición de Listo y Definición de Hecho</vt:lpstr>
      <vt:lpstr>Componentes Clave de DoR</vt:lpstr>
      <vt:lpstr>Componentes Clave de DoD</vt:lpstr>
      <vt:lpstr>Pasos para Crear DoR: </vt:lpstr>
      <vt:lpstr>Ejemplo DoR: </vt:lpstr>
      <vt:lpstr>PowerPoint Presentation</vt:lpstr>
      <vt:lpstr>PowerPoint Presentation</vt:lpstr>
      <vt:lpstr>PowerPoint Presentation</vt:lpstr>
      <vt:lpstr>Plantilla JIRA - Backlog (Vista)</vt:lpstr>
      <vt:lpstr>PowerPoint Presentation</vt:lpstr>
      <vt:lpstr>Plantilla JIRA- Sprint Activo</vt:lpstr>
      <vt:lpstr>Plantilla JIRA – Kanban</vt:lpstr>
      <vt:lpstr>PowerPoint Presentation</vt:lpstr>
      <vt:lpstr>PowerPoint Presentation</vt:lpstr>
      <vt:lpstr>Tableros de control (Algunos de los Gadge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revision>2</cp:revision>
  <dcterms:created xsi:type="dcterms:W3CDTF">2019-01-30T15:01:39Z</dcterms:created>
  <dcterms:modified xsi:type="dcterms:W3CDTF">2025-02-26T13:5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81E01F9336DD44B07A0E740960464F</vt:lpwstr>
  </property>
</Properties>
</file>